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0" r:id="rId4"/>
  </p:sldMasterIdLst>
  <p:notesMasterIdLst>
    <p:notesMasterId r:id="rId24"/>
  </p:notesMasterIdLst>
  <p:sldIdLst>
    <p:sldId id="267" r:id="rId5"/>
    <p:sldId id="268" r:id="rId6"/>
    <p:sldId id="2146847634" r:id="rId7"/>
    <p:sldId id="2146847671" r:id="rId8"/>
    <p:sldId id="274" r:id="rId9"/>
    <p:sldId id="275" r:id="rId10"/>
    <p:sldId id="2146847665" r:id="rId11"/>
    <p:sldId id="2146847675" r:id="rId12"/>
    <p:sldId id="2146847641" r:id="rId13"/>
    <p:sldId id="263" r:id="rId14"/>
    <p:sldId id="289" r:id="rId15"/>
    <p:sldId id="2146847626" r:id="rId16"/>
    <p:sldId id="2146847673" r:id="rId17"/>
    <p:sldId id="276" r:id="rId18"/>
    <p:sldId id="2146847667" r:id="rId19"/>
    <p:sldId id="360" r:id="rId20"/>
    <p:sldId id="2146847670" r:id="rId21"/>
    <p:sldId id="270" r:id="rId22"/>
    <p:sldId id="2146847674" r:id="rId23"/>
  </p:sldIdLst>
  <p:sldSz cx="12192000" cy="6858000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2B927"/>
    <a:srgbClr val="E2E2E2"/>
    <a:srgbClr val="89DAFF"/>
    <a:srgbClr val="0075A8"/>
    <a:srgbClr val="57C5CC"/>
    <a:srgbClr val="F3F3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30" autoAdjust="0"/>
    <p:restoredTop sz="96327"/>
  </p:normalViewPr>
  <p:slideViewPr>
    <p:cSldViewPr snapToGrid="0" snapToObjects="1">
      <p:cViewPr varScale="1">
        <p:scale>
          <a:sx n="114" d="100"/>
          <a:sy n="114" d="100"/>
        </p:scale>
        <p:origin x="24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2020-2022B Rental</a:t>
            </a:r>
            <a:r>
              <a:rPr lang="en-US" b="1" baseline="0"/>
              <a:t> Revenue</a:t>
            </a:r>
          </a:p>
          <a:p>
            <a:pPr>
              <a:defRPr b="1"/>
            </a:pPr>
            <a:r>
              <a:rPr lang="en-US" sz="1000" b="0" i="1" baseline="0"/>
              <a:t>(gross bookings)</a:t>
            </a:r>
            <a:endParaRPr lang="en-US" sz="1000" b="0" i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A$21</c:f>
              <c:strCache>
                <c:ptCount val="1"/>
                <c:pt idx="0">
                  <c:v>  Field/Inside Sal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0:$D$20</c:f>
              <c:strCache>
                <c:ptCount val="3"/>
                <c:pt idx="0">
                  <c:v>2020</c:v>
                </c:pt>
                <c:pt idx="1">
                  <c:v>2021</c:v>
                </c:pt>
                <c:pt idx="2">
                  <c:v>2022B</c:v>
                </c:pt>
              </c:strCache>
            </c:strRef>
          </c:cat>
          <c:val>
            <c:numRef>
              <c:f>Sheet1!$B$21:$D$21</c:f>
              <c:numCache>
                <c:formatCode>"$"#,##0_);[Red]\("$"#,##0\)</c:formatCode>
                <c:ptCount val="3"/>
                <c:pt idx="0">
                  <c:v>739134.84</c:v>
                </c:pt>
                <c:pt idx="1">
                  <c:v>1021954.8983333333</c:v>
                </c:pt>
                <c:pt idx="2">
                  <c:v>1239352.28024358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7B-4A0B-ACCE-C0154E7731EF}"/>
            </c:ext>
          </c:extLst>
        </c:ser>
        <c:ser>
          <c:idx val="1"/>
          <c:order val="1"/>
          <c:tx>
            <c:strRef>
              <c:f>Sheet1!$A$22</c:f>
              <c:strCache>
                <c:ptCount val="1"/>
                <c:pt idx="0">
                  <c:v>  National accoun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0:$D$20</c:f>
              <c:strCache>
                <c:ptCount val="3"/>
                <c:pt idx="0">
                  <c:v>2020</c:v>
                </c:pt>
                <c:pt idx="1">
                  <c:v>2021</c:v>
                </c:pt>
                <c:pt idx="2">
                  <c:v>2022B</c:v>
                </c:pt>
              </c:strCache>
            </c:strRef>
          </c:cat>
          <c:val>
            <c:numRef>
              <c:f>Sheet1!$B$22:$D$22</c:f>
              <c:numCache>
                <c:formatCode>"$"#,##0_);[Red]\("$"#,##0\)</c:formatCode>
                <c:ptCount val="3"/>
                <c:pt idx="0">
                  <c:v>270516.52999999997</c:v>
                </c:pt>
                <c:pt idx="1">
                  <c:v>440316</c:v>
                </c:pt>
                <c:pt idx="2">
                  <c:v>4713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7B-4A0B-ACCE-C0154E7731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09056687"/>
        <c:axId val="2009055023"/>
      </c:barChart>
      <c:catAx>
        <c:axId val="20090566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9055023"/>
        <c:crosses val="autoZero"/>
        <c:auto val="1"/>
        <c:lblAlgn val="ctr"/>
        <c:lblOffset val="100"/>
        <c:noMultiLvlLbl val="0"/>
      </c:catAx>
      <c:valAx>
        <c:axId val="20090550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_);[Red]\(&quot;$&quot;#,##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90566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92561E2-8C23-45B6-B25E-B880E806AC0E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0C0BD22-5431-4D23-BFA5-65F52C59EF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3699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ustomers started to come back late summer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CF09A9-E0DA-44D7-97AE-614703FF971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99038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ustomers started to come back late summer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CF09A9-E0DA-44D7-97AE-614703FF971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5458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CF09A9-E0DA-44D7-97AE-614703FF971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4148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9F09843-4667-4925-B537-8B413CB90AB4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3756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CF09A9-E0DA-44D7-97AE-614703FF971B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0928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">
    <p:bg>
      <p:bgPr>
        <a:solidFill>
          <a:srgbClr val="0075A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40B5D1-D10B-DA4F-AE00-A3CC1405E2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235200"/>
            <a:ext cx="9144000" cy="2387600"/>
          </a:xfrm>
        </p:spPr>
        <p:txBody>
          <a:bodyPr anchor="ctr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AD87BC7-5864-CC4F-80BA-F220F70675FC}"/>
              </a:ext>
            </a:extLst>
          </p:cNvPr>
          <p:cNvSpPr/>
          <p:nvPr userDrawn="1"/>
        </p:nvSpPr>
        <p:spPr>
          <a:xfrm>
            <a:off x="11711847" y="2332892"/>
            <a:ext cx="242214" cy="4525108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B3E4E36-2DC0-4A48-BE48-25DBBDEAC970}"/>
              </a:ext>
            </a:extLst>
          </p:cNvPr>
          <p:cNvSpPr/>
          <p:nvPr userDrawn="1"/>
        </p:nvSpPr>
        <p:spPr>
          <a:xfrm>
            <a:off x="11949786" y="0"/>
            <a:ext cx="242214" cy="6858001"/>
          </a:xfrm>
          <a:prstGeom prst="rect">
            <a:avLst/>
          </a:prstGeom>
          <a:solidFill>
            <a:srgbClr val="57C5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2462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0075A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DBDD3AE9-E833-854B-A386-EAB8703064EC}"/>
              </a:ext>
            </a:extLst>
          </p:cNvPr>
          <p:cNvSpPr/>
          <p:nvPr userDrawn="1"/>
        </p:nvSpPr>
        <p:spPr>
          <a:xfrm>
            <a:off x="7299518" y="1166444"/>
            <a:ext cx="4892482" cy="4970585"/>
          </a:xfrm>
          <a:prstGeom prst="rect">
            <a:avLst/>
          </a:prstGeom>
          <a:solidFill>
            <a:srgbClr val="57C5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40B5D1-D10B-DA4F-AE00-A3CC1405E2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4627" y="2508738"/>
            <a:ext cx="6369588" cy="1201615"/>
          </a:xfrm>
        </p:spPr>
        <p:txBody>
          <a:bodyPr anchor="b"/>
          <a:lstStyle>
            <a:lvl1pPr algn="l">
              <a:defRPr sz="7200" b="1" i="0">
                <a:solidFill>
                  <a:schemeClr val="bg1"/>
                </a:solidFill>
                <a:latin typeface="Gilroy SemiBold" pitchFamily="2" charset="77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4DFC915-29D7-AA48-A03D-35B5F77231A0}"/>
              </a:ext>
            </a:extLst>
          </p:cNvPr>
          <p:cNvSpPr/>
          <p:nvPr userDrawn="1"/>
        </p:nvSpPr>
        <p:spPr>
          <a:xfrm>
            <a:off x="6950788" y="943707"/>
            <a:ext cx="4892482" cy="49705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F1786DA-C6D2-184C-A26A-93323A18EE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46356" y="1602889"/>
            <a:ext cx="4542112" cy="3614570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35CA1B95-CC6F-E24D-81FF-38B39C1D86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4626" y="3739659"/>
            <a:ext cx="6369587" cy="668217"/>
          </a:xfrm>
        </p:spPr>
        <p:txBody>
          <a:bodyPr/>
          <a:lstStyle>
            <a:lvl1pPr marL="0" indent="0" algn="l">
              <a:buFontTx/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791310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8B68D0-1808-C64F-908C-FDA0B609BD4A}" type="datetimeFigureOut">
              <a:rPr lang="en-US" smtClean="0"/>
              <a:t>1/2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19586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8B68D0-1808-C64F-908C-FDA0B609BD4A}" type="datetimeFigureOut">
              <a:rPr lang="en-US" smtClean="0"/>
              <a:t>1/21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71084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1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B96F67-16A9-574A-A4BF-A2BB1FAEDE81}" type="slidenum">
              <a:rPr lang="en-US" smtClean="0"/>
              <a:pPr/>
              <a:t>‹#›</a:t>
            </a:fld>
            <a:endParaRPr lang="en-US" dirty="0">
              <a:latin typeface="Gilroy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442224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F071E-A6AF-4031-A1B8-D9E9AA1677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053F39-04F6-480F-B3F6-3EE7F8CB5A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8B68D0-1808-C64F-908C-FDA0B609BD4A}" type="datetimeFigureOut">
              <a:rPr lang="en-US" smtClean="0"/>
              <a:t>1/2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39370D-EC23-4F83-9C13-ABD1AE52B7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F3CB16B-9AFC-44FE-A846-521055DFC9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C2FAC5C7-6DC3-4372-A10C-CFE33A9FF0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780" y="5819887"/>
            <a:ext cx="1112903" cy="88563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3A82A9B-5F7C-4F78-BC91-D33022DAE1BF}"/>
              </a:ext>
            </a:extLst>
          </p:cNvPr>
          <p:cNvCxnSpPr/>
          <p:nvPr userDrawn="1"/>
        </p:nvCxnSpPr>
        <p:spPr>
          <a:xfrm>
            <a:off x="462581" y="365125"/>
            <a:ext cx="0" cy="5325670"/>
          </a:xfrm>
          <a:prstGeom prst="line">
            <a:avLst/>
          </a:prstGeom>
          <a:ln w="19050">
            <a:solidFill>
              <a:srgbClr val="0075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28091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8B68D0-1808-C64F-908C-FDA0B609BD4A}" type="datetimeFigureOut">
              <a:rPr lang="en-US" smtClean="0"/>
              <a:t>1/2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530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49" r:id="rId2"/>
    <p:sldLayoutId id="2147483682" r:id="rId3"/>
    <p:sldLayoutId id="2147483686" r:id="rId4"/>
    <p:sldLayoutId id="2147483687" r:id="rId5"/>
    <p:sldLayoutId id="2147483664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4" Type="http://schemas.openxmlformats.org/officeDocument/2006/relationships/image" Target="../media/image5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4" Type="http://schemas.openxmlformats.org/officeDocument/2006/relationships/image" Target="../media/image7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70AE7E-62B7-C24D-92FF-C59346D98B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ales Kick Off</a:t>
            </a:r>
            <a:br>
              <a:rPr lang="en-US" dirty="0"/>
            </a:br>
            <a:r>
              <a:rPr lang="en-US" sz="3600" dirty="0"/>
              <a:t>Sales Overview</a:t>
            </a:r>
            <a:br>
              <a:rPr lang="en-US" sz="3600" dirty="0"/>
            </a:br>
            <a:r>
              <a:rPr lang="en-US" sz="3600" dirty="0"/>
              <a:t>John Whalen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E63DB40-3B68-E64B-AE36-BEFD2E9B46A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>
                <a:solidFill>
                  <a:schemeClr val="bg1"/>
                </a:solidFill>
              </a:rPr>
              <a:t>January 25, 2021</a:t>
            </a:r>
          </a:p>
        </p:txBody>
      </p:sp>
    </p:spTree>
    <p:extLst>
      <p:ext uri="{BB962C8B-B14F-4D97-AF65-F5344CB8AC3E}">
        <p14:creationId xmlns:p14="http://schemas.microsoft.com/office/powerpoint/2010/main" val="33501625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A50F631-1BB5-4946-920F-36330E93EBC6}"/>
              </a:ext>
            </a:extLst>
          </p:cNvPr>
          <p:cNvSpPr/>
          <p:nvPr/>
        </p:nvSpPr>
        <p:spPr>
          <a:xfrm>
            <a:off x="0" y="0"/>
            <a:ext cx="12192000" cy="1331843"/>
          </a:xfrm>
          <a:prstGeom prst="rect">
            <a:avLst/>
          </a:prstGeom>
          <a:solidFill>
            <a:srgbClr val="0075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258DB65-6E23-F742-8A50-EDEC7D7C385C}"/>
              </a:ext>
            </a:extLst>
          </p:cNvPr>
          <p:cNvSpPr txBox="1">
            <a:spLocks/>
          </p:cNvSpPr>
          <p:nvPr/>
        </p:nvSpPr>
        <p:spPr>
          <a:xfrm>
            <a:off x="1813680" y="2354190"/>
            <a:ext cx="9042541" cy="691947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bg1"/>
                </a:solidFill>
                <a:latin typeface="Gilroy" pitchFamily="2" charset="77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Customer Service transformation pillar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0FA670-4D1B-5242-97A3-5DF343E5C08E}"/>
              </a:ext>
            </a:extLst>
          </p:cNvPr>
          <p:cNvSpPr/>
          <p:nvPr/>
        </p:nvSpPr>
        <p:spPr>
          <a:xfrm>
            <a:off x="10070405" y="1277"/>
            <a:ext cx="2131533" cy="2438397"/>
          </a:xfrm>
          <a:prstGeom prst="rect">
            <a:avLst/>
          </a:prstGeom>
          <a:solidFill>
            <a:srgbClr val="57C5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BA4B48-125A-6440-843B-AEDB8EDCA3E1}"/>
              </a:ext>
            </a:extLst>
          </p:cNvPr>
          <p:cNvSpPr/>
          <p:nvPr/>
        </p:nvSpPr>
        <p:spPr>
          <a:xfrm>
            <a:off x="9919252" y="198782"/>
            <a:ext cx="2078432" cy="2266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46E37C6-B020-D042-902A-C0CC130FDDD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076563" y="376512"/>
            <a:ext cx="1770882" cy="140925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68B1904-A09C-4E81-8077-A0073C2AEBD5}"/>
              </a:ext>
            </a:extLst>
          </p:cNvPr>
          <p:cNvSpPr/>
          <p:nvPr/>
        </p:nvSpPr>
        <p:spPr>
          <a:xfrm>
            <a:off x="737563" y="3463173"/>
            <a:ext cx="2417694" cy="914400"/>
          </a:xfrm>
          <a:prstGeom prst="rect">
            <a:avLst/>
          </a:prstGeom>
          <a:solidFill>
            <a:srgbClr val="9E34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FFFF"/>
                </a:solidFill>
              </a:rPr>
              <a:t>Right part, Right person, Right place, Right tim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E3FB05D-D40F-421F-935B-702716C83AF7}"/>
              </a:ext>
            </a:extLst>
          </p:cNvPr>
          <p:cNvSpPr/>
          <p:nvPr/>
        </p:nvSpPr>
        <p:spPr>
          <a:xfrm>
            <a:off x="6334951" y="3463173"/>
            <a:ext cx="2417694" cy="914400"/>
          </a:xfrm>
          <a:prstGeom prst="rect">
            <a:avLst/>
          </a:prstGeom>
          <a:solidFill>
            <a:srgbClr val="2484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FFFF"/>
                </a:solidFill>
              </a:rPr>
              <a:t>Staff up to meet the need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8D983D6-225F-4B0E-83F8-C717024A9844}"/>
              </a:ext>
            </a:extLst>
          </p:cNvPr>
          <p:cNvSpPr/>
          <p:nvPr/>
        </p:nvSpPr>
        <p:spPr>
          <a:xfrm>
            <a:off x="3536257" y="3463173"/>
            <a:ext cx="2417694" cy="914400"/>
          </a:xfrm>
          <a:prstGeom prst="rect">
            <a:avLst/>
          </a:prstGeom>
          <a:solidFill>
            <a:srgbClr val="2771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FFFF"/>
                </a:solidFill>
              </a:rPr>
              <a:t>Structure Customer Care for succes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3650CBD-82F1-4D35-BA7D-C84E42108B8E}"/>
              </a:ext>
            </a:extLst>
          </p:cNvPr>
          <p:cNvSpPr/>
          <p:nvPr/>
        </p:nvSpPr>
        <p:spPr>
          <a:xfrm>
            <a:off x="9133645" y="3463173"/>
            <a:ext cx="2417694" cy="914400"/>
          </a:xfrm>
          <a:prstGeom prst="rect">
            <a:avLst/>
          </a:prstGeom>
          <a:solidFill>
            <a:srgbClr val="5556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FFFF"/>
                </a:solidFill>
              </a:rPr>
              <a:t>Measure ourselves as our customers do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5DECAF0-8031-4B3B-B35D-C577B675EFC7}"/>
              </a:ext>
            </a:extLst>
          </p:cNvPr>
          <p:cNvSpPr/>
          <p:nvPr/>
        </p:nvSpPr>
        <p:spPr>
          <a:xfrm>
            <a:off x="508963" y="3234573"/>
            <a:ext cx="457200" cy="457200"/>
          </a:xfrm>
          <a:prstGeom prst="ellipse">
            <a:avLst/>
          </a:prstGeom>
          <a:solidFill>
            <a:schemeClr val="bg1"/>
          </a:solidFill>
          <a:ln>
            <a:solidFill>
              <a:srgbClr val="9E342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9E3423"/>
                </a:solidFill>
              </a:rPr>
              <a:t>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9058337-A21E-46EC-B99B-1440B0858504}"/>
              </a:ext>
            </a:extLst>
          </p:cNvPr>
          <p:cNvSpPr txBox="1"/>
          <p:nvPr/>
        </p:nvSpPr>
        <p:spPr>
          <a:xfrm>
            <a:off x="737563" y="4377573"/>
            <a:ext cx="24176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/>
              <a:t>Pivot in emphasis in the field to </a:t>
            </a:r>
            <a:r>
              <a:rPr lang="en-US" sz="1600" b="1" i="1" dirty="0"/>
              <a:t>prioritize accurate count of local inventory and technician schedul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6521A8E-7A38-446E-8B65-B7097A1FE5C2}"/>
              </a:ext>
            </a:extLst>
          </p:cNvPr>
          <p:cNvSpPr txBox="1"/>
          <p:nvPr/>
        </p:nvSpPr>
        <p:spPr>
          <a:xfrm>
            <a:off x="6358003" y="4377573"/>
            <a:ext cx="241769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/>
              <a:t>Add team members to </a:t>
            </a:r>
            <a:r>
              <a:rPr lang="en-US" sz="1600" b="1" i="1" dirty="0"/>
              <a:t>match demand across field service, supply chain, scheduling, call team, and account managemen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854FC3A-9813-4EA4-8FBF-8A21988E6C58}"/>
              </a:ext>
            </a:extLst>
          </p:cNvPr>
          <p:cNvSpPr txBox="1"/>
          <p:nvPr/>
        </p:nvSpPr>
        <p:spPr>
          <a:xfrm>
            <a:off x="3536257" y="4377573"/>
            <a:ext cx="24176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/>
              <a:t>Redesign customer care to </a:t>
            </a:r>
            <a:r>
              <a:rPr lang="en-US" sz="1600" b="1" i="1" dirty="0"/>
              <a:t>enable timely first contact resolution </a:t>
            </a:r>
            <a:r>
              <a:rPr lang="en-US" sz="1600" i="1" dirty="0"/>
              <a:t>across unique customer + case typ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692C715-7E22-43A9-B807-3940D491445E}"/>
              </a:ext>
            </a:extLst>
          </p:cNvPr>
          <p:cNvSpPr txBox="1"/>
          <p:nvPr/>
        </p:nvSpPr>
        <p:spPr>
          <a:xfrm>
            <a:off x="9133645" y="4377573"/>
            <a:ext cx="241769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/>
              <a:t>Implement </a:t>
            </a:r>
            <a:r>
              <a:rPr lang="en-US" sz="1600" b="1" i="1" dirty="0"/>
              <a:t>management metrics in-line with the customer experience</a:t>
            </a:r>
            <a:r>
              <a:rPr lang="en-US" sz="1600" i="1" dirty="0"/>
              <a:t> – timely, frictionless</a:t>
            </a:r>
            <a:endParaRPr lang="en-US" sz="1600" b="1" i="1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74FD583-B1AE-4FF7-ACB5-460F43A4853B}"/>
              </a:ext>
            </a:extLst>
          </p:cNvPr>
          <p:cNvSpPr/>
          <p:nvPr/>
        </p:nvSpPr>
        <p:spPr>
          <a:xfrm>
            <a:off x="6106351" y="3234573"/>
            <a:ext cx="457200" cy="457200"/>
          </a:xfrm>
          <a:prstGeom prst="ellipse">
            <a:avLst/>
          </a:prstGeom>
          <a:solidFill>
            <a:schemeClr val="bg1"/>
          </a:solidFill>
          <a:ln>
            <a:solidFill>
              <a:srgbClr val="24845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248458"/>
                </a:solidFill>
              </a:rPr>
              <a:t>3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87902405-E75E-403B-AB2E-DDC84D256228}"/>
              </a:ext>
            </a:extLst>
          </p:cNvPr>
          <p:cNvSpPr/>
          <p:nvPr/>
        </p:nvSpPr>
        <p:spPr>
          <a:xfrm>
            <a:off x="3307657" y="3234573"/>
            <a:ext cx="457200" cy="457200"/>
          </a:xfrm>
          <a:prstGeom prst="ellipse">
            <a:avLst/>
          </a:prstGeom>
          <a:solidFill>
            <a:schemeClr val="bg1"/>
          </a:solidFill>
          <a:ln>
            <a:solidFill>
              <a:srgbClr val="27717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27717A"/>
                </a:solidFill>
              </a:rPr>
              <a:t>2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13A2878-494D-47E5-802D-0402E0200690}"/>
              </a:ext>
            </a:extLst>
          </p:cNvPr>
          <p:cNvSpPr/>
          <p:nvPr/>
        </p:nvSpPr>
        <p:spPr>
          <a:xfrm>
            <a:off x="8905045" y="3234573"/>
            <a:ext cx="457200" cy="457200"/>
          </a:xfrm>
          <a:prstGeom prst="ellipse">
            <a:avLst/>
          </a:prstGeom>
          <a:solidFill>
            <a:schemeClr val="bg1"/>
          </a:solidFill>
          <a:ln>
            <a:solidFill>
              <a:srgbClr val="55565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55565A"/>
                </a:solidFill>
              </a:rPr>
              <a:t>4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BFA723E-86C7-4A8E-B485-188CEC0448BA}"/>
              </a:ext>
            </a:extLst>
          </p:cNvPr>
          <p:cNvSpPr txBox="1">
            <a:spLocks/>
          </p:cNvSpPr>
          <p:nvPr/>
        </p:nvSpPr>
        <p:spPr>
          <a:xfrm>
            <a:off x="362779" y="176830"/>
            <a:ext cx="9042541" cy="691947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bg1"/>
                </a:solidFill>
                <a:latin typeface="Gilroy" pitchFamily="2" charset="77"/>
                <a:ea typeface="+mj-ea"/>
                <a:cs typeface="+mj-cs"/>
              </a:defRPr>
            </a:lvl1pPr>
          </a:lstStyle>
          <a:p>
            <a:r>
              <a:rPr lang="en-US" dirty="0"/>
              <a:t>2022 Plan: Transforming the customer experience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2173BFE-0CA4-4534-9556-265E34D0A25F}"/>
              </a:ext>
            </a:extLst>
          </p:cNvPr>
          <p:cNvGrpSpPr/>
          <p:nvPr/>
        </p:nvGrpSpPr>
        <p:grpSpPr>
          <a:xfrm>
            <a:off x="244893" y="1425569"/>
            <a:ext cx="2998540" cy="564193"/>
            <a:chOff x="168355" y="1386177"/>
            <a:chExt cx="2998540" cy="564193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DCCF3F29-8B99-4F30-AA39-9BC578128687}"/>
                </a:ext>
              </a:extLst>
            </p:cNvPr>
            <p:cNvSpPr/>
            <p:nvPr/>
          </p:nvSpPr>
          <p:spPr>
            <a:xfrm>
              <a:off x="983806" y="1451791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mployee Experience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DC5C33F9-7B1E-4743-ADE0-3A3D155A706C}"/>
                </a:ext>
              </a:extLst>
            </p:cNvPr>
            <p:cNvSpPr/>
            <p:nvPr/>
          </p:nvSpPr>
          <p:spPr>
            <a:xfrm>
              <a:off x="2471976" y="1451791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&amp;A, including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aterlogic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5BA8D4D-9FC4-45B2-B6A6-12F5905CF0C0}"/>
                </a:ext>
              </a:extLst>
            </p:cNvPr>
            <p:cNvSpPr/>
            <p:nvPr/>
          </p:nvSpPr>
          <p:spPr>
            <a:xfrm>
              <a:off x="1733063" y="1451791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o-to-market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BA136928-B407-4D97-B556-B17DC5D58DE8}"/>
                </a:ext>
              </a:extLst>
            </p:cNvPr>
            <p:cNvSpPr/>
            <p:nvPr/>
          </p:nvSpPr>
          <p:spPr>
            <a:xfrm>
              <a:off x="238109" y="1451791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ustomer Experience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499B931-0E9E-4214-949C-6358B0E2E615}"/>
                </a:ext>
              </a:extLst>
            </p:cNvPr>
            <p:cNvSpPr/>
            <p:nvPr/>
          </p:nvSpPr>
          <p:spPr>
            <a:xfrm>
              <a:off x="168355" y="1386177"/>
              <a:ext cx="823521" cy="564193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rgbClr val="C00000"/>
                  </a:solidFill>
                </a:ln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4803D6FD-8BBC-4BAD-8E95-183028F255A5}"/>
              </a:ext>
            </a:extLst>
          </p:cNvPr>
          <p:cNvSpPr txBox="1"/>
          <p:nvPr/>
        </p:nvSpPr>
        <p:spPr>
          <a:xfrm>
            <a:off x="3648523" y="730366"/>
            <a:ext cx="27094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200" b="1" i="1" dirty="0">
                <a:solidFill>
                  <a:schemeClr val="bg1"/>
                </a:solidFill>
              </a:rPr>
              <a:t>Quality First</a:t>
            </a:r>
            <a:endParaRPr lang="en-US" sz="32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51242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A50F631-1BB5-4946-920F-36330E93EBC6}"/>
              </a:ext>
            </a:extLst>
          </p:cNvPr>
          <p:cNvSpPr/>
          <p:nvPr/>
        </p:nvSpPr>
        <p:spPr>
          <a:xfrm>
            <a:off x="0" y="0"/>
            <a:ext cx="12192000" cy="1331843"/>
          </a:xfrm>
          <a:prstGeom prst="rect">
            <a:avLst/>
          </a:prstGeom>
          <a:solidFill>
            <a:srgbClr val="0075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258DB65-6E23-F742-8A50-EDEC7D7C385C}"/>
              </a:ext>
            </a:extLst>
          </p:cNvPr>
          <p:cNvSpPr txBox="1">
            <a:spLocks/>
          </p:cNvSpPr>
          <p:nvPr/>
        </p:nvSpPr>
        <p:spPr>
          <a:xfrm>
            <a:off x="364067" y="319947"/>
            <a:ext cx="9562258" cy="691947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bg1"/>
                </a:solidFill>
                <a:latin typeface="Gilroy" pitchFamily="2" charset="77"/>
                <a:ea typeface="+mj-ea"/>
                <a:cs typeface="+mj-cs"/>
              </a:defRPr>
            </a:lvl1pPr>
          </a:lstStyle>
          <a:p>
            <a:r>
              <a:rPr lang="en-US" dirty="0"/>
              <a:t>We will deliver a radically improved customer experience – and will take tim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0FA670-4D1B-5242-97A3-5DF343E5C08E}"/>
              </a:ext>
            </a:extLst>
          </p:cNvPr>
          <p:cNvSpPr/>
          <p:nvPr/>
        </p:nvSpPr>
        <p:spPr>
          <a:xfrm>
            <a:off x="10070405" y="1277"/>
            <a:ext cx="2131533" cy="2438397"/>
          </a:xfrm>
          <a:prstGeom prst="rect">
            <a:avLst/>
          </a:prstGeom>
          <a:solidFill>
            <a:srgbClr val="57C5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BA4B48-125A-6440-843B-AEDB8EDCA3E1}"/>
              </a:ext>
            </a:extLst>
          </p:cNvPr>
          <p:cNvSpPr/>
          <p:nvPr/>
        </p:nvSpPr>
        <p:spPr>
          <a:xfrm>
            <a:off x="9919252" y="198782"/>
            <a:ext cx="2078432" cy="2266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46E37C6-B020-D042-902A-C0CC130FDDD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076563" y="376512"/>
            <a:ext cx="1770882" cy="1409252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097470E0-AB7B-45B2-A9BA-EBF87E7394A9}"/>
              </a:ext>
            </a:extLst>
          </p:cNvPr>
          <p:cNvSpPr txBox="1"/>
          <p:nvPr/>
        </p:nvSpPr>
        <p:spPr>
          <a:xfrm>
            <a:off x="550333" y="2818691"/>
            <a:ext cx="816467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Focus on quality and completeness – the first time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Dramatically reduced last minute reschedules and accurate lead times </a:t>
            </a:r>
            <a:br>
              <a:rPr lang="en-US" sz="2000" dirty="0"/>
            </a:br>
            <a:r>
              <a:rPr lang="en-US" sz="2000" dirty="0"/>
              <a:t>by market – timely install dates on which we deliver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Faster case response time, with fewer cases ‘lost in the queue’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Improved scheduling consistency, clarity, and communication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Increased customer satisfaction on elements that matter – less ‘friction’ when dealing with Quench</a:t>
            </a:r>
          </a:p>
        </p:txBody>
      </p:sp>
      <p:sp>
        <p:nvSpPr>
          <p:cNvPr id="36" name="Arrow: Chevron 35">
            <a:extLst>
              <a:ext uri="{FF2B5EF4-FFF2-40B4-BE49-F238E27FC236}">
                <a16:creationId xmlns:a16="http://schemas.microsoft.com/office/drawing/2014/main" id="{2C65BE08-2EBE-4096-8DFA-E5FDA64C3B14}"/>
              </a:ext>
            </a:extLst>
          </p:cNvPr>
          <p:cNvSpPr/>
          <p:nvPr/>
        </p:nvSpPr>
        <p:spPr>
          <a:xfrm>
            <a:off x="8449733" y="2599235"/>
            <a:ext cx="633786" cy="3511358"/>
          </a:xfrm>
          <a:prstGeom prst="chevron">
            <a:avLst/>
          </a:prstGeom>
          <a:solidFill>
            <a:srgbClr val="1180B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7" name="MekkoHeaderBox637781442422331097637781442422843163">
            <a:extLst>
              <a:ext uri="{FF2B5EF4-FFF2-40B4-BE49-F238E27FC236}">
                <a16:creationId xmlns:a16="http://schemas.microsoft.com/office/drawing/2014/main" id="{F14BB65F-3CB7-41B8-AB53-661CB2BE5105}"/>
              </a:ext>
            </a:extLst>
          </p:cNvPr>
          <p:cNvSpPr/>
          <p:nvPr/>
        </p:nvSpPr>
        <p:spPr>
          <a:xfrm>
            <a:off x="9508066" y="2159261"/>
            <a:ext cx="2133600" cy="381000"/>
          </a:xfrm>
          <a:prstGeom prst="rect">
            <a:avLst/>
          </a:prstGeom>
          <a:blipFill dpi="0" rotWithShape="1">
            <a:blip r:embed="rId3"/>
            <a:srcRect/>
            <a:tile tx="0" ty="0" sx="100000" sy="100000" flip="none" algn="b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91440" rtlCol="0" anchor="b"/>
          <a:lstStyle/>
          <a:p>
            <a:pPr algn="ctr"/>
            <a:r>
              <a:rPr lang="en-US" b="1" dirty="0">
                <a:solidFill>
                  <a:srgbClr val="000000"/>
                </a:solidFill>
              </a:rPr>
              <a:t>MAJOR MILESTONE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3C387BA-5B8B-4AE1-AA5A-559DC0876E70}"/>
              </a:ext>
            </a:extLst>
          </p:cNvPr>
          <p:cNvSpPr txBox="1"/>
          <p:nvPr/>
        </p:nvSpPr>
        <p:spPr>
          <a:xfrm>
            <a:off x="9126195" y="2615618"/>
            <a:ext cx="2602509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000" b="1" dirty="0"/>
              <a:t>2/1: Rollout of new Customer Care structure </a:t>
            </a:r>
            <a:r>
              <a:rPr lang="en-US" sz="1600" dirty="0"/>
              <a:t>– continue to refine and improve throughout Q1 + Q2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000" b="1" dirty="0"/>
              <a:t>4/1: Rollout of new Field + SC structure </a:t>
            </a:r>
            <a:r>
              <a:rPr lang="en-US" sz="1600" dirty="0"/>
              <a:t>– continue to refine and improve throughout Q2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000" b="1" dirty="0"/>
              <a:t>Full benefits will take time – expect 2H 2022</a:t>
            </a:r>
            <a:endParaRPr lang="en-US" sz="1600" b="1" dirty="0"/>
          </a:p>
        </p:txBody>
      </p:sp>
      <p:sp>
        <p:nvSpPr>
          <p:cNvPr id="22" name="MekkoHeaderBox637781442422331097637781442422843163">
            <a:extLst>
              <a:ext uri="{FF2B5EF4-FFF2-40B4-BE49-F238E27FC236}">
                <a16:creationId xmlns:a16="http://schemas.microsoft.com/office/drawing/2014/main" id="{410EDA30-883B-45B7-8E47-6958316CB732}"/>
              </a:ext>
            </a:extLst>
          </p:cNvPr>
          <p:cNvSpPr/>
          <p:nvPr/>
        </p:nvSpPr>
        <p:spPr>
          <a:xfrm>
            <a:off x="550333" y="2161223"/>
            <a:ext cx="7823199" cy="381000"/>
          </a:xfrm>
          <a:prstGeom prst="rect">
            <a:avLst/>
          </a:prstGeom>
          <a:blipFill dpi="0" rotWithShape="1">
            <a:blip r:embed="rId3"/>
            <a:srcRect/>
            <a:tile tx="0" ty="0" sx="100000" sy="100000" flip="none" algn="b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91440" rtlCol="0" anchor="b"/>
          <a:lstStyle/>
          <a:p>
            <a:pPr algn="ctr"/>
            <a:r>
              <a:rPr lang="en-US" sz="2400" b="1" dirty="0">
                <a:solidFill>
                  <a:srgbClr val="000000"/>
                </a:solidFill>
              </a:rPr>
              <a:t>VISIBLE BENEFITS FROM THESE CHANG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B989AC1-59BC-4E82-908A-B4558CA5BF3A}"/>
              </a:ext>
            </a:extLst>
          </p:cNvPr>
          <p:cNvGrpSpPr/>
          <p:nvPr/>
        </p:nvGrpSpPr>
        <p:grpSpPr>
          <a:xfrm>
            <a:off x="168355" y="1386177"/>
            <a:ext cx="2998540" cy="564193"/>
            <a:chOff x="168355" y="1386177"/>
            <a:chExt cx="2998540" cy="564193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1843AD2-730C-4DDB-A8C6-D2095028E380}"/>
                </a:ext>
              </a:extLst>
            </p:cNvPr>
            <p:cNvSpPr/>
            <p:nvPr/>
          </p:nvSpPr>
          <p:spPr>
            <a:xfrm>
              <a:off x="983806" y="1451791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mployee Experienc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D904FC5-64E3-450D-882D-3045C72FB198}"/>
                </a:ext>
              </a:extLst>
            </p:cNvPr>
            <p:cNvSpPr/>
            <p:nvPr/>
          </p:nvSpPr>
          <p:spPr>
            <a:xfrm>
              <a:off x="2471976" y="1451791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&amp;A, including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aterlogic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A8E4D44-6963-46F4-9DF6-1C6886BEE518}"/>
                </a:ext>
              </a:extLst>
            </p:cNvPr>
            <p:cNvSpPr/>
            <p:nvPr/>
          </p:nvSpPr>
          <p:spPr>
            <a:xfrm>
              <a:off x="1733063" y="1451791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o-to-market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6D8D0FB-7B6C-4590-A919-5BA4282576B3}"/>
                </a:ext>
              </a:extLst>
            </p:cNvPr>
            <p:cNvSpPr/>
            <p:nvPr/>
          </p:nvSpPr>
          <p:spPr>
            <a:xfrm>
              <a:off x="238109" y="1451791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ustomer Experience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3561B80-7353-496B-AE71-8E8F4DC4E833}"/>
                </a:ext>
              </a:extLst>
            </p:cNvPr>
            <p:cNvSpPr/>
            <p:nvPr/>
          </p:nvSpPr>
          <p:spPr>
            <a:xfrm>
              <a:off x="168355" y="1386177"/>
              <a:ext cx="823521" cy="564193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rgbClr val="C00000"/>
                  </a:solidFill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72749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A50F631-1BB5-4946-920F-36330E93EBC6}"/>
              </a:ext>
            </a:extLst>
          </p:cNvPr>
          <p:cNvSpPr/>
          <p:nvPr/>
        </p:nvSpPr>
        <p:spPr>
          <a:xfrm>
            <a:off x="0" y="0"/>
            <a:ext cx="12192000" cy="1331843"/>
          </a:xfrm>
          <a:prstGeom prst="rect">
            <a:avLst/>
          </a:prstGeom>
          <a:solidFill>
            <a:srgbClr val="0075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258DB65-6E23-F742-8A50-EDEC7D7C385C}"/>
              </a:ext>
            </a:extLst>
          </p:cNvPr>
          <p:cNvSpPr txBox="1">
            <a:spLocks/>
          </p:cNvSpPr>
          <p:nvPr/>
        </p:nvSpPr>
        <p:spPr>
          <a:xfrm>
            <a:off x="299311" y="262769"/>
            <a:ext cx="9042541" cy="691947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bg1"/>
                </a:solidFill>
                <a:latin typeface="Gilroy" pitchFamily="2" charset="77"/>
                <a:ea typeface="+mj-ea"/>
                <a:cs typeface="+mj-cs"/>
              </a:defRPr>
            </a:lvl1pPr>
          </a:lstStyle>
          <a:p>
            <a:r>
              <a:rPr lang="en-US" dirty="0"/>
              <a:t>2022 Plan:  Customer Portal to better engage with our customer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0FA670-4D1B-5242-97A3-5DF343E5C08E}"/>
              </a:ext>
            </a:extLst>
          </p:cNvPr>
          <p:cNvSpPr/>
          <p:nvPr/>
        </p:nvSpPr>
        <p:spPr>
          <a:xfrm>
            <a:off x="10070405" y="1277"/>
            <a:ext cx="2131533" cy="2438397"/>
          </a:xfrm>
          <a:prstGeom prst="rect">
            <a:avLst/>
          </a:prstGeom>
          <a:solidFill>
            <a:srgbClr val="57C5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BA4B48-125A-6440-843B-AEDB8EDCA3E1}"/>
              </a:ext>
            </a:extLst>
          </p:cNvPr>
          <p:cNvSpPr/>
          <p:nvPr/>
        </p:nvSpPr>
        <p:spPr>
          <a:xfrm>
            <a:off x="9919252" y="198782"/>
            <a:ext cx="2078432" cy="2266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F87446F-C226-4343-874B-648980630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FD11E28-60AF-B543-AA61-E2BD0459882F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6DB3086-4492-46E7-BBB2-69B3BD67831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117988" y="656492"/>
            <a:ext cx="1616017" cy="128601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B3438C4-ACCA-443A-BC6C-5B5CFABED78D}"/>
              </a:ext>
            </a:extLst>
          </p:cNvPr>
          <p:cNvSpPr txBox="1"/>
          <p:nvPr/>
        </p:nvSpPr>
        <p:spPr>
          <a:xfrm>
            <a:off x="194316" y="2444680"/>
            <a:ext cx="610241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800" b="1" u="none" strike="noStrike" baseline="0" dirty="0">
                <a:solidFill>
                  <a:srgbClr val="0075A8"/>
                </a:solidFill>
                <a:latin typeface="Poppins-Regular"/>
              </a:rPr>
              <a:t>Goal</a:t>
            </a:r>
          </a:p>
          <a:p>
            <a:pPr algn="l"/>
            <a:r>
              <a:rPr lang="en-US" sz="1800" b="1" i="0" u="none" strike="noStrike" baseline="0" dirty="0">
                <a:latin typeface="Poppins-Bold"/>
              </a:rPr>
              <a:t>Transform </a:t>
            </a:r>
            <a:r>
              <a:rPr lang="en-US" sz="1800" b="0" i="0" u="none" strike="noStrike" baseline="0" dirty="0">
                <a:latin typeface="Poppins-Regular"/>
              </a:rPr>
              <a:t>the customer experience through a</a:t>
            </a:r>
          </a:p>
          <a:p>
            <a:pPr algn="l"/>
            <a:r>
              <a:rPr lang="en-US" sz="1800" b="1" i="0" u="none" strike="noStrike" baseline="0" dirty="0">
                <a:latin typeface="Poppins-Bold"/>
              </a:rPr>
              <a:t>self-serve customer portal </a:t>
            </a:r>
            <a:r>
              <a:rPr lang="en-US" sz="1800" b="0" i="0" u="none" strike="noStrike" baseline="0" dirty="0">
                <a:latin typeface="Poppins-Regular"/>
              </a:rPr>
              <a:t>where users can</a:t>
            </a:r>
          </a:p>
          <a:p>
            <a:pPr algn="l"/>
            <a:r>
              <a:rPr lang="en-US" sz="1800" b="0" i="0" u="none" strike="noStrike" baseline="0" dirty="0">
                <a:latin typeface="Poppins-Regular"/>
              </a:rPr>
              <a:t>perform a range of tasks related to account</a:t>
            </a:r>
          </a:p>
          <a:p>
            <a:pPr algn="l"/>
            <a:r>
              <a:rPr lang="en-US" sz="1800" b="0" i="0" u="none" strike="noStrike" baseline="0" dirty="0">
                <a:latin typeface="Poppins-Regular"/>
              </a:rPr>
              <a:t>management, billing, service and sale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DE6467E-8B6B-4254-B93B-372E4764FBC9}"/>
              </a:ext>
            </a:extLst>
          </p:cNvPr>
          <p:cNvSpPr txBox="1"/>
          <p:nvPr/>
        </p:nvSpPr>
        <p:spPr>
          <a:xfrm>
            <a:off x="194316" y="4243071"/>
            <a:ext cx="610241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800" b="1" i="0" u="none" strike="noStrike" baseline="0" dirty="0">
                <a:solidFill>
                  <a:srgbClr val="0075A8"/>
                </a:solidFill>
                <a:latin typeface="Poppins-Regular"/>
              </a:rPr>
              <a:t>Vision</a:t>
            </a:r>
          </a:p>
          <a:p>
            <a:pPr algn="l"/>
            <a:r>
              <a:rPr lang="en-US" sz="1800" b="0" i="0" u="none" strike="noStrike" baseline="0" dirty="0">
                <a:latin typeface="Poppins-Regular"/>
              </a:rPr>
              <a:t>Establish a more </a:t>
            </a:r>
            <a:r>
              <a:rPr lang="en-US" sz="1800" b="1" i="0" u="none" strike="noStrike" baseline="0" dirty="0">
                <a:latin typeface="Poppins-Bold"/>
              </a:rPr>
              <a:t>engaging </a:t>
            </a:r>
            <a:r>
              <a:rPr lang="en-US" sz="1800" b="0" i="0" u="none" strike="noStrike" baseline="0" dirty="0">
                <a:latin typeface="Poppins-Regular"/>
              </a:rPr>
              <a:t>and </a:t>
            </a:r>
            <a:r>
              <a:rPr lang="en-US" sz="1800" b="1" i="0" u="none" strike="noStrike" baseline="0" dirty="0">
                <a:latin typeface="Poppins-Bold"/>
              </a:rPr>
              <a:t>self-service</a:t>
            </a:r>
          </a:p>
          <a:p>
            <a:pPr algn="l"/>
            <a:r>
              <a:rPr lang="en-US" sz="1800" b="1" i="0" u="none" strike="noStrike" baseline="0" dirty="0">
                <a:latin typeface="Poppins-Bold"/>
              </a:rPr>
              <a:t>solution </a:t>
            </a:r>
            <a:r>
              <a:rPr lang="en-US" sz="1800" b="0" i="0" u="none" strike="noStrike" baseline="0" dirty="0">
                <a:latin typeface="Poppins-Regular"/>
              </a:rPr>
              <a:t>that can deliver a </a:t>
            </a:r>
            <a:r>
              <a:rPr lang="en-US" sz="1800" b="1" i="0" u="none" strike="noStrike" baseline="0" dirty="0">
                <a:latin typeface="Poppins-Bold"/>
              </a:rPr>
              <a:t>frictionless experience</a:t>
            </a:r>
          </a:p>
          <a:p>
            <a:pPr algn="l"/>
            <a:r>
              <a:rPr lang="en-US" sz="1800" b="0" i="0" u="none" strike="noStrike" baseline="0" dirty="0">
                <a:latin typeface="Poppins-Regular"/>
              </a:rPr>
              <a:t>for customers to transact with Quench….. Make user’s</a:t>
            </a:r>
            <a:r>
              <a:rPr lang="en-US" dirty="0">
                <a:latin typeface="Poppins-Regular"/>
              </a:rPr>
              <a:t> </a:t>
            </a:r>
            <a:r>
              <a:rPr lang="en-US" sz="1800" b="0" i="0" u="none" strike="noStrike" baseline="0" dirty="0">
                <a:latin typeface="Poppins-Regular"/>
              </a:rPr>
              <a:t>relationship with Quench easier.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E4D8831-02D5-4B99-A57A-682AE072FF39}"/>
              </a:ext>
            </a:extLst>
          </p:cNvPr>
          <p:cNvSpPr txBox="1"/>
          <p:nvPr/>
        </p:nvSpPr>
        <p:spPr>
          <a:xfrm>
            <a:off x="6096000" y="2009859"/>
            <a:ext cx="5901684" cy="4801314"/>
          </a:xfrm>
          <a:prstGeom prst="rect">
            <a:avLst/>
          </a:prstGeom>
          <a:solidFill>
            <a:srgbClr val="E2E2E2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1800" b="1" u="none" strike="noStrike" baseline="0" dirty="0">
                <a:solidFill>
                  <a:srgbClr val="0075A8"/>
                </a:solidFill>
                <a:latin typeface="Poppins-Regular"/>
              </a:rPr>
              <a:t>Phase 1:  ETA Mar ‘22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>
                <a:latin typeface="Poppins-Bold"/>
              </a:rPr>
              <a:t>Consumables ordering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Poppins-Bold"/>
              </a:rPr>
              <a:t>Browse menu, select product, choose qt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Poppins-Bold"/>
              </a:rPr>
              <a:t>Calculate total cost (incl. tax) and pa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Poppins-Bold"/>
              </a:rPr>
              <a:t>Choose delivery options and track deliver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Poppins-Bold"/>
              </a:rPr>
              <a:t>View order history and provide feedba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Poppins-Bold"/>
              </a:rPr>
              <a:t>Account Manage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i="0" u="none" strike="noStrike" baseline="0" dirty="0">
                <a:latin typeface="Poppins-Bold"/>
              </a:rPr>
              <a:t>Portal sign-on &amp; account admi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i="0" u="none" strike="noStrike" baseline="0" dirty="0">
                <a:latin typeface="Poppins-Bold"/>
              </a:rPr>
              <a:t>View account contact info; opt in/out Q email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>
              <a:latin typeface="Poppins-Bold"/>
            </a:endParaRPr>
          </a:p>
          <a:p>
            <a:pPr algn="l"/>
            <a:r>
              <a:rPr lang="en-US" sz="1800" b="1" u="none" strike="noStrike" baseline="0" dirty="0">
                <a:solidFill>
                  <a:srgbClr val="0075A8"/>
                </a:solidFill>
                <a:latin typeface="Poppins-Regular"/>
              </a:rPr>
              <a:t>Phase 2:  ETA Apr ‘22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i="0" u="none" strike="noStrike" baseline="0" dirty="0">
                <a:latin typeface="Poppins-Bold"/>
              </a:rPr>
              <a:t>Billing and paymen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Poppins-Bold"/>
              </a:rPr>
              <a:t>Access billing &amp; payment inf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Poppins-Bold"/>
              </a:rPr>
              <a:t>Pay a bill with cc or ACH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i="0" u="none" strike="noStrike" baseline="0" dirty="0">
                <a:latin typeface="Poppins-Bold"/>
              </a:rPr>
              <a:t>Request change of billing freq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Poppins-Bold"/>
              </a:rPr>
              <a:t>Account Manage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i="0" u="none" strike="noStrike" baseline="0" dirty="0">
                <a:latin typeface="Poppins-Bold"/>
              </a:rPr>
              <a:t>Update account inf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i="0" u="none" strike="noStrike" baseline="0" dirty="0">
                <a:latin typeface="Poppins-Bold"/>
              </a:rPr>
              <a:t>View case statu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Poppins-Bold"/>
              </a:rPr>
              <a:t>Provide feedback on Quench experien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i="0" u="none" strike="noStrike" baseline="0" dirty="0">
                <a:latin typeface="Poppins-Bold"/>
              </a:rPr>
              <a:t>View addresses, units, rate and contract term</a:t>
            </a:r>
            <a:endParaRPr lang="en-US" sz="1400" i="0" u="none" strike="noStrike" baseline="0" dirty="0">
              <a:latin typeface="Poppins-Regular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CDCE7FE-F848-4C24-B4E5-2A70003FA4EF}"/>
              </a:ext>
            </a:extLst>
          </p:cNvPr>
          <p:cNvSpPr/>
          <p:nvPr/>
        </p:nvSpPr>
        <p:spPr>
          <a:xfrm>
            <a:off x="9153816" y="4379503"/>
            <a:ext cx="2743200" cy="511595"/>
          </a:xfrm>
          <a:prstGeom prst="rect">
            <a:avLst/>
          </a:prstGeom>
          <a:solidFill>
            <a:srgbClr val="0075A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FFFFFF"/>
                </a:solidFill>
              </a:rPr>
              <a:t>Initially for 1-2 unit customers only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15D9F74-6512-4E4C-9020-875ECF99353F}"/>
              </a:ext>
            </a:extLst>
          </p:cNvPr>
          <p:cNvGrpSpPr/>
          <p:nvPr/>
        </p:nvGrpSpPr>
        <p:grpSpPr>
          <a:xfrm>
            <a:off x="168355" y="1386177"/>
            <a:ext cx="2998540" cy="564193"/>
            <a:chOff x="168355" y="1386177"/>
            <a:chExt cx="2998540" cy="564193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86512B7-DBA3-4E8E-AC68-48FD90BB58CB}"/>
                </a:ext>
              </a:extLst>
            </p:cNvPr>
            <p:cNvSpPr/>
            <p:nvPr/>
          </p:nvSpPr>
          <p:spPr>
            <a:xfrm>
              <a:off x="983806" y="1451791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mployee Experience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294DB68-12D8-4EB5-BC77-5D2BA1FEACBD}"/>
                </a:ext>
              </a:extLst>
            </p:cNvPr>
            <p:cNvSpPr/>
            <p:nvPr/>
          </p:nvSpPr>
          <p:spPr>
            <a:xfrm>
              <a:off x="2471976" y="1451791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&amp;A, including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aterlogic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2A17BEB-BA0F-4DE4-B7B1-DBC2F35E6F18}"/>
                </a:ext>
              </a:extLst>
            </p:cNvPr>
            <p:cNvSpPr/>
            <p:nvPr/>
          </p:nvSpPr>
          <p:spPr>
            <a:xfrm>
              <a:off x="1733063" y="1451791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o-to-market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FD789A33-168A-4DA3-B768-6AC1D0002F1B}"/>
                </a:ext>
              </a:extLst>
            </p:cNvPr>
            <p:cNvSpPr/>
            <p:nvPr/>
          </p:nvSpPr>
          <p:spPr>
            <a:xfrm>
              <a:off x="238109" y="1451791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ustomer Experience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587C404-D896-4128-A0DA-3503A6A11E15}"/>
                </a:ext>
              </a:extLst>
            </p:cNvPr>
            <p:cNvSpPr/>
            <p:nvPr/>
          </p:nvSpPr>
          <p:spPr>
            <a:xfrm>
              <a:off x="168355" y="1386177"/>
              <a:ext cx="823521" cy="564193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rgbClr val="C00000"/>
                  </a:solidFill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33979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A50F631-1BB5-4946-920F-36330E93EBC6}"/>
              </a:ext>
            </a:extLst>
          </p:cNvPr>
          <p:cNvSpPr/>
          <p:nvPr/>
        </p:nvSpPr>
        <p:spPr>
          <a:xfrm>
            <a:off x="0" y="0"/>
            <a:ext cx="12192000" cy="1331843"/>
          </a:xfrm>
          <a:prstGeom prst="rect">
            <a:avLst/>
          </a:prstGeom>
          <a:solidFill>
            <a:srgbClr val="0075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0FA670-4D1B-5242-97A3-5DF343E5C08E}"/>
              </a:ext>
            </a:extLst>
          </p:cNvPr>
          <p:cNvSpPr/>
          <p:nvPr/>
        </p:nvSpPr>
        <p:spPr>
          <a:xfrm>
            <a:off x="10070405" y="1277"/>
            <a:ext cx="2131533" cy="2438397"/>
          </a:xfrm>
          <a:prstGeom prst="rect">
            <a:avLst/>
          </a:prstGeom>
          <a:solidFill>
            <a:srgbClr val="57C5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BA4B48-125A-6440-843B-AEDB8EDCA3E1}"/>
              </a:ext>
            </a:extLst>
          </p:cNvPr>
          <p:cNvSpPr/>
          <p:nvPr/>
        </p:nvSpPr>
        <p:spPr>
          <a:xfrm>
            <a:off x="9919252" y="198782"/>
            <a:ext cx="2078432" cy="2266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C862359-1DC9-7647-A6A7-973934220904}"/>
              </a:ext>
            </a:extLst>
          </p:cNvPr>
          <p:cNvSpPr txBox="1">
            <a:spLocks/>
          </p:cNvSpPr>
          <p:nvPr/>
        </p:nvSpPr>
        <p:spPr>
          <a:xfrm>
            <a:off x="508963" y="1694163"/>
            <a:ext cx="10939307" cy="40842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lnSpc>
                <a:spcPct val="150000"/>
              </a:lnSpc>
              <a:spcBef>
                <a:spcPts val="1000"/>
              </a:spcBef>
              <a:buNone/>
            </a:pPr>
            <a:endParaRPr lang="en-US" sz="1800" dirty="0"/>
          </a:p>
          <a:p>
            <a:pPr marL="1143000" lvl="3">
              <a:lnSpc>
                <a:spcPts val="2600"/>
              </a:lnSpc>
              <a:spcBef>
                <a:spcPts val="1000"/>
              </a:spcBef>
            </a:pPr>
            <a:endParaRPr lang="en-US" sz="105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1D940CA0-D817-C74B-9906-2DF6DDA248FC}"/>
              </a:ext>
            </a:extLst>
          </p:cNvPr>
          <p:cNvSpPr txBox="1">
            <a:spLocks/>
          </p:cNvSpPr>
          <p:nvPr/>
        </p:nvSpPr>
        <p:spPr>
          <a:xfrm>
            <a:off x="405343" y="2125206"/>
            <a:ext cx="11592341" cy="42311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-457200">
              <a:lnSpc>
                <a:spcPct val="100000"/>
              </a:lnSpc>
              <a:spcBef>
                <a:spcPts val="1000"/>
              </a:spcBef>
              <a:buFont typeface="+mj-lt"/>
              <a:buAutoNum type="arabicPeriod"/>
            </a:pPr>
            <a:r>
              <a:rPr lang="en-US" sz="2000" dirty="0">
                <a:solidFill>
                  <a:srgbClr val="000000"/>
                </a:solidFill>
                <a:latin typeface="Gilroy" panose="00000500000000000000" pitchFamily="50" charset="0"/>
              </a:rPr>
              <a:t>Attract, develop, retain best talent and leadership through </a:t>
            </a:r>
            <a:r>
              <a:rPr lang="en-US" sz="2000" b="1" dirty="0">
                <a:solidFill>
                  <a:srgbClr val="000000"/>
                </a:solidFill>
                <a:latin typeface="Gilroy" panose="00000500000000000000" pitchFamily="50" charset="0"/>
              </a:rPr>
              <a:t>breakthrough</a:t>
            </a:r>
            <a:r>
              <a:rPr lang="en-US" sz="2000" dirty="0">
                <a:solidFill>
                  <a:srgbClr val="000000"/>
                </a:solidFill>
                <a:latin typeface="Gilroy" panose="00000500000000000000" pitchFamily="50" charset="0"/>
              </a:rPr>
              <a:t> </a:t>
            </a:r>
            <a:r>
              <a:rPr lang="en-US" sz="2000" b="1" dirty="0">
                <a:solidFill>
                  <a:srgbClr val="000000"/>
                </a:solidFill>
                <a:latin typeface="Gilroy" panose="00000500000000000000" pitchFamily="50" charset="0"/>
              </a:rPr>
              <a:t>employee experience </a:t>
            </a:r>
            <a:r>
              <a:rPr lang="en-US" sz="2000" dirty="0">
                <a:solidFill>
                  <a:srgbClr val="000000"/>
                </a:solidFill>
                <a:latin typeface="Gilroy" panose="00000500000000000000" pitchFamily="50" charset="0"/>
              </a:rPr>
              <a:t>offerings</a:t>
            </a:r>
          </a:p>
          <a:p>
            <a:pPr marL="457200" lvl="1" indent="-457200">
              <a:lnSpc>
                <a:spcPct val="100000"/>
              </a:lnSpc>
              <a:spcBef>
                <a:spcPts val="1000"/>
              </a:spcBef>
              <a:buFont typeface="+mj-lt"/>
              <a:buAutoNum type="arabicPeriod"/>
            </a:pPr>
            <a:r>
              <a:rPr lang="en-US" sz="2000" dirty="0"/>
              <a:t>Add staff to teams to reduce workload and burnout</a:t>
            </a:r>
          </a:p>
          <a:p>
            <a:pPr marL="914400" lvl="2" indent="-341313">
              <a:lnSpc>
                <a:spcPct val="100000"/>
              </a:lnSpc>
              <a:spcBef>
                <a:spcPts val="1000"/>
              </a:spcBef>
              <a:buFont typeface="+mj-lt"/>
              <a:buAutoNum type="arabicPeriod"/>
            </a:pPr>
            <a:r>
              <a:rPr lang="en-US" sz="1600" dirty="0"/>
              <a:t>Customer Care: Feb 1</a:t>
            </a:r>
            <a:r>
              <a:rPr lang="en-US" sz="1600" baseline="30000" dirty="0"/>
              <a:t>st</a:t>
            </a:r>
            <a:r>
              <a:rPr lang="en-US" sz="1600" dirty="0"/>
              <a:t> Customer Care staffing plan </a:t>
            </a:r>
            <a:r>
              <a:rPr lang="en-US" sz="1600" dirty="0">
                <a:solidFill>
                  <a:srgbClr val="72B927"/>
                </a:solidFill>
              </a:rPr>
              <a:t>+16 members </a:t>
            </a:r>
            <a:r>
              <a:rPr lang="en-US" sz="1600" dirty="0"/>
              <a:t>from Nov 1</a:t>
            </a:r>
            <a:r>
              <a:rPr lang="en-US" sz="1600" baseline="30000" dirty="0"/>
              <a:t>st</a:t>
            </a:r>
            <a:r>
              <a:rPr lang="en-US" sz="1600" dirty="0"/>
              <a:t> </a:t>
            </a:r>
          </a:p>
          <a:p>
            <a:pPr marL="914400" lvl="2" indent="-341313">
              <a:lnSpc>
                <a:spcPct val="100000"/>
              </a:lnSpc>
              <a:spcBef>
                <a:spcPts val="1000"/>
              </a:spcBef>
              <a:buFont typeface="+mj-lt"/>
              <a:buAutoNum type="arabicPeriod"/>
            </a:pPr>
            <a:r>
              <a:rPr lang="en-US" sz="1600" dirty="0"/>
              <a:t>Sales Ops: </a:t>
            </a:r>
            <a:r>
              <a:rPr lang="en-US" sz="1600" dirty="0">
                <a:solidFill>
                  <a:srgbClr val="72B927"/>
                </a:solidFill>
              </a:rPr>
              <a:t>+4 Sales Ops Specialists + 1 Commissions Analyst</a:t>
            </a:r>
          </a:p>
          <a:p>
            <a:pPr marL="457200" lvl="1" indent="-457200">
              <a:lnSpc>
                <a:spcPct val="100000"/>
              </a:lnSpc>
              <a:spcBef>
                <a:spcPts val="1000"/>
              </a:spcBef>
              <a:buFont typeface="+mj-lt"/>
              <a:buAutoNum type="arabicPeriod"/>
            </a:pPr>
            <a:r>
              <a:rPr lang="en-US" sz="2000" dirty="0"/>
              <a:t>Highly engaged leadership team focused on improvements in </a:t>
            </a:r>
            <a:r>
              <a:rPr lang="en-US" sz="2000" dirty="0">
                <a:solidFill>
                  <a:srgbClr val="72B927"/>
                </a:solidFill>
              </a:rPr>
              <a:t>communication, leadership, </a:t>
            </a:r>
            <a:r>
              <a:rPr lang="en-US" sz="2000" dirty="0"/>
              <a:t>and </a:t>
            </a:r>
            <a:r>
              <a:rPr lang="en-US" sz="2000" dirty="0">
                <a:solidFill>
                  <a:srgbClr val="72B927"/>
                </a:solidFill>
              </a:rPr>
              <a:t>follow-through</a:t>
            </a:r>
          </a:p>
          <a:p>
            <a:pPr marL="457200" lvl="1" indent="-457200">
              <a:lnSpc>
                <a:spcPct val="100000"/>
              </a:lnSpc>
              <a:spcBef>
                <a:spcPts val="1000"/>
              </a:spcBef>
              <a:buFont typeface="+mj-lt"/>
              <a:buAutoNum type="arabicPeriod"/>
            </a:pPr>
            <a:r>
              <a:rPr lang="en-US" sz="2000" dirty="0"/>
              <a:t>Semi-annual Glint surveys to measure progress on Employee Engagement</a:t>
            </a:r>
          </a:p>
          <a:p>
            <a:pPr marL="914400" lvl="2" indent="-341313">
              <a:lnSpc>
                <a:spcPct val="100000"/>
              </a:lnSpc>
              <a:spcBef>
                <a:spcPts val="1000"/>
              </a:spcBef>
              <a:buFont typeface="+mj-lt"/>
              <a:buAutoNum type="arabicPeriod"/>
            </a:pPr>
            <a:r>
              <a:rPr lang="en-US" sz="1600" dirty="0"/>
              <a:t>Employee engagement scores now embedded in Care manager reviews</a:t>
            </a:r>
          </a:p>
          <a:p>
            <a:pPr marL="457200" lvl="1" indent="-457200">
              <a:lnSpc>
                <a:spcPct val="100000"/>
              </a:lnSpc>
              <a:spcBef>
                <a:spcPts val="1000"/>
              </a:spcBef>
              <a:buFont typeface="+mj-lt"/>
              <a:buAutoNum type="arabicPeriod"/>
            </a:pPr>
            <a:r>
              <a:rPr lang="en-US" sz="2000" dirty="0"/>
              <a:t>Implement core programs which deliver improved KPIs and demonstrate commitment to employee growth at Quench</a:t>
            </a:r>
          </a:p>
          <a:p>
            <a:pPr marL="457200" lvl="1" indent="-457200">
              <a:lnSpc>
                <a:spcPct val="100000"/>
              </a:lnSpc>
              <a:spcBef>
                <a:spcPts val="1000"/>
              </a:spcBef>
              <a:buFont typeface="+mj-lt"/>
              <a:buAutoNum type="arabicPeriod"/>
            </a:pPr>
            <a:r>
              <a:rPr lang="en-US" sz="2000" dirty="0"/>
              <a:t>Best place to work by 2023</a:t>
            </a:r>
          </a:p>
          <a:p>
            <a:pPr marL="0" lvl="2" indent="0">
              <a:lnSpc>
                <a:spcPct val="150000"/>
              </a:lnSpc>
              <a:spcBef>
                <a:spcPts val="1000"/>
              </a:spcBef>
              <a:buNone/>
            </a:pPr>
            <a:endParaRPr lang="en-US" dirty="0"/>
          </a:p>
          <a:p>
            <a:pPr marL="1143000" lvl="3">
              <a:lnSpc>
                <a:spcPts val="2600"/>
              </a:lnSpc>
              <a:spcBef>
                <a:spcPts val="1000"/>
              </a:spcBef>
            </a:pPr>
            <a:endParaRPr lang="en-US" sz="1100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D4A2F32-06D9-4D46-AAA9-0B4E07833E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FD11E28-60AF-B543-AA61-E2BD0459882F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BFD53DE-1804-47B3-81BB-73FF756D059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0117988" y="656492"/>
            <a:ext cx="1616017" cy="1286012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3C6CDA5B-F930-4877-BEFC-59FC557A50B7}"/>
              </a:ext>
            </a:extLst>
          </p:cNvPr>
          <p:cNvSpPr txBox="1">
            <a:spLocks/>
          </p:cNvSpPr>
          <p:nvPr/>
        </p:nvSpPr>
        <p:spPr>
          <a:xfrm>
            <a:off x="299311" y="262769"/>
            <a:ext cx="9042541" cy="691947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bg1"/>
                </a:solidFill>
                <a:latin typeface="Gilroy" pitchFamily="2" charset="77"/>
                <a:ea typeface="+mj-ea"/>
                <a:cs typeface="+mj-cs"/>
              </a:defRPr>
            </a:lvl1pPr>
          </a:lstStyle>
          <a:p>
            <a:r>
              <a:rPr lang="en-US" sz="3200" dirty="0"/>
              <a:t>2022 Plan:  Improving the Employee Experienc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EFDFC6B-62AB-4BAD-83F2-D43929BBA700}"/>
              </a:ext>
            </a:extLst>
          </p:cNvPr>
          <p:cNvGrpSpPr/>
          <p:nvPr/>
        </p:nvGrpSpPr>
        <p:grpSpPr>
          <a:xfrm>
            <a:off x="238109" y="1391347"/>
            <a:ext cx="2928786" cy="564193"/>
            <a:chOff x="238109" y="1391347"/>
            <a:chExt cx="2928786" cy="564193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8619955-09E8-4537-9923-6EF04E9D23DD}"/>
                </a:ext>
              </a:extLst>
            </p:cNvPr>
            <p:cNvSpPr/>
            <p:nvPr/>
          </p:nvSpPr>
          <p:spPr>
            <a:xfrm>
              <a:off x="983806" y="1451791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mployee Experience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193D846-0FE3-49B3-A7D7-F02771D9F4AB}"/>
                </a:ext>
              </a:extLst>
            </p:cNvPr>
            <p:cNvSpPr/>
            <p:nvPr/>
          </p:nvSpPr>
          <p:spPr>
            <a:xfrm>
              <a:off x="2471976" y="1451791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&amp;A, including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aterlogic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7B2A4B8-7138-476D-AF50-BC97ECD6FCC2}"/>
                </a:ext>
              </a:extLst>
            </p:cNvPr>
            <p:cNvSpPr/>
            <p:nvPr/>
          </p:nvSpPr>
          <p:spPr>
            <a:xfrm>
              <a:off x="1733063" y="1451791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o-to-market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5A6C53F-D7E8-473D-B4DE-D8EAF1ADC6D1}"/>
                </a:ext>
              </a:extLst>
            </p:cNvPr>
            <p:cNvSpPr/>
            <p:nvPr/>
          </p:nvSpPr>
          <p:spPr>
            <a:xfrm>
              <a:off x="238109" y="1451791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ustomer Experience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D65FD44-F8DE-4D83-BD9B-905787A19805}"/>
                </a:ext>
              </a:extLst>
            </p:cNvPr>
            <p:cNvSpPr/>
            <p:nvPr/>
          </p:nvSpPr>
          <p:spPr>
            <a:xfrm>
              <a:off x="921946" y="1391347"/>
              <a:ext cx="823521" cy="564193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rgbClr val="C00000"/>
                  </a:solidFill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44180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A50F631-1BB5-4946-920F-36330E93EBC6}"/>
              </a:ext>
            </a:extLst>
          </p:cNvPr>
          <p:cNvSpPr/>
          <p:nvPr/>
        </p:nvSpPr>
        <p:spPr>
          <a:xfrm>
            <a:off x="0" y="0"/>
            <a:ext cx="12192000" cy="1331843"/>
          </a:xfrm>
          <a:prstGeom prst="rect">
            <a:avLst/>
          </a:prstGeom>
          <a:solidFill>
            <a:srgbClr val="0075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258DB65-6E23-F742-8A50-EDEC7D7C385C}"/>
              </a:ext>
            </a:extLst>
          </p:cNvPr>
          <p:cNvSpPr txBox="1">
            <a:spLocks/>
          </p:cNvSpPr>
          <p:nvPr/>
        </p:nvSpPr>
        <p:spPr>
          <a:xfrm>
            <a:off x="508963" y="319947"/>
            <a:ext cx="9042541" cy="691947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bg1"/>
                </a:solidFill>
                <a:latin typeface="Gilroy" pitchFamily="2" charset="77"/>
                <a:ea typeface="+mj-ea"/>
                <a:cs typeface="+mj-cs"/>
              </a:defRPr>
            </a:lvl1pPr>
          </a:lstStyle>
          <a:p>
            <a:r>
              <a:rPr lang="en-US" dirty="0"/>
              <a:t>2022 Plan:  Adding staff to meet our need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06788FD-F364-8048-8D6C-D417F1C1434A}"/>
              </a:ext>
            </a:extLst>
          </p:cNvPr>
          <p:cNvSpPr txBox="1">
            <a:spLocks/>
          </p:cNvSpPr>
          <p:nvPr/>
        </p:nvSpPr>
        <p:spPr>
          <a:xfrm>
            <a:off x="354628" y="2043224"/>
            <a:ext cx="10481249" cy="401682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600"/>
              </a:lnSpc>
            </a:pPr>
            <a:r>
              <a:rPr lang="en-US" sz="1800" b="1" dirty="0"/>
              <a:t>Field/Inside/National Accounts</a:t>
            </a:r>
          </a:p>
          <a:p>
            <a:pPr lvl="1"/>
            <a:r>
              <a:rPr lang="en-US" sz="1800" dirty="0"/>
              <a:t>Field sales and National Accounts headcount grows +3 reps</a:t>
            </a:r>
          </a:p>
          <a:p>
            <a:pPr lvl="1"/>
            <a:r>
              <a:rPr lang="en-US" sz="1800" dirty="0"/>
              <a:t>Inside sales grows +1 on call team in Q1 and +2 on STAR team in Q2</a:t>
            </a:r>
          </a:p>
          <a:p>
            <a:pPr marL="228600" lvl="1">
              <a:lnSpc>
                <a:spcPct val="100000"/>
              </a:lnSpc>
              <a:spcBef>
                <a:spcPts val="1000"/>
              </a:spcBef>
            </a:pPr>
            <a:r>
              <a:rPr lang="en-US" sz="1800" b="1" dirty="0"/>
              <a:t>Sales Management, Sales Ops &amp; Marketing</a:t>
            </a:r>
          </a:p>
          <a:p>
            <a:pPr lvl="1"/>
            <a:r>
              <a:rPr lang="en-US" sz="1800" dirty="0"/>
              <a:t>+ 2 Sales Managers:  Inside and Midwest </a:t>
            </a:r>
          </a:p>
          <a:p>
            <a:pPr lvl="1"/>
            <a:r>
              <a:rPr lang="en-US" sz="1800" dirty="0"/>
              <a:t>Sales Ops: + 4 Specialists and 1 commissions analyst</a:t>
            </a:r>
          </a:p>
          <a:p>
            <a:pPr lvl="1"/>
            <a:r>
              <a:rPr lang="en-US" sz="1800" dirty="0"/>
              <a:t>Email marketing manager</a:t>
            </a:r>
          </a:p>
          <a:p>
            <a:pPr marL="228600" lvl="1">
              <a:lnSpc>
                <a:spcPts val="2600"/>
              </a:lnSpc>
              <a:spcBef>
                <a:spcPts val="1000"/>
              </a:spcBef>
            </a:pPr>
            <a:r>
              <a:rPr lang="en-US" sz="1800" b="1" dirty="0"/>
              <a:t>Customer care (2/1 plan compared to 11/1):</a:t>
            </a:r>
          </a:p>
          <a:p>
            <a:pPr lvl="1"/>
            <a:r>
              <a:rPr lang="en-US" sz="1800" dirty="0"/>
              <a:t>+1 Scheduling Manager</a:t>
            </a:r>
          </a:p>
          <a:p>
            <a:pPr lvl="1"/>
            <a:r>
              <a:rPr lang="en-US" sz="1800" dirty="0"/>
              <a:t>+4 Call Team members</a:t>
            </a:r>
          </a:p>
          <a:p>
            <a:pPr lvl="1"/>
            <a:r>
              <a:rPr lang="en-US" sz="1800" dirty="0"/>
              <a:t>+1 Project Manager</a:t>
            </a:r>
          </a:p>
          <a:p>
            <a:pPr lvl="1"/>
            <a:r>
              <a:rPr lang="en-US" sz="1800" dirty="0"/>
              <a:t>+5 Schedulers</a:t>
            </a:r>
          </a:p>
          <a:p>
            <a:pPr lvl="1"/>
            <a:r>
              <a:rPr lang="en-US" sz="1800" dirty="0"/>
              <a:t>+5 AMs</a:t>
            </a:r>
          </a:p>
          <a:p>
            <a:pPr marL="685800" lvl="2">
              <a:lnSpc>
                <a:spcPct val="150000"/>
              </a:lnSpc>
              <a:spcBef>
                <a:spcPts val="1000"/>
              </a:spcBef>
            </a:pPr>
            <a:endParaRPr lang="en-US" sz="1800" dirty="0"/>
          </a:p>
          <a:p>
            <a:pPr marL="1143000" lvl="3">
              <a:lnSpc>
                <a:spcPts val="2600"/>
              </a:lnSpc>
              <a:spcBef>
                <a:spcPts val="1000"/>
              </a:spcBef>
            </a:pP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0FA670-4D1B-5242-97A3-5DF343E5C08E}"/>
              </a:ext>
            </a:extLst>
          </p:cNvPr>
          <p:cNvSpPr/>
          <p:nvPr/>
        </p:nvSpPr>
        <p:spPr>
          <a:xfrm>
            <a:off x="10070405" y="1277"/>
            <a:ext cx="2131533" cy="2438397"/>
          </a:xfrm>
          <a:prstGeom prst="rect">
            <a:avLst/>
          </a:prstGeom>
          <a:solidFill>
            <a:srgbClr val="57C5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BA4B48-125A-6440-843B-AEDB8EDCA3E1}"/>
              </a:ext>
            </a:extLst>
          </p:cNvPr>
          <p:cNvSpPr/>
          <p:nvPr/>
        </p:nvSpPr>
        <p:spPr>
          <a:xfrm>
            <a:off x="9919252" y="198782"/>
            <a:ext cx="2078432" cy="2266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81C3EA0-9F51-A34A-9731-1C82A83CDD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FD11E28-60AF-B543-AA61-E2BD0459882F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1FDC5C6-FC12-41D7-84BD-97CD531B427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117988" y="656492"/>
            <a:ext cx="1616017" cy="1286012"/>
          </a:xfrm>
          <a:prstGeom prst="rect">
            <a:avLst/>
          </a:prstGeom>
        </p:spPr>
      </p:pic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F9FB296-C2DD-430B-BABE-9E415589403E}"/>
              </a:ext>
            </a:extLst>
          </p:cNvPr>
          <p:cNvSpPr txBox="1">
            <a:spLocks/>
          </p:cNvSpPr>
          <p:nvPr/>
        </p:nvSpPr>
        <p:spPr>
          <a:xfrm>
            <a:off x="5939597" y="4542257"/>
            <a:ext cx="5021317" cy="21032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>
              <a:lnSpc>
                <a:spcPts val="2600"/>
              </a:lnSpc>
            </a:pPr>
            <a:r>
              <a:rPr lang="en-US" sz="1800" b="1" dirty="0"/>
              <a:t>Field Service</a:t>
            </a:r>
          </a:p>
          <a:p>
            <a:pPr lvl="1"/>
            <a:r>
              <a:rPr lang="en-US" sz="1800" dirty="0"/>
              <a:t>+1 FSM</a:t>
            </a:r>
          </a:p>
          <a:p>
            <a:pPr lvl="1"/>
            <a:r>
              <a:rPr lang="en-US" sz="1800" dirty="0"/>
              <a:t>+20 Techs</a:t>
            </a:r>
          </a:p>
          <a:p>
            <a:pPr marL="342900" lvl="1"/>
            <a:r>
              <a:rPr lang="en-US" sz="1800" b="1" dirty="0"/>
              <a:t>Supply Chain</a:t>
            </a:r>
          </a:p>
          <a:p>
            <a:pPr lvl="1"/>
            <a:r>
              <a:rPr lang="en-US" sz="1800" dirty="0"/>
              <a:t>+4 for Inventory </a:t>
            </a:r>
            <a:r>
              <a:rPr lang="en-US" sz="1800" dirty="0" err="1"/>
              <a:t>Mgmt</a:t>
            </a:r>
            <a:endParaRPr lang="en-US" sz="1800" dirty="0"/>
          </a:p>
          <a:p>
            <a:pPr lvl="1"/>
            <a:r>
              <a:rPr lang="en-US" sz="1800" dirty="0"/>
              <a:t>+3 for Sales Ops/Planning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3D80570-37A2-438D-830D-70CC06F6AC78}"/>
              </a:ext>
            </a:extLst>
          </p:cNvPr>
          <p:cNvGrpSpPr/>
          <p:nvPr/>
        </p:nvGrpSpPr>
        <p:grpSpPr>
          <a:xfrm>
            <a:off x="238109" y="1391347"/>
            <a:ext cx="2928786" cy="564193"/>
            <a:chOff x="238109" y="1391347"/>
            <a:chExt cx="2928786" cy="564193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082408C-28C4-4C26-B9CA-45F17B98DACE}"/>
                </a:ext>
              </a:extLst>
            </p:cNvPr>
            <p:cNvSpPr/>
            <p:nvPr/>
          </p:nvSpPr>
          <p:spPr>
            <a:xfrm>
              <a:off x="983806" y="1451791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mployee Experience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2BEEB59-4147-4C31-ADA6-FAE20B3CC242}"/>
                </a:ext>
              </a:extLst>
            </p:cNvPr>
            <p:cNvSpPr/>
            <p:nvPr/>
          </p:nvSpPr>
          <p:spPr>
            <a:xfrm>
              <a:off x="2471976" y="1451791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&amp;A, including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aterlogic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D80D702-EDF2-454F-9F54-5A8DA1F724C2}"/>
                </a:ext>
              </a:extLst>
            </p:cNvPr>
            <p:cNvSpPr/>
            <p:nvPr/>
          </p:nvSpPr>
          <p:spPr>
            <a:xfrm>
              <a:off x="1733063" y="1451791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o-to-market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7493E16-3937-43F5-A4E6-F66FBB8BEE4A}"/>
                </a:ext>
              </a:extLst>
            </p:cNvPr>
            <p:cNvSpPr/>
            <p:nvPr/>
          </p:nvSpPr>
          <p:spPr>
            <a:xfrm>
              <a:off x="238109" y="1451791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ustomer Experience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CE41BD8E-56A2-4CBA-9A5D-3446E9DA3A6C}"/>
                </a:ext>
              </a:extLst>
            </p:cNvPr>
            <p:cNvSpPr/>
            <p:nvPr/>
          </p:nvSpPr>
          <p:spPr>
            <a:xfrm>
              <a:off x="921946" y="1391347"/>
              <a:ext cx="823521" cy="564193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rgbClr val="C00000"/>
                  </a:solidFill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60745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EE817F2A-AA18-4F3F-B472-616F290BD2B0}"/>
              </a:ext>
            </a:extLst>
          </p:cNvPr>
          <p:cNvSpPr/>
          <p:nvPr/>
        </p:nvSpPr>
        <p:spPr>
          <a:xfrm>
            <a:off x="0" y="-2976"/>
            <a:ext cx="12192000" cy="1115746"/>
          </a:xfrm>
          <a:prstGeom prst="rect">
            <a:avLst/>
          </a:prstGeom>
          <a:solidFill>
            <a:srgbClr val="0075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lnSpc>
                <a:spcPct val="90000"/>
              </a:lnSpc>
              <a:spcBef>
                <a:spcPct val="0"/>
              </a:spcBef>
            </a:pPr>
            <a:endParaRPr lang="en-US" sz="2400" dirty="0">
              <a:solidFill>
                <a:schemeClr val="bg1"/>
              </a:solidFill>
              <a:latin typeface="Gilroy" pitchFamily="2" charset="77"/>
              <a:ea typeface="+mj-ea"/>
              <a:cs typeface="+mj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0FA670-4D1B-5242-97A3-5DF343E5C08E}"/>
              </a:ext>
            </a:extLst>
          </p:cNvPr>
          <p:cNvSpPr/>
          <p:nvPr/>
        </p:nvSpPr>
        <p:spPr>
          <a:xfrm>
            <a:off x="10070405" y="1277"/>
            <a:ext cx="2131533" cy="2438397"/>
          </a:xfrm>
          <a:prstGeom prst="rect">
            <a:avLst/>
          </a:prstGeom>
          <a:solidFill>
            <a:srgbClr val="57C5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BA4B48-125A-6440-843B-AEDB8EDCA3E1}"/>
              </a:ext>
            </a:extLst>
          </p:cNvPr>
          <p:cNvSpPr/>
          <p:nvPr/>
        </p:nvSpPr>
        <p:spPr>
          <a:xfrm>
            <a:off x="9919252" y="198782"/>
            <a:ext cx="2078432" cy="2266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46E37C6-B020-D042-902A-C0CC130FDDD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0143093" y="644769"/>
            <a:ext cx="1630749" cy="1297735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0BD824A-A6AE-474C-A7C0-7CD027150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FD11E28-60AF-B543-AA61-E2BD0459882F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8" name="Rectangle 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sQGbZh6JTXlJsvjRdsJ69evslQMfy1ZtjV8VakvpttFLpl/3iuXMA2X5swWxR8qrjVF/wlRcd1scns67R77q+E6m/uHQG/F7b7cJJ7DAYjlNpHnJL8bMh4prJ2OkYVZ2QeLj39ibszmzNjuz139p81qiteYh9/KNOvt+oM52zYPLGCoNMMocFdmQN2YpbYODueL/X/Mne2HbxsHTdBXgT6jWWp+xkWJOCymubC/Bs7017iX87NgrBaaEB03+R9S7GHH3f0jqDpa7HtOFhUKeI3zNmP4ufu4jqETvMUqtcCV4xZcWCfgu5iu/uF59LHPyAdySkpOSHtgKzhVg9NAe941/aQvcZlTjUn6LbPvpoQzGY0N4eF1nu90/o2xR4md1hGpXQn7Hxr5IyZSScwT0Mlgbks+GNt1f5FzCv2dTaoWJ1CIrUiA6iCUXm8bAuPGa/tprUwXMA4gV5QcC5meVheVeIfP1o5ncL+0sKCdypEk2JTtRTi/S2mBmxanu6lP+IF4uPs/AAIp2JGxZi11d9V00/a/EtHSOMXRNGZH8eJBry/ljbr3OuzlWVLrOe1RJB0av1OcxZ0hfpVI0v88fOrbkHTCkKf56k67dW77Kl4HVl+iYCdakXaUgC/oNFGCF9EYOQxu7BxHXvPZ8+GrFsrfH58I06sXyl/at5PQJDTfit4CzLkRaqUkibHcucF+MHueYHtWtsRabrTuCQeN/obD5poqT/KMd6kEvOCp7g5a83nv7zaOu3Dd42Dwof09ACDfx/ZrYINdtwp4bi2vNnrl4+FMVlXFtwQumX8WP9uv/9XnHdd6clbxktkLQTcBkTDGgrDn3wbROPB52UTP2f/CVTWHVYO3UHDpD0qeO5TJdqVp2oooFu12jYQQ/dIvut3ffJLUbpn+ICM464WygJIvFXxtCHPnrKMDPMzd0gxL/uCiAmnL8T1FxnSuElThX5SWlmc5ZgYX14ZoicyFIuDM9YVwivonewthSbMTLXZnJbrHIXGSx/rSo1B/VtKJGvdo3tPjm0zCDqOONDEkmLipZxI9YplnCbdQxa8LlHvhSs83niwg/GNLYER65cJlDxnoZYKHllOS75n8pf8Ulpv/34cJNe8c7hX3AtxAC7HSYBo3LYzFIy0L315Pbsr4RWCA5c+YygxapXqchWYcooZ9tLPw+PLAvi24UAvvHUP032FLP9TqbhZyp5fiK+tsqxM4AbktCTpvYQhGmLYZwIoNzSKX0NUvXho07AEYUZgEqLEZy41+v9UbXMoaRT0UbGQDHBnwpW6yoJunpnLHYRhdE8bcxYqjqf6Epq2Mh0Xu0cCvKtcgQK679sFjTX34p8RRFEhEVfZsS+KJMZZKYoLww8V+ZAVfqW/LCln8rPWRXzTvSt2NCKrxbIKcHOLz1MqfkhBGbME5It3TeftTULPyDAYJxpv0fRDCul1sN/rCFJ7YtRJLKz8gAn34sTtretgU5WR9koyYMIONfE2qiqsQXR1s1U/i12lUOTTbAR/XERm6OaxOIz5bNjo0ADCHqJBMLsJkt63O9j3aucixnklhHKKLevih08OqLTn0pr+VPhH4mDEzW+TTqFXt8XnRQeayMnroDbwruaJ/Tn6rnNpWHMiMV1s+BW2hdQixzun/JluYZUTDkIdH9HvgkT2ozNs5pCd9/Uo8Fl1kNPZ3dcgi3K/4RFtJ9r1DoHHd/DGjHF+7BcXR1s2v7yGJ6Y5eYegpaf8+7Rr3OHWyieTkmGpbZA9GrlCOIyIgShgNJeFk0YI0BQNmqngfPDjGOUISFZtQvTDyYlc5UTEEQnQqEQxqBbV88CY+X+0YGGGvlhplamyjIC2oegJ/t0+XlL+6c8iyGuGtY1Rd8wRRsm+jV2PUpQf/m1HFqGRYAT8uVLZu+3X15WCSSxTbfwY2UXaUUVKilGF7xgsYtZUHcpwvc0bOWP+r5tnPUIuPfeLRgMrEkGUCKe7Z+18FpjhwRFjgVBLWfPkTZr8nppx2OMt+dmH+XDpI+mtWFrkMS7OeAStrCkNc1vN4urmWfXFkaIcx5cPHqnAkj+v8AHfBgtlTZkFuX+4j3HY1vwR28uqo6ysQFwhK3E1mHDEgWFAIOdMFCHqVSvjyiJqESO6kH+3Tgul1TA6M5p1xgMOgKw3IbflCfSQuOcjY7VAmHo9FhlUgQdC/Ew7xmolFmAIF0XE4XTvCo54MIFyOQ5dT4Z86Wd9OgKTH5gspiRVsi61divXfoPNiaGP7xIqcLCF8SaxmJso/rkqQKo5XiSJI7SalRh0PHrjRAfDXk1Ui5VfBQqxs81ofzpbGLzQvaK9Bob7dTIcVAwKw5Va5xAhvUq9ufZ44+KsVWpqM2K7BxijanlL47NUDKc1s1ImiE1POvdWzvqkU+VdZKp4qx7MhfDNNUL2YyAbIqdIGqH0XCKjCLgUQsV/JC8sDKmLTlgAcXonSZzVCIDAwBHK0HViJpngNcHkmH8Eqi5rClGLsx3cU+AXFB6+tCiG+86r/5GvLNFcCD15Xp0Np+gvBZDLj0shOYs7uEW09bbGOR2VDCjHrA2cMQjWCx/TF63n51GJmmVYbRTgNAwA+FVn//c8TPWVKgUU9nlsgE7Poca3Jmek3pOXF/DKVdczqhghg7SwnU7YYYNI0VSB1p7qYvswm5hc57BeuilN/BZigZQ264KoihHGsDwav2/lcH/20NaewKLl6xLUwdN4Y0Iw3yLH+wFDPUHNNAJF0IJQXhvnc7DR5E8QFBjdA6HLFWwK6pHEbsebLGwDkWjUS+0lhs/RR9Wp+jMrVL35pUBnL+LX5ktL1F8OtulvhHdpenKDPkcbyE9pFqjjNvQZnLjRoYz5O0ZELZsQVs+kYmd5SaIIMX5S9iTbD2KnOBhK7kFhxkQpjCKYptDYNgNAO1LWwMXladeI68reT8qqyqEkvOG5tGXYDocyE4luM2SX7kvtVLXRj5PCkqvuCoCIaiVxtii5snAA5LvzbcOyrxGsVg39zZusmYGToGrP2vY01XhXz4FNAGyuytL+Bafkulu3p7DiBxSpvzfXsz3Fj/AbKB+ZcKAKudlDgF12ETTUzLdekbcYeEwXeikZQ8KjjuTXHMEL8EYsJXNZd+5Iav3ACcH5x9k8WmOiNf/5CQ/mFHk8qiSWAWRkWqq7ehDHMv9Je+uUNMroU1XW8B0nf0WRoCWJgi8ayh0zinYSGpvqA3ADeVpGByqBbByemVoMUh59RVDdjZsPrM3xUxWfCuqazWh+AMMIv30iDRxc02KxoPYCBzB18WUtuFOSJMG1WNHGGd5l72ptPCy3kPg+ax/2fiIXaffi1GvfacO8pY2z34AfTdUJjjwPM2a4lBJmcHnQsHWLgF1M5Sf+TuezSOOxooS36iIJhRVKXSo5fQYfhPpcZgUWmHt/yn00AGQv0fpPL1JuwWAEE+hDoZFxtrI+4yAhl50qaAvyq0LTcDolsPiCDUE35LZvW2x4BAno+/Cxr4491yZkIIC5KCLnB3qZ8lNDgFIMVgnGKtPHV5RdQEhz8ljPSEg5QwrKJDBN6DCcQnp+i1EPFV4V+ZJM7nMiADa5OzSOdp/Ye5JQRsOy93XMqMYOOpJyQi/QAHJytJm9+/Tm5I+rgQ5+OI9xj49EVblsADyPjSN84J+pWae7a/4DQK6SlZyY9Ac0omnzewaN4Ays4z23Y9zaPdHyIt7Bk3e5O1ntcijexwJxaGTSwdMeybQibn6+Aws5TQWTGrrxp54CqEUamPlVgZnUw76BFjcP3xlGARxt0R9QbwANwUoKCddBH40dAZFdHRglsurvvapM0EFOCwVqBdwkOeD36NyZrrFdUam7A6f2Sxz3EGzqn6sBBUDqnjX1Pyr6cjeRT5I/RF1G6Jr4Xy7ALer1Cj1JvvKqO5BSa2loSmgmX81MrafRL50dRyaLcHOIaK40JXqSSI+VD1nqQnWXlNH45wqMMFp3V0hyDcxlRR0w/drqUGEUtBJbg4nQheC/jZCi5NIhbeuzqi/j95txQgYtwfI/zQ8Otz2zv0KT46gvD6sNrd9JKv9iEDESaoTi9+v7rvnubaptoDGvUxexOYaEdREpYC5tWVaP1UUcv34RrFGpOoTyqdH8+FUC3MKQ8NWzxi5GTpJ2/2cUjaLkAKHhei0eNRyRxpWShcXFV7LBK8u935FoDz+BmsbQOnKv2Wyg/VsnSKielXrhwIw3OU8zLR9ZT8Ow49X8pLeyBkPn9I7qOLVDVhzSsAVfi50JYfamiKXDO5h/JD7A8FF0iTxLs5/YyiFeM9CVvrG20P3QL3XZRs8qeFZDZZ3tNfKlLEf9kZ5YNHlirlsIEYGl0by8UUsAa2K3WSoQGzVTLxOz6ME/j0hmOADYW0xYYM6DM0t5iiWsmHS82IDqtMva/7quwXYbJg3FHt1h0S1KgcwbWJehMJJF2oO6GoqkcGD3e94p8JvPU93Nl99xxaQjlrj+mMqlgD16OK0TvA2FF0dymrlmdUPGrN6aGsmYFYac71cJyD7E0mPEswQ+3+hIGkHCqM5T26X6v5+Cb4fDD6faOl1eBZ7KHtKN5zebSwi3cSng1tnMTEzRZLxcrBvFLsYvxMZyxXH6UWPfyH7AuxAVjPjFyu/R0sbtTX+0d3XDVeXfO9pXOSI7QgIfq25nM/OhLOHK0uyM4TDIyYkjnQCP0tCQuztiF5uC20hRd40HFrc1BxJKVOPFvybxHytItjNmL09ocDJucazFHOS5rY+ISjLPKjeZaRQnckcuN0KO3j+z6zQMgYbulg3Yr8gZUDXuX+K7YgNcYN3QpTDI+yKOqtKhqhD0eFjKsWO7NEhMyl2MBGO1R2EmWzRo5skRaaktjeW+9QlpnROrNzYNHRjPPiYiULN0izs9CpTnmdOGE1jNuYuQsdRczYH5pE88H+ov028d4L39zunSxrsJOAR/tyl7Nxw+IZhuMXhy4S3JkK6yuKWX3rMjhsookgJTkgL/UtsE3iNLMh4UCfLoAKTWVuJbGjf572s5v3ZCeXlt/hcvrBEhXbUcSR1g1PIe7REIJYLy0tyJq3R5cCLthJKidOxWfw2h6VwGcx7MhX0ZRkqRQjAxE1cdsBwpugR/t5sGZ6Crj4jv/LuhsU/tbi8sFNV6zfuRkMty/kR3oRl9k63f5uwfTBGMgQxenb17qUPsNBwSobx/PSkh8PluB7gQcR3+vNtZORye8rRV7GtZuGEZh/N+NqxGCiKG7m9LauJLz1CpCFZhp2KauVjOpR7jmTmAlwm8uNQ6/FxlrjZq/hCMGP/oFOwvjzZLDXUwRi5OIdRrdKDbm0YLSWl3YjwJM/brcS9hzl50xVeYvAXITXTfQASSn8evMY04/pWVKQEBGPYrvJLEJpji9sCgvS9vtA6ceNWn7rg9qVU3Box/tWyccvneoDgLPJs04s7RCFOzXoPybQ1/+9lCyRc1HpuYcZzFfSlsMsWj91x0cXixZuMda/w7oYymwhdoDsuE0wU5ajAFk3eCX2Qkig70JL/J76yseHcmYUPrwywzBatkXEd/XPc+lYMidSjKMOtsQUv8aVrSr/ZiN3m1mRqyO7dmv3g8ib6q1rhBXC+St4349krAP6EryOCWnzhLvNvFniMhGVHiEH5N9jneo3NVWZXG6tRtFJ4lFWSiH1iiT/KeE4E6mhqXqBYiXvmkVqIRpfr0w+0xuwxrC3Ccy5BZC0c5gAffU6IR5lLQIpZLTbkua9p6PtqZzq2ciyYHbyrz1ebspYqtogyJrnUVUBwPoz5iAdmXO+ZiQClEMCqHh0YT+Izk/osrRnmb9EcuL0MmPlC+cNNaFlPz2qqWaL25M0csAGFf8XOBaPRKxDwM5245Dnyn8paBHve4m4lbahdL1vPXb+tesH98C8Hr4uwWOkLzIVed/4PmrG7jVnpcHwWSlXe2CnE4tLP9d+JYmALD9GxdBA/5Zd1t/gbhPRoqNyP2X1qey4XyvvRHu5QZJ1uNVwQXrlo8MndF2upV4mkbkcBvAu4uf6voZSi9HywGfWKkS/XHC+pno+qxsczZ5m+h8eHnBjC3t9ZMz2H3iJ8azZCAPl5I0prdSspLZDknRcENh6cZWXMJjUIs/CvSJV5CjtVo08XkKasiHcVuNiizxv++IMoYEPUdkP/ad3U420SKy2IOwsVRiKHI7vUC/ZlrA4x5mJuai4KMQ4K70CSy7dRWEqGXUvgqhEDVRJFNw7HOvnnneU1WsYagwfbJgATePH9H/0IHMnCphaI7cObaTDSq2xnopRkjBykojFqO+YwTG13BJrqrBvGdB+rOkfrTZqtd9gB8e77NXhosywu98JkoG2JEsF09ooYabQiUuS3rSr1LC/7Vqv9uU+J4ERx4Dp1JQTI/IHFahqihdtzBbjW0FCn8/MwFLM6W8sEaKg0AP7r7DxFb9jNclmi3797Sur0y+Tcf1Hdm8kAeSjr40LYMBgG3s8zJQJeQ9iPYCiTlJMEO+eiJ8eAssuuy9mZEfFLsyhM/de89pzhT0TZXAChZm8OHUkDsEX4duNVsXlp+nykO848rkEzNtV10cH2wpKS1uWslOtEdtIs8KPwFe+5unjwyym0uV4HgEC1hw9XVv08NzZoqyzS7qBdkkcAzkaI3y6WGPsxqfG9LrbQo9byzjotWFxR4Ve7KVAlu6Az1e1KSCUkhTsje/E3fG/Lpv3D3ReMlUzW1Iu5I8ucmF9h5JUkb+1CgXJuc5vp8RTj3JaaD7wpa9vzK27DfdvNbyUBoMg/d63zG8daMKqR6Jw9Ir6A+94PNzJbQCOhBeJoWVglcXaecznRz2UlY5IFszlyKqXuoJFl5aaLuxwlu71fptK40llrLcEiAS5NCA0kPT/gF7xuBxO3CtFO67M1Yk3TV9rofUffgZsZtv/8ia+6W8n3yw3Fychlr3k26cQjzCj9FGIB8x/6ErcQJgbIQe3a7ymSn6hmSsxww4/vjbqEB2ia5IbqCbHE8iohHEiABvmt6a36wbslxIODHZQrLcSPuJOYut1F1wOwdclGyk1SV8omQixsbsAaEbGsXhz2LIBukIBrsSpL0deG4oTJ8FJFdtbOyOZ0RAzfpNmLEqpa5aG2Y1Rak9pxvMhYb9Pb+53+t4r33xWktZ0gFxgtr9Vj1qvPJnYgBHrXV47H0ugq9UFow6oMCELZerLHlujyMhAgziMxn1drzOiwyFXIu/XjWu0kRSriBai3IK51emHIBJi2bZ/GAsHr1108AsCFY4vxHjdE+rom+0PqfvVOB7avI24i5y4hU6XA2mqiv5fUUIv1sq4hSCkYWHPOklAEZyEO7MfJ8OB6BplhhgkHgX9/o4bgdoMIZ+BeNnvMwx5C9u3+fc+n2peDrFawv3mmO2smZD4mPUfAlmsMKpQZR4M4P2PpxHxz0jY4PnXvzide+PTCrJz0rXHCuhiZ98ONytFS+m5UOURIfciY7XxzZt5YwYI1Zp74VKaXTeLn3nlsLIZbGia2pk6nfjTItSWYDBW2WIjWLB//zEpODs/3Rh9+dLlYb0dsbvr1MuaaIogKb75tQP1c9XGpvgbiyggnZLtNzZVM1g8AnxR3r146ziaoYB49uVRDilgam4IUfSJYwpVzCuSoCZVxJ6mWyKuQehz/qHRqwt16pqmDwjG57wXKCDALHWtpSaeAqk9h806vrF/iy4JwIRUg6q6O4ojv1G0hx6GJk9UKNflHQxmcDf6tHZg+IyyIGuX65VF6K/9iHH0ggGGXk96mZcthI2oppM47NKuiXRxs9+OIfjhvPdMs5qFIdOpLYnbNuarlJ4LcxH/dLx4KCnnpMF1zqni844YqauMf/hm0m9oHL/uXc2Z+KzBwymPXWkLr3PyVdt/t/1cYW3M8bfKCdQ72affOunGNyxxLrlsx9WzWqhDMygB7pEE6r/XOWiNM5P8qme7vlUtx9Do9ueS4CTeR574aUtwGgbT5CFES7vYrKn+YwuXJjkNZflxYfikwS+NV4utBsY/8JmY1NzcWkoqpMgPP0APCbq0AILXAWTLC8pSm/4uwVLwLtVn75r4D+iyj9L7dUd8UT+ACPqOPVJlHmprPHASYkNxvvE91F3p2UW6gLduLKfeRmht6vWahXROVKSQOaR2Ufq9RmBVxM4glEpcvRkBNS7+1m6e/9sSjw7nACi3c1rkjE486IcvdrjeiOmIQU8V+yXHCfjcHXOQUSMC4zsQGEFKZ0r5SBUOaVCHotMLuTkhtNXAZHpqZcrKepHmeG02JJqq4kLOhIBO7pfmmaz7RLDlo6JwyeV+42o7Fox9vwPiq9iNtC6V7gRoo0MasZMkBGDuDMhWtiO61cHRQWO/Qq0NXNwIidqm1yhjoV3mobnSVkPA9BuXrNmuYWP7ijT4+7JeGH/GXThkFQrtXxkvA3DmNBRczfGCsWY+ZH5NxJA9LKkhOPSZMbfOuDFy3/1Vfnmu7DnIIj41x830xem45lYqaGRuLrz5hsjZHn9HQjq858KeTUcXs87t0zOyCcOkQfx0fLQMZyWvkj9aM4LIH1gn1kSDRjUZN0bNTXuyI3a/3QK3boJfAHhiBWGU6tQZBEKCXJBXg9sYlVTFUfFZ3HfEQ7jL4iuBHTaPco7vdf8UGx7L0niW0tSgMRB3cRyx5ZWWSYS4rmK3mSCHjeSqB8Egpcf62WP811enN58HNTkiMvQ6NZPzH8xUjmAgOjnOzpoCYXgu3QQmD++5I1wlIU1Zs/XYkMq86QaAaaBlSYxYXjGiKPZLflJRNBNObmzdDgJ0pyCZIXvn7zjimSXI75Bkv1U6y7nK3wGNXuG/GeTb7PhZBNJKvkYm0vqf+13qTcGryddn34kmNGagM1ioURsljKACvesm5IaFRHW83NdLC0+s7JufQeuLOUH58c+rSJn4HH7MHeAOCWaGkaShtgDd7V8T8fgwB5ArPBXUhMYdy0o4TdJ1YqhBUHlg+Kha03wVo9sQxVXI+M2P9L6bfuWr9Z+W3lr4U35tAok2MAD8keiFe0DX+bLExs1dJBCMJXF98D/I9z/msHOq+1x3hU0i0HP2aZLWgiDfpmmJhJ88tyreA9jWQcfQDe8/mvzICsRljPRuRSW3RGd2V855ny88wHOw+uRlVVgeqiiQKpDDNhgsSo+n1iEBmTtMjyQ1khTdpAZkx8mYcgQAMPjn19L3Ny/gQK8OBGFuGoRMCegFYjVgaX41VQlDLjx2JCyKrTTYqBGywBwKfIq5kI5JYp4jmXECLBWAq2YErK6Cd7vjXrJ8lgmlqgCgVaUY5uvuz15+t6xjjsWrGXPXrR3Y+DXoheYxWl5WrqtOew76qGKnUHJOWbOcrwKc2cCnI6jftFiCfiIQaIjLF7yre7b+bUsPN4TZ4lp6i62J8Mwb9Doyhr8NZGNQ7lHKcuDrtA87yqnDIsKfDEduS02wX1AIo6Jj3LAo7uKk3SqG1upW317PlQgWrcmfn734kzw/dukQG5Y7PZlRKQ6pMeuVyrD/I0qlOFZRzrr2gnGiRWEsf92VBzKjvBo0tHk12pa+FzooAcpSsaI/wT2g/BlFV3TsktOOgj/5+suAzmXZF5N3NRy6pfpQ9NGf0SgV6jM1hRctakHmcXRzPXOrCdiUvbwgK5XoRAEBvVwKj/pngxafwhC7CZZ54K+M3cIuH8Bnvf6Nf+x4kqabXwpGv35HoRFZ/Uep6Nh17+8L/JeDEkZjZtlYb7k48q2mioymxmr76xM5AWg1l1cP7BUzvY3bHLx1w093E901wOWSlPMajnpA9jk9H0/UBz/i/FpQ8Dw9E/PTlBhTw/Y9t4WJSCSgDvhBylITQXmnmUirmIUMzOVYkiFh/Ib4e0EJTBkVq/XW3cMC/fSKqSiLP0TDvSI+vLM2UeCbFaPP+T9SvPZqnfLkA2QR0DOqDsrLWd14X3/hBX1IsMvNhOaYD7zhhOW/0X304fa92AYTw2oukEvRgXndt35o1NHev9pF6+qT2d3zwGJ5Red//22/qA5itE/9Y6nwK3luPx4GNjL1KW3cYzAF9sGgRS6T3QbJTbeK1/Z5O++nsGKFjXdn6CF/lJ36zlsCJi8vV0cu8K/PxSxZuZGT6mg6K1r8zRqsRh2M4Ph/zuei5PWL/JMvTfTKn59IfKy/qSRE/KTYz4DVsMJVGatUHHVDxAapfWaCV4IdVCYWt0PpY34Ov4b8Ph5MN4NK2L2o1Fx26Nbka4t6G3t6AZnPdczj5DzaeG2rfml6HhB/jiwQHzUFxvxeH+lFMRZkk+BYG6wchh39EJK+ku7jTfNALSyRuDtv+vUgxua18UGKgSAEFH/waGOkknzXwzUJTuOKlxKWV+ZiX8OXurxlciBI2kdvIRTmCRk6BUS6sIZccICfSWgeDmpwxwUZfMKM1vtZ2/wBGNLKuG8TyvFzjsyDNFnUQaCW+8HUm3m/cGwmOKbsmoQSG3YEijT/bMovMm62BNuyMajfLdOvVoS7U4+AOvf54fsLLiQ3ZPBZhFWLaSMBwSoFs9mNSVQJtXAH4t/pESMffNXNiPJJhDhF8j/3JYwEro0z+auqjoIK9fYOwwaRlHHg/Zujwq6qcXcRiZivIDDzZ8ktAj3bb6VOYK27pSZMdYL2a61ce/LzxXS/8IpwfUqOb/fDfVwvp5H//IkZ2bC1GJSdoFQAcpS6Ik/BMP94d5wVxYFsBq1QTOARA24utVmoqh1gzfQJB5qXskBKwpFiHFdQVzeP0PnmDsHrarhQVGIxe9cYjXIhgWmGwhyhJe6ctYLUVXBUTEOHA/MyNeLBxx7+s02pyd0qjIUyODZFvDkdEaa2E2Vkth/HN0xFLwnkwen5DezGOGHzSdFwefsHCWh+j/7P0Iyo4SkHBx4uF6EXKsykkvBxw4owor/dKolpALMdK1kJgEpmRqJNH+u6/A9409E5HHAwpqM0Pitz/A10+P38yjs6QM1rHFKi1WJsDpdV/EPkFu2fJ5ePfViI64tObOk/v6DLFZoY69CoYBXID58t9K/2THkYBWZqyjWAl9PX+cXNt1TB5H+pYd/LDwevwPGebn7PeMVpIqIxpCXvf+6uNHWJHsHlXCvbnCO3P8Mw5GBfn3eiRFQxLoMb7J5ERDTDD5jYz3qI4DRsogfRJ0vaCuIUSAkISJQobnlvGfHSU/uRStcNDG9dMeWE3dNZGMot1G+T2RSzbvMzoFIHA4IzibhQdDMMiMXu5jo50/3dZSbkXfTBgZD94fN+W0mIZA0ZB+sh44sZb/2kovoXDxGszvd+T7QebRGJqcEAbjFQC4exIS/BsOggJZTsBa0gMz83lahZ/XStjlOSDOXeBfWWoMrEtNdVcpLFWnh3ZB1EL/u1rOBhLv7Ytsdwc7vDKKmrvjsSzKRpMqkpOPzOVPTp884obggjUvUWONHypN1pgBKyMKOySHtwyYr9IWq2LXi4+Wxti0PKVGMXYSoJP8ue8bgITCcGkPvdBW3RRd073S0hrP6/njjZFjKFfaN/xin20UBM6qLv7fC3x0XRAzNwgJz2hrxx0YblQxvogV+o8y3vW6pgZwolOvswR5A5C8ENaVAU4H6qSHSEj39q4bJX7xs9uvLz5qZ/13WyLYPw2S4KwyCFTizbew0v/8LkdTgSBmGGtUyJEkLOqtMt0AGa7w+ekZZ693n7r22O7UQeESryllzHFQ11Y9d3DDH1f7IkJGO8dqyjYi6PxkwU+hdxiDopa/magyP7+auDGxVmcF4o6UDfuLQSiAD7B0s58S4CT41uPVBa62X2s5obTBGjXUerIpn72fg4JprtF5XyTGEtGxoYH3wsXjlHoRPE8Eo75Y0TNX35PqYspJpM1oc+U+4uyvPDtHfdAvu+xwCVynIyNG36Fko0vcUCFwFqLB/ubLa/pg0t8PT98PpGuS01kCPCPdG09NayZKpp08t3N1n39/jjipUhEpTwcIGn3kBSzdKsIU/i2rH82eUocSHI7PdC1oHs0Vm01tayxMcSlb84eGRsv31rHUM0urojB/F/fukBNEvlUq2TPYOc1TSNloiQYg7qPDVJKVTzpdPJadKEyIsiLqlqRZSzTxVP2EedBBFbgPiJl/rj+yYglg8EIAFgPl5Kt6byd/B8vNv5vfzerEeF7gOlspoXF7n4r+tsnTFBmJHebt6FOY3U8MX2wMC8Z3sqXektYxZOCA5tZcEtCVc4FQ1EdDI9XgSb/VlPvnV9YAO7Mr//D9qU+icQBczSPCbpu2mj+JinAVwcfa5aAzpZXrrp9VNIErNJcGkKfttrXcR/CLayBTDbQrAPx4ZmvjxwAr4the4YgfyR32eJ1DGtx9NmbFY0KxLg1CKSn0tQhrpNg2kt6h65hVMl34aKmtAOsx3fkeVdfOvjkJbUHHpiCRrQa+B1AFj3BhMkXkkuEZdGjf2Svb3wOuoFyczLIuI8GlIpAlZZC6wY+pjvNAcs0Dl4XRe/rgXhf9AhcJioWOeQrkrjPk8zR4dropqEAGX5cJCIqhlDEHMxchxHzeoSTWjVs1PnmBQSEfBTpC3haggBT7yVJhrTceCLl3NcekxhlHyPPqfieg7MDPp6OM1WoZIu3UTgXGzJBlrLhBRKEBP1AZPE6J/+3l+n2uoNXVim1W9CQPZUGZWGOrXYesbEBRwBUPLCBR77Ovp/ujP8ioOpoULziPu8bMJ9qGyyxukBWFMU1vgn50NLSNrdAW/v6jqozg399liU7HSuQ5RhdQHtbn2DCu7ai70nBwQZcdKtvoUOqL3U3fJy9k7D+OmJC7NCOLfBytYtJGx+rRDwTJK50lvLWktPLOw3sKUIw0W4+owk0p575cuosKYk/rbieRizLmoWdTWAsTM/sx4alfd4I0YMHhdre4Zl06NrBaORGLhYtAvpRPUui/F9QC4v2UzvRf48JYCa8yUbaDnOzPfAm6fHRnk/9EXJfxsZqhAitzwYD8CFUXAYRjHmGojrFAWD2XctsJ1MQ0Av9Y3BrN+/WbwIbqL5Aph/YhyBMiaZE1h0AgCtP1WUZFsiGZwbzZJUPZ0Y6QmvOFIk2vMH1Rnq+ISZhoTLfwNjMtiobWU78BpYczazvbazz6Jx1dEvp8faz7dtB7lyQK+LDCH8phNerFC2m9Fv4XHvM+zlcEQCjufVdySoD7IC8snU+lOwoFpNBD0zvptChmiP9zP+k+OtpLmPPq4blmCCTvS3v5IZfBDOFYfEPY75XFAFf7WT9x0dBylILB5k84P6zikU9dJ5sGmcycGUCDNXq6pF2BTjfF+5kdjEIHUpYGuwEneaTF3KOezetsHG1AE5vrtqMJbuBo+c45mpy7i/vV6Y5jXecbUCn2gF1wN6dwe7AC+hWOrepxu4Kysf+tm4IUXsBgHMh1CsP/ZwJoJoxWRuebtF0Ue5qgxege+vt7+GTbT2z4Xx0XckO4CLxkm1Ikj5BSSIxWBQIDM/TjpCutKA9/lBnLOtpDUoX/nfaiiFh8c91GzrRU80YkxDMGC6YFDqXaijuQZwu9PEj1K2AJdIcQbHllWLoOKy7S17UI6SaPtA7pNj+ciT+IYaTkWffTks4icyvJrk4P3nubkZVK3LVfBnbd6Vk9Y12Z3RD1eXaSnTysLs49dnG6VnDKh3Lv14Bknkhr5VbcUJ4JyWddSYTQNXrRNXIiEgVvGWFUmnv7HBo+q2TAmWrFnXgN8AYB61N4KV5HLq3/n8kfY9Jhnjh8xagECN4w+Jtq4NyWYSIDqL5yVawKVWZlP+A8rMfApJ3z++bPbkX5nW8ZeofZHeZmT8Zq7CLo00NOKOcggwVDmsHpINcByLvKiJcD4SOWo/o16HphJ7jr1HQOATyyqJCt1coj/lzH2uF/NNp4gIe23Ndbq0EWbYfVZ2CA/PSIBsnfiPBNrWLHu9WoCqdZ1qvUnIyqUcBZJkiNKl3cuWsRzHcwSvD5ed8VEmUjgAWch1A5lifDKouY7nyHwh22HZGFdwBgvR17z39vwwlUXn9KCnS6thTlA3m3jrse9nFI/jlfgm8wn5ft9teAH90pP5GlcDypMCwmKkkeX5rDN2u30ABKlGvbh22UKQceTrbf+NHbzPc846x8wlLMM7gcZsd/K4b9Hz8drCv7L4XHxkbvFTZypDOmlHDgicRXMnocgomlZgxlEeciJnnzrCQ54dJxdG1hZSnMvjA0mAjWIeSJpOKCZ4dDG3TJZvDi1fcetC0aHzBj/bL9EAEm1aoFxgKD5xDYLTHIgir4VtFhHCzQs5vbgdERctYXHqahweN47arBX/KdSgxbKqjmHNQ65cSStTH9n4KfZ8xPNevfZRRB3QSZYNqQSXOC1o6ohfuuVKj1UE9qJkiFTtxtHPmaNHAYQFbko1kez0K8YuYA8FRezKFqa3/XHpvN6f9yXoNqOtsdrsJPo1UyTkPxMAkecM1nZkqRXW+5ljs7wXXFtaU74a7f2U8hNDmazZ3+v/jBvlWBS8MuV2lbYXfwGyCIxMEiVRjHGcHIinFKAvihjLa+A/y7+3eskskO21XZP+BnPp6AtrfT/wOVtsXWIGmRPU3MDGBIV27mQZoEAquYpMe0xygnFezsx9M9v2SIOGinHY06SFriGq3qZbXwojdVtq3HZO3xxfeyr3zmjHXpAMSMNX7wMHZWqZeGuVpgqlZpxWuvpC+CKHRlit3jvBOzllI4wDNZj/bLj2u0ew2urByXAhJOZGp1jmOzDf7nq7sQOkD0bFbp/RTAYW/GuUf5aZX+WH269hfHEP4oNt8e75+QXpjLxXBAbSnvSkGadf2tuH6GHljbM9QCmJg/c+86yikE1inI+y3xFlIymH+Kv1tpNdXQdwI0BjjLThKnWexvBjQ6EI6tARsnm+uwtXJmeHE8xpa3RJiJWbOLRYVRvSe8rDKK3y3rER3oUuZJEN1y1d7giD2aqeGfQZoClJrFaY4HPKC4L+NV0a0J5kBoahgTPXSnqIMjU95Smpe4/zFc4LqA7q5VNGIrUPTWWRpyw41uMv1iyzM8lDnaVMY8oOCHJcFERDJwovE4Ce1uVnSwlfw1SaN0KQanSlQgffwRWGkxdgtC2PkdRQjdxWOlZWRAbJsaXrpjZdLp/aIfneA1DSnOmEelGWlTmXH1879/D0jimJWghEduCpLlicnNsxjgxFJc73r0DIDDBQiMlLOo8df5i0/5bonfUbPPstJtIOgQz8speoWDS+EPeqjuBcqsrS32WYeQdPGpmm6tu9gdkJQgiatrpd/KZKoCmUbpeuTFtvm/Og34H/cGJFSW6ejy4oMH8JDv1P6IE+DgvXgrhGtFdSzhxwhl2+3SwWMu3SJ+5EOOqw8ZFMFDvaXlmOywBXwSmbmupKFL42zZo6Nz/drCdulGqC7Afpuw+IOoljJZpFarTjh8g57y6gsNBNvN8pTcktoX+H72WH6qPioXbyGvuY6Hcpl6jNlCic+lwix4VfzBNsaEyKyz69p8HDCTQW8WrkU3LElCHkRZuklhLcRdQd4m6H+s71jO0aOZtOHSvMVSATwfF610RQfxuYkDdeeXI3n+ufY1ZH6rLsVgE271cpQte25NzVh3qkGyB03ZQxUcDxjokyMmt5j7xs7zqO/PJG4ooiCLVKqu9aafd9v0WS1gqXkpGpoF3NC7ZU0hXxx5avvPx7LnS9Dy9QditlVWB/LVYnruHLLg5ec3737BF69mdYjY9N7H6/jyA0S1g3sN8+X60wvm5OXan+NGpHtVMdHL1d1DdLuou9eFdFl/AeASdCTHTX2SA5jo8zb15kvuxDFR8mr6WZ0q6wKAoGoFZJJuCqSBtqdtTnOPtCEtrkGBVaH1ICT0CE69UPQWMDIZtKH9Bk6r9ZTs+NqnWNrai1qn2GN1FxXJWgEoNXjQldzrItojlmDWd0FNG3Aq3zjoEQdTPpNclmQ/5FHf6V28vnj3gw+jpJF74gmvdKpCRnIWqeyKy+FRlsqOTDUQZsPFAoCI863c7oExujI3rQ2LPeHcCGwsxJOVPmlH1QgsdQzAFXmnd3oTp3Tmz35pkdyeUSFPejo0CdQfXNi0rhErZMHlXrYlv+PQErD2ndXKskdze2xvOOIWcgHO8bvDl/mTNkCGhtojbcZQiPtGHV1P07p4XUsEjR3s8KXcplvokHpAATn1FBZiiuMCu/6rD8oHMdPxllpBSChApSmzdPIqovTKysGJlOUz8WILSv8O+6N6EMIZG7n+Jwnd/aSBguMxrMUDg3Pgzx9gNQMd+y+5ZISU51rm0CXwlrIQYtBQcP5ZiqJey5THaNmrMC1J2Cs8WdnQr9V0KYQBgzvA8bQX8C/nIWxPKDEgdb+IsS1UFDDvCu4z+CwSDrLpK1wXmy73HR8J06xAWTpBD96Cz/ahJf/6hgiOpGIJkYUnEjfREJ++CBCEV9wzYT/yCLr2h2zzFRSeIxiTTmKR+qCqNftZJPINf5YEGEIwXfkGExD1sBuX6+XwfP/Ms3AAwmgvtGT+5GUaByops6psKvlEBdCSfKaDUAz5tEmIOqqZjbOYqec81G817Q/zQ77Dy+BpSVwSV2oGBhZL8+M1JxVJ5uGAbJa2csOjjdSeali5aJtj5IzSxH41sX5jPqddLsDmYnbXCS5PG6QLncK/L5zyQtdanFVZos762710cLVDaRS3cej2A+mpsouGOlaC+qtKRrxNnTofMk2pmfFRPUiW34ytlbbdIxLOpWJnqmtyHmyXMDAVN5+TdMTjk5x1l1nT+TagoZkKJIqNZqp1i34CoTXuyWRRoy4iYuo0XxkH2vrLbV2LQL/VuPr9G+1kTGCdjsGzyM60YUj9cDaDuYibrM9xN2uJqF4HbVOQUQMYpI+Kajt8G1VnNTNg7HjIRVc+JKAx54n88pvSBXt5Yyp1EQvryVI51tnEAI8EdV1PGdQumf6GhvQa5RGy1E7K5V1F7OZmAW+L3/6QiQ2uLdN0ZouXUJUulxXsyLqiQq1miUwx8YXHSj10s7oWPKziwo5HT7YzvgLQnAMz8IV0vPuE/jyofhJ+rDgywkuVfTZ4JDdE7Wy0cNXq0ShBOzXwOcE0o+z2oERDAFrJyQGhBYEMrgrg4wkGeFALop90aW9Ihl4SYN8XQt65F/zadZupR5hCMaecF1tXz+ppa6ZMGBFE7BlVZ3Oy9XGfPWB9x0V//MOubXzKKzHUkXkvMOGXGUAhN77Sp3oEH6A7Wul4ASpi84JdoPxWrl8BYfoWYHmQvWTR3jioDCblcFBfbwOWKXbFsZD4ht6rWRc01mhiGs8oC3lgVtSr4R2lTkq3QAdNdeHeUJjkIKEfOzkJE+xLwPKkBjd8Z7YihcWcsycyKoUCZr1W86io7OmHBT3vr1/4Pa9V5rYI/I2pPufUBEa8at/KSbjT+rdypAiGC4lVGrz5UvaeUgWCuRPgdprjhIUU4Lt2ZGQDjWA/Eeyxo5csayp1jpF+DnieFmajaAIYndvdqXBhn6zLPeV7ltN41caGQmRqV2jUhw7h8GYKyS2Vc40LmudbjUO0/tYFLY9s5FYcIemxr//dtZBVALaCaFt23zCeOjLeCcubSMpKAJFZOYYSrsWmeA4WXUihZAaeZfHuMu3QkGcBY1eRaOxwL3nclCpUtWq6Jvw6LTJWUhyt18AJpBWgoxia8vgxjnOKlB/0PBITcOvJmFfwPaKOqLJ1vtmREktZN2Md51mgBffJm/grbOKrjV7j40yj2fJiFH0buWVu/R470XamjExXOYzWsdH9Xw/TBGRX1qkg2UWL1ymnCfnZs2SABAMjECs202rclAKYsOyIxgpDVOgOZtgo5vkFk56hYZz+KN80sAdDJ63NR5e9nnRGUDfvAPqfykTYxVKYeYN5QrzZ7lH0hUgAJm59pUJtZG/WKQHXkrML9elFjOPRPlOGUNYueh7+28+mP9T6ZT0FyTS4FXwQKR5Q+52tjIKFyycjaM9HK5yof00/NPXfDhuvGisNosuVqy1RYeOEB4vDBKbuRNknP3s8TILkvLvqqcoAuO9b8Q13hDyZQmWxg1xGm/Mcx2oD++P6yEIbxcZe0z8XXE4P0YTs/PxjJPHHcDLvJRjLIon7aITUJs8Y2OIB+SRUie1IzPi9UDGQm9BYPySSuWpha4kp6XhdX+ZQ9isNnP57JrwEia7zuILuvDEBpp/snWK+ND+bhOoISz15p2LqwjI/JsRAsZRmfQ9dxxYfjACHqjvFWT8K0Yqn73cBDGIOJO+PhH6CrwA22v5S5Uq16bbeEcmrAiN3bnY5j+3oyCEeEMivK9fq0AeuHdbIgOFwJrYfsW3Aa/9KPosUewt83Yo3t6euptevMtx7CfuAo4XrHqvGVTafRtXIv7g3yFx2IGQyBh+nLNKvQjD7GDYlhNCweCNsACRaMZT0BrHJoO+OlSL9d/OXueU5r2KGhzx6P75n5KTmdTRYA9Rj8RppTsYFiVsQyNx2MW05e7vr30zsUIV7UVQnC62fxyG9ieAx67uQ9dQmkKPhW2iyx/b9hDT0wHHoAbrhKbIwaMlimL1gfNOdTT5hoGv7e015DbeNPkXxrfxhv8xtFvd4NRjoKcIniyDFYTmeOXOgjwY6icm29BTR8a19OZL7YfH1d1uKAo6MOPvXNKDDP8pvdNX5/fI97PZFa74/SxeVi4zCzWNc1MmLV9TuzkBd4KhKIOdwe32uqym5h5XIMbVpleNjgFZFNQbwymqpd8ARuDCqX6+gz5JaAaPsr9qxrBM2X3tx2o2Z3co+YTsOwaSXcUBbX7xDsVQKG7a3NSd/juLQyDh0fcdqvsjH0X0lxZCYv5GGP3fN4Jem6wuMILcpYaKE/GV3eqQWv9zBkn1Ne10dO1A0BBP/4kpk9n+vbk3BFixo18d+mjtJx+Z3+EkifPUed0L/GXxIZaToCzYsD3XRjFhcHZSUbNRAgXDHa/7Q3yTA4R/QQN7uFnBIUCkURJtSdjQivu9khOkbaNA9HXm4e/TxBqNJLW9pDudPy/X499cQA96A76fnvaycUoN4m23iPhiO+GMDWmFqvU9ZGHLCNivIoTLrGtVgjaslmkJq26VlwcciG047VbBCo/IwxobqXXNaIlAaYOI9sJo2hlfdqo4eObKub3S8X1yO9s5utJpHvjglfmsgnhSnLyxMsjXHYDf6GgowqBQgDzmKkhfkCO/YcQ1Epvfwa6jTfGhShTl0WjhVY1nolgY+XnGhlW8aJobE14uUTbKLrC2W2w/CegG7qRp4HqgiVpLysyOdBu7kPIKcdU4Is0jyhH0KR3qx6a6N8AeoHu3fwbLNoxLd4WLpT2xnL+CbnZ+6qKUU60FJv5PRAMuiSDPO2NIdr3z9krcWM/0jNfVuruOZhFB4dRo2mUzSXQd86eR5XrYJzzy67WtpR9hsEoRaNdElf/Ju7ITaPBKKkHGhZFOSkmq33iEzfS2rdR9E7iwdYa4m+u5Py1FD3qkog7WtvnFwxeRdizZllCi+FY+DfxoFHVCxv2fjQ+oDbxq4QuS2JfFWsCxu/U9j36ROYTY68u2SYo4mtskLodp3saItEyZKYMMvlu5yj5BSP0T/LArNtC8VgFQzuPOpwcMl2F5BndHH3VAkDBv6fgy9jaUlJKhwg9c/xYlYZPVOvibY10aredc4u/s8PWd87Dmx9hG+e6PB6npK6dFTt7sPX8l7xHFm8JJRygDBBrXDZNSpOrZacJkgvy7D7iV4MtWNMCzphx54dkP2xSxnlV6yVjD/PEioEmgdZGs++l3A1wJtODiR/DwZjmmqfvnfLIRqvXdUwOBvM250VSR60RSrVvmQJGFDcoI27e4TuwdUhlve2+R41hyzOzsKFRMTyUv1E9hHSfKPmPj2mLGlOkBtBYpmywoOVEkkbWQfA+k+v3shep8IQdmJc6D0thQisTTjcEAXvt3GzM9KwNkqF0Qwufnc6BjVfy1iNh/K4oXm2J7pNXkghIsg7n0oV+Q8xxjGsM422vq2Rtb5YDh9TH9dSQxwH+wQO5OhVyAWwWMiVV6FrjFMW6W/Zi+sNQkcRUllcL18oZo0pANtYQxyMzIgcjmkWWH7gb+CvNAA1JOroqgjVvUlZoTgnXEEiYDa1vdKrdwto406zeAHMUFkmw7KMQxETK8KyH4cs3eVzfaVyP8A8CpCUR1DYhWw2FAGVwx2QlVG7wrFRKWa3G193dre5EXdU9DUajSkr+MThu0kT1HI0Hf7u9ZI2JAXZaYVOtXphTx0UawCPdF9Es3CVxxaIgID7dC7cH1h8j2L3l2836j602lrATk4uzQ7KCX7Aga+6cxs980JQVRDRXuUtcBP0Gz5Ka/JjyPG1Oi5mW88nWGPhbFgZkMFWNMBWIVeJ1Wk59L09DeziOsZQoFgCdUYvHtt8/mJPjVXof9hSLBqLEzg7dXquBj0mZTdRe5vTaVQ7l7GlTqhSIGR+r+9r31rGmAvAH4Hm3+ZqSVPZmirAzuwjVOXf6YnFYF3LiTL8fgF3ok2g3xUkgQJclgaCSe2/mjPn2J4xvCZXfcQ1eZhy/AM8kHwTw8tur9nkRtgKPD+4BePgPufLgE9/lPeUtDENZxWhtqkq3/knb1cQvHQ0e7del2DGDczQeQh4MfbcOLfcXO8cIx0BHkZ9uLxIR+khwGcnHrwrqKJTNhL5y8QIyhNpe/ki7+V0LCF4/o10BQSARn+4Fw8IMaldST/UAm2emWfKcrdMYbQTU2XzSJGX2SkE5uUnnaZL4p4XipsJg68Y/pgEKepRgeWENwNWwuQOMEpeRTAjp0zn5pNbefNuqn0MWAO0TSk3PBjeosb/lf0qFpx8B+aH/WHGXG04pBR5NHjH7D2/TLDtd7aNvOQqx9gIn/9FfiYgw+ILKcNkoEX697hmdFufCu/73wzLZOVLFkKVkWzFH/94exL7oiIOBObGwUDlRhplR3JtoyWZKi7pZM3FTX2M65oy0hDfUclCE+D4BAWasG1qdHmI+4xFxyCR6X9R97/OV8lQg8eyUbfI8z96ZTqGWtG6+98o+Ie65N3ftyxNiip3tb5P9dIYORh1zbBesyTF/f0dcTxfXI4GCQdOYm/AN6oNThSTpCuBEz7v0u0z1oP9VPXP+FAm2cz7TAQTzk5eToiD+/6SUjOVMjZfpdHP4rPIfXsT5hjtd3O3i77SmZQRmhHGxZq60GCj+XT+W7kpZ2HKVt2+V6PRYVYEP1sHdvhBg3mANLolwhMolzgb+iu6qcEttDS6LjErhXfL40K4ZabYA8usNYiqXYtnxgB+fswkjxl2q33CmhYc5/5Lx3gKsXQvrSWbcQLHrdcerihFcqHhYosqnJ+EeUH6v8vATEVCywtc7gPJw/uqqB5EyVYMMuUpQFQlHsl7w0ndE015SSq4H2YDoFkdUrw3TF5eTgGN7wAXL6ySVBpFoE2l4990G48Jd4Mvntn1iAJ03NfWgYMtyYAaHfddu9tZOhDQlSq0N3UDZYl7VrthoqIteK2kZ8Yy1DEN1awsbdqz//BWiTu2s7oPDy6EtCGUT2dC333UCJnWYNV6f5jzJgjIATTnkNL6d8gvQj48ptq0wYjrbgjOxFPK7ywwGd25UH+nKb5zprShMji/ZsjspnPjmBr9YGlVxNNXGFymCbXdqKy6/588C/PTYat2+ZCSirzDnEbM/mNmYBwmOZcZoojHs5uGGniNiI5gARiES1bcC/N3+PN/3TM5yDW2w2EN7UsbGUHfsFeFJ9ZK9IhjF2OvsaC04f6YiShVWBQoSZ6ksXPukBjlraNRAgNnI1qkGLiCbNWgkBaii+7r9bQJAaeb50iQ6gipeVZ3OOf/n2lBvV7hI5cPO74/gzsqzQsGUxS+iIG1M48go3nryw6W/hPj4oqj6JKTC3SNrlsyrchvaySxmc5tVkVb8VpGTkQ3jbootAT/gXVS7kNSl7blusWlYBI9xuvdFadD1vrAnCaVq84NRPgy0S54+1mBgMZX5kTvwPaaOr4i8Ye/fJ1JbYQLqfwYYW6cAVod6srQzIa/FhyuHsSn4ib9IkWvvZXgLRLwJ2pzFdgY4C5vW2f2FnE7b9gFfdleFOzJj/INoHSdcTaEZY0cgryqYrp69QiDCLmQOyMMxi/YeA0WC/SwLrDQ4bR0sUIzP8OsF6Icxm85A768kx/26BjsBpRq295eAhx32qJln1BteFS/XZyMvAYEmFAXsXoxV0HXsF4ZSl7PVOfXNAfdcfPBDB43e29AYYKLLrNkZzQ7B8MlQRgWHJ9u8Mj6wyojh5s0gcqEUUNu5TtqodEXI9KG6q8CGnRl+6AkkqJ5u6zPS4O6iYBamyc+f88/9cP+Qy3sd9lxCZACA3vjXtkOYdLyqDRjIRj6tFNyr2yFyb1Q+Tnqx2s1q0Fw0PZFdyhLhzdGe+dcspxwP32gsmt7R/M3pLO3vv5tP7Utks48KTRL9fqjl7+5NqKYaExwcnG09KkBCIIZ0B0F3YONWtOu/Y1kzUhkAvqUAjZZ01ysCt/OjWdVQqjqrRaRu3wYrpEgRoLVq09LTIodmjAxTL/YnPDi32ZILZwjVKzXqhv30IdLeQNDTIx2PCRGVOT+N3IhJF88t2CVqM2A196xJUXhNMgXNMOMPBo+B9AegVFVoN/7L5qvW2oEzDBqIrWFP6Z1AjtHsMHl/TrRmWmXPbAsNnl2yJG91OXIMrcZJuk7h2O/6pMU35b8Uw4JbWIKlteIA+fk4Tp41b8L/naS4uFDsgYfOiMibF+Pk1ywguiOjlLqxJqKH6F5uEHnjRlkJwVwqSHs+tTXlJlFoV+SGQP0q20zF7k79mKj+aj+DSE+M20NQ53vNFPZrrYGnRdJIimtXCEWZIdXlC4SzCrfMfqsIgUEWjOQHX7eJkaEi8Z+5sRBh8FqfqYbx4lJmoRVhppM//J5pEpgXEZZlQAYqh1By+PDNxbV5vTpve61Mg+hfcLVQweZC5s+EfRGHYSq9UdzTkBLEWBplqa6O6+sRkT05NPPDYtN9Hmk2a9T0ajTCjtuBqI5aBKY1EXosNhjy/RRizz/d17E97t3ZrqAdpVvUZD4CFTa2FdZ5HQdU6NoDmSBy/okNkotA+x5cKDaKTP3X6J3rOPTc3Kb/KwZiB+e3yQhtp8i2sJ138vz9pdTWMA9f5OvZiCFVSsUuU6I4mcG+55Znem2gjye8ocUnu4bO90DSDeDCO5Nls6zYmPrmYGtERmKyelXVIVaI/aRq11Je2SADkbLtQsSWNosu2XiZie6UVyaLgTaWzJe8h4Jx7a7OdSra5cLlfYJycTX3dRYGYWTqVz0f2GyIf0IrtWvhfkAmWD4xcYSwur6sfXw6uqqeea+wDYoHPmjpu6IAQpNlv6kh8WcAPImWbIGp+7uLQuIXM3CQCcY2WKatXCtCK1XgXg1N+EvWK2lDhDa/XihvDoQkJuufd33eeCweU9aMA3IjjpaxdhwcoqkvXLGYmVkdwiLyNWViV7C5i22hSrsXe8AtP+sd0/v/Eeu6uUW0nQHd/bb5EifjPxIue8x0gTcrH1LngJBcMYIvF5j3S2aAbsCOd82LvI8FX/YTpudYfydJgb3Fu4mrDoSjYE4m9jEr/FWiv8lEWWArdIoXHnIHl9J6zXBrOgSO351XL/NV/UtK0pzibRbsfdmKK90cFEuLOW5OWczVYVTX2cNqcpMVuVvor2zCTo6/PkssQL7pBbUYqPBDnjstakXE7WR/F/1TOnFxczHBcNIhMgovA3qoXmkIBDPEWT0/j+AvSifqncLr1K3jQUgv/kNFPaWjGUSr2N/tznARIAlbNZaCc+msYBmBbXBTK7gGsIyzTqGsDmlmj3g7AhPx/RijrFYIIWTdsHZYY5fQsSRowU/qiQYPG1OTiTBwDZ941U09WezTq7FGzlFVVZdjngmcAzhSFYr9qSU/jpL2fNHLtY79wHpuDmtUuA1KITjxIC8RctYUQb79KS0fgd8QzD4S5o0Zylp83i3+d2/k1YiuC0CeyB96nRbQZXeo0WKqdPL6ThMsNr9TiZBr7dvpO9G7A/knphMY+hLT2bKeuDE7HEbQyoEFEeG1PECnostrIWcizG7GmS7WzT3+WiXLnlMOgVJ6ZyhUITmXrI1y551fQIvyaC+8JeRYFHkKgILcd/FbhMVV+vv448ymELME7a1vWTJ1ZGSiRYU+fqWMnE7bCPqTwstbr0rO1+mAdn9TEPtIGC3NQCCc5xwOkm3ScGbFxlldbnwQikFm57Hjm+PBrDFIW0/R2gzyhJqg4tnri1hMiTlRQOL9dBKyy3lFcU+zR1Lo4vuWomMhy9ox4Ce8zlAG/1iCNCIwHiQs6VvMf1248pkVBsNPWeSd1Hl9e+ID8de3RvHudsEpvVzART7Wcojge/AUUc3MK5hJDqFneWjpUmHDmOFPEJINtCMtb3Iv8uoqLNV3m2Q7EKP5W7mQJxTtOZKXGgTdqjpASN7JNxxSL4t5t7ejnCNNiuGzYHFbX2m59I+WUoQb3FNxE9+qt2MH4KUNi/ufnw4AiFw2Io4Mh8FOahDks1tSuqwpbe3ai3P2aPYPt0tfV/YSmsqUcEAhTkChN9lVvRYP508YQLoVj+PqsGdl2SgOCip4zp4fXU9WuN8k061lWJT5OKX6ZVSyyEIqtykSjKVz2LGTkbaihvTJSLzH+WIT6bIQt6NTf5OL4fMb3/LjgkP+XlhUgWbyXhe11ka/3eEBb4uNS03diK8NropHRxnqh5vVX4jsP1MLoINHCHPTV6XvJJgAdMnvUoIcNPx0LBKIIDCbArpAPJ83OXR54sI4FAzhzU2cwjPFYPcmU0AtGnz4mOPGYvM7p7TsOi3/6LShkcbshZgsnD+ibHJZofJrojWXM6l7sDxRQa777MfSZn64zzsusTWhjZoGN3WeuJuerkklZzPcyfQeKBNMf6v19Pz2vT1SMrZCCakmNYCRo85eb5l4QP1ONgbZ/vkY0QZaWIxDaHdE0OJ+iwqesXmYnhpsOS11Rf/KD6UczJzan5j18Xhysh2xXpGU8wPMipCa4Al2kNkQA+rMwflV4PHnuKgygupsnXwpI0EVUSw+3g9A+szyOMOrIuar92ion3qWZwFT63eFTh+jdv/r9GdmUTywMZg7//Vj8FbVBRedQZM7rCIEMaqKEED0B397P+ret59UFEYBDx1lttrklqnuakZ9L6j91Kz3kkWh+6+u7WRVI8/Pr54ipEMeLvtH1eSCXBc25mzr6IQqYkLXIr+H+QbFiDaL0d9wKpH0jVT65lp0HHzBx3nZmQqBM9WqQa9ZHVM0tynPXYkuv3gAw/3x3zoTyNuvzQmrH5D8jLAgIB/l9UxTH87o1yoFWTcJ/tZdZQ7BEv9l0O1Tqw546zI33xXgx+eFagb41rbLz6dMzCBP0htK5pEriQbpL+PFFdZUDUqg6QX4QhQQctGOJRGcCSAq/KYymNsTrpWAoNr3lmumegw/YN1Dx8GTqIZ1McHmU4fBybN4dLqmmWH8BdyfBAqDupyjCPyaIwMXCwTePXCF1M3h5BWTMgZENvWyxVCpbGhGEC+iK//yfLQRekJhFGGEhokQIoVe854k4KjRhu5VLaaBcogbn1yvC8QkNeutGwKzGyl5bfTJq4N2B5E/7SCZScn1rxSrBPrK34RWoggMvv+Ceh7Qf+tLAtnBp25w4fxa4Zw6T0Gw7LZDxL8B4lW+bJCXM/lVJPqalBusy+ZGwoq3Pb5OIr7wRjTCw43DEZAoHO2CNvrx2Ag9t487/cQvh1pxK+D+DDJZ6tzo+dCk/lZNdPJxHN4bBxZJWpR1VTcI1hLH2PL8MlRoz52JlfXXs06/0hSvQOFGtsPQODHlD9O0HeKj+bTt3BKChwaW0gIeHo2zJsLq9mXwBJCwAu9QW5APVePglXoOdANSRo4HjVO6qcSM3cffYYOz8rAQILQSPl8MSJdMsqaPSfXx1n3UGMrsdU7pF9IguysR/6NnRy5RBJwrse/iUBBIq8vnAeDI3/2cX0OnWJsVhQY14dBUri3VLTmrTUU8emMB4hnhaY289ehftba1kCeXQMG3eSVeGhzuaFuV6VjOFx2nFC/asX6mOvmaNe3Zf5fuM8xQkgwjW2zEHpnUj9iZGImWHwE2eh5l0T3L5sRy3hYUenBcU4Rcw08j7h5Dwoz5+odojATRYyAJ8uj4xKbWWpi/v83RuD7T2PSCG+dxyG+lDusMskAG6n6rHBmw93qBMq8FjiQJ1F/2ta4v7TurH7p/xMbnKzqgBcgQFf+2nIqWmvMCcjw4JhtNN+lF9NVA2qmEg/kiX8rpKyPAaRmN/W3rsX4W7wXresSL63McmuAZZZnz4NXs26ETeYnQo38bbtnvvIrt/lcNL+Ugmx4Q6SHFYqUGrH01aBqlikQaijF8a7kwpI3+AVQvk5dcuM37YS2w300KBSMy8p0r6KOtdEZl0J0dRGjVCPkMrlOmOBJaBHpdCMUEUqO6EiN9TC8Q6es8DRNgAu0udu3POTNLMdf30xp5b/uU7ydQdugJVPn9PaHT52zD/R3lqYBNYqbJqzsE7V3tAlIA+kt9xOahuId7Ewb8z+2HRHoJQCtdXt3meLuWhkYDmXDibivpk0OB8lddbjhas00re5TaUmVsr7qDE9cQXCyDxenWH5dADm5jbxR208ckjQDlFLra6gdhHVwJWdIdhCwxIDR2aAcb8ume5xU9uqiTTkYSgw/cN4QugJ/HgFRQNlvK4XW/SsSGA3v8LFzbLch+a5xgz6tczGx/sE2Afdw5ughfQ15i6dQLJ/jbBOR/mjpPWPVOCd9xbrimGzg149K0DTyBNaRE/u/DYUpXb5YYb0oNXs3nLU/R+jeJ33Hp0Tf9C0YDRlS/ErxPiaLch+mmjWX5qPLEuxWx2CV8GM7PgrNb9Ymzq/49asezFl1yEk3wIyZvOtUYZYOkJCq+QI8EN4eM3eghOp9r/fdLKHGMvj4JKdqEbV7u3ozD86G9cIqjcqPlu27yXq9S0Tb7HuLNl8OH52wMuBVQtyM0NsEjwCLzJ80xAGOmbsnzQua6RRN2IwsQFMkFGMVYBWLkQ5ls11jQsPDfO9CXExzpaIkMlMrAFp9Kom9A8y/hbuD/xP9O+NeQ8zipa8epUFsvmpykAHwnkMivhfwWt2XnzIi3n1Mh1imUb7fUbWQ6fT5WxpJv1ZKLdMZtClTn2HJknlBnqdsbDGK+CzzquyXDx4ehnSZgDgV33RFADPUH5fVoGDxNJtqw6+X9sx6JCR5dQcW0suWZine0damJI8tPSEVudYadXLYjiT4VmAsFdCWCqrUVi9FZgot4//d8QJw3J9n9BTCGylU0eqKRc+DdVbWDAcRfynowPkjYUSWKewmziwxNK4kxYGwM2A/BUMcHjk2AW8BXBZ2QMO5C7uQAqkfX7Sc4Rk3Hps5yLOqUyoQAN/A3p484LZ0GqiQ9bW/1joT9lID4rHcYllyeRoWPEWPVXAMqvySPn3wZaWqISCkOu7wC5Iq3Rc4MnrsePPO+Og3VlxdVyp4xl6ralHpB5U3G1vpWDWYms8FktIf2P+nITwfHdkYulBxMyU4mKSw4zsqJ4GddnlQUq5ueBADSd3672lSwFD0M5dGgQ5LgCq1gtboF8w0j025YtWTNtXwuzPykjVQA2RtSZhtMuSQD8ifxPtJhPABOyoMPu4Q6BV2dMvhQkbSJ5w8mRzvQF7x/FBauIU8JeTDZqjejjyTFvYIiODDb+Ow1DrOXkKHJ1Nu748qNh/LopOK2iCaAhF4F18aXeJyknsbgcc2xba5Bt6n+aSYm3kcUxWzF2lW0zOJWMjJdGDtwWgY3uLmqslwdlUZsMpibtNkfPMFdGfEDPuEI0HSbxrldly5GzyCC6SJ/RjyEOCSy7EdXNf9STbQ43JEIB87g3YruNYDgk+vEl7FxBHIwqCZsGkSQh/BrtZ703AIpNebSOhs9foZmo4C8OEGDcUBGJX3SaOaUwL1WRtuU4sCho8kO9jrrUWAevVdFIRt/GKQMDbw+6ypvsu6IgaYDm1G/wz/uDTliWKLlwrFTTfWFQeiABQGNhqGxW4eFYbDZV6lIgJPG9P2EOzWvm7tDAMPN52PLhM9o1wgB/3g3hFIt6jlIIlevzsqlnOtsAwVRKiyTzj9HgPgx5XU463Mhx69gNAOXV1hZdQro51Zrm3fnWEBRRKwdsxRIC5GttTM7JCrUJ0GfG5HpE1aVM5R9K63OrOiYUF14PlePuZ81dnRZh0sBgsu7w13WOa6Ae/Phzener5scvQFcUKW4rxg6QQ6AykcJSUDqdYBGamKHh8AjEJVYW1H3UZiP5/YMenCZsMTIe42QRc6yD0RnU79Ws/+2VHpqKtKy+appBl6XT8/WgWAdxQiyw+Pj6Bbf/0c6p2tcBDemIXVT9/OxMOQhjhShegBZLw9CL0CzYk3SGRPRTvcAZlPI5K9xzX41Vsf78OnEhLK+I4MQJSiBDmH9JtO01gSwj8vpls0owYFTR8tzI+NC1PwGGmTaCkMJ8vg1V4TK+pmvwV8PRgfdSSkG44KRAmV84rKbrexZ1vsBVpStXkFcd3hQEpmfr4vPCRQ4hgX44vCXDPumCOYxtCvTcpLuya+howyqhjDtn3xwIb3zc018Gs4oFl52+2+EvJkhbgXQqBjxWMFXyzukRr6jHV6tJH76V5ZL7fzxjAB+E3sFJheyYCD2YhlO1s27zTwwHd5GyAsScG69jjYqxnUu2IyoRnaeXCI/k3gbs2c1l3aUPQzW0JiAHgxvMyf8bEwT83mSC4A0nc7B9i460oLjncbrvkxM8b/rnpp9jJyNHhiShOYSqlflG8RW/uwKcJzMSZftX0YsqbXKiBy62yygBxfI3x7c06n2CLSuyDJooBpXXgJr4db0XHtZd2C6/rjR1hpavKYfFH6KDdEvVXhtJsDn7ILsXOk/os0FLHp0vbLXuX47aAlCixKYaS6uLI4W2svKu2RoUhXtLxHXgmvGGrSiKDvmZ24GOK+dVGKeO76s3NVc3e5BI2yXGsJST1rH5k0qDCnEdMgC7RnjtrMqRpFUAJeC1N6UPsf+1e8CEeHn4VIM3TOyfo0QOnq5hQDU3OHGYFXf+3FJYN5sspydjF8Lb41hUeYDrmndB/hKOWtXKZTCgalQJQeAgiHpmljq7Qof9Oog1UZQQsL2j8JoR0Da1uM58PAXsiujT89+aEbioU+0T+EL6b2csQOks/QL/XAhhdvZvHryVXio78wpTuSOHtVAa/nyhXGOjdhpp5+sj9atRwCQ/LFNFWkMiQnk8sL8ESMdxnbh10tWUZDaP22iQJ7ntsdmT/aI8Sfsbh26Wclr/zCq6/dB+s6sXS/QHGiNym+iIsq0lsZb25jamx72/ikdU/ZGC/4GSQc1U6FmuvMV3xio1oE0lbAooxQ75Uv20u43qOWWwQsQYMhBfm4BUPWr8LvVTc68KAqJLqiNH9jJ/j1HE2FWRuL1kgEV+mzScIDu5//LohIYL7t0QNS4UwSCTOP1waYvJMQ8rLOdWs0TTtI5kGrtxURwKRTJ2XV1vuSbsN1hk0tUGfhiV/EYuCTeGTfHpRsmv0Y1oysmogg8Vieaz0PLdEdOCmlXatV6/L6mG/zhYp8oXRNzGEI4KQAB1aaeOXP95CKycP11aw6w/tnS6Opqm3kmSKmKp5J0FKgKYSI+AHvQVpg/AwUd0AbLOSdc3D4Cz8/Rj26eRJ3c6ISWJe/MHrzpchbnHaAyyYToVulZu0J+FOfZZFcxzRzp24F9nFZJ6vttMCFEx5nYf4KJtK/8itxeJiHzJJXvJxX39aqscQa4VzIWWmR3XmfEnmBbTDYMbYaeslL4vmLMNUzuRsSz8oyNBDC+Azy0Ww7xDD5C1Sy3WLXeqUFlLjWCrv9w+/RpV/KX/q0sFNraFS0HP4TFkYJr7HMTAyAMvW0UyO1xmdDRDO52kFvr7Yov84HzkfRPE/lGqvGb+fLC7lqbOTqg658s5who2qxW9D5JY9QmnWtEGbr79PX4rw+HsQYADX/P30m/9PiFNNrhLqNBxmt+xGi5ZqpSfjqawSee/19XnK2WPmKLrAtA1KjsRsj2Or4fgJL3PKJ1xUfc0RD0AIRHhUYseU5bGbpEyFY57errdi5n6RRkH77CN/0iw+H575zWKs3CLL6VognipEsDytpicFVo7xpz+f1cXyNtruQBTuu3fc382cWriJebEzAFMpGQ7454GGpRGtcVQjeQyzp5NwVwUCF9dvyxJ8puWf6AphFsDu6LR5B5EdwU12lswvYdcVkBkp8N13B74xzZ1MY+w0NnjGIvAjSDDCB2wwgxwzwjeRbOaBeQ9qYpa9ByxUZ54q5I5ih/b9Zqo3iZaSonsJc6EEprAHkF0JDMMXSan76z5Jq/Sg4v+d8nfDKxYyfptdKMkVxPR9Ka5kbfXGrU3fbGfr0Qc1PiJETgXsu5rWxgbKOHNIQF83Qi4IdSVOltNOdc732ezrAMXNpxHgPLyTKixO6EUrIa9w1bp1g9fGhglyDCR0To3ZluHLW/twKeHUWOejrH4xHMHKfM+D1Yweuf9eYmq+RXgKYXGlf6MZkvjPqhywvh7GT24EenW/eRggCjj7lzYi0BUHWkEncCYnlSEzT5XjMEoX3dnq+4x7W+592imVaRuWcuJuGptxaj0W566oHxAX3IHrvDzs3rdC+OBLy3x86IbPb4T09XW1B6RwJU36pV98Nsby5D0a06n05XwntAb+q1+Totx3hNPlAJl8YfizlacxeeaW2Gf6j3msMsm/+dz8qMHcCUOBWnW6WRFayzmHLNVP1MVNp0s4UD7pGVNCzw0OSTXBF58qCrQgJidMGh1pElYdkHzxiMrnE23P5+AYW/UOnIjnJbO1mgPIga8wvjPcyi8nJi4QDl5MX1kMHQi4W53cMKCX0TZzVgVYzHkOa+3+n/2Ep4fgE7loBYvcxs1fpni8Ksod5R6gzJCHKMpxBmlxIqwPg6cfKh1z79on9YBuVwqdUWvew3bfDRWxE+MXkkVrJV3mvIikaDEy2Zn8V39QRSSjxse38GWziuBAUPNo/glZfjUlbQCJ5Ik4BgMKScjMnC8Yek95s+AmEv2z7i7Hdwl10H8U1ImcVNN8ehmm+1ftkq88wYEuxDL9XxmLivvYzaO7viu6bZm2JSs6e0T4stgMCNk8jLeLoA2yY6WuxcaKfjUbgNRgX3hCh5Ob9Wlj5If4XGu9eVU/tPWGY+0izlTm6VBZ4uIKbqwX70TUVf2nXsO+P877iSRhl6v8eieTBu6EXDqPo1Wgj/dapuTVkfP6R7zBtUt12cA0zW1YUHjjBB6bJkmEBWspT8c5kb3QBo//2VpLR53/zpHOzdA9GQ6lX3rVWq5WA7z62Mw2HlyVD8lJrF/uibT2T2HerTRzAaXoOargL+x7MaZOjPDB9w8tbcJuNucfPSWwYSU91Z9OdWnyJTB4B/TLwPYXiZrl5iCRLSIAZEeDWdad5gRgA+Zy8xHBSZCuUMXCSnkCbwGxTv4xmQR1+dy44EEMuH6e7O7B5BzpqqdlAk30U6MkdicZNBTDjmeqGhHXSKevmtUOlhHsNalWgH4vyXaCAi1BSbg4xjaTVBKp1+IyNErwltaA2Bwyvzd0scawdlnEkbygakgVH+pQwmuluZh++POzjfQqKIcHrVj6WnwnPuHiCNeDZVwbu5wKQDYu7I688Cc88/WiarDfIXS0pzEofOoCBplvRqAF5DM/B1uyBgu/fHNaAzmFClOcgJZRYYspPj8fKiqz+b13Gtr8iod6r2Nm2MwXq9k10fZV5QRduyKbDdqsRQxSxeYbij5f2NKHR/PwMHu1awLLrZMTL0jaVonpY2bn6EKONJP4wIrzVMygbSFe10JJejpjNLsH12bg214cF4iJpL1JFgE+0bAUMZNnc2FMYI0BgKM8NJURqPUeqFp3Ha9KmL1CBlFVEyumuiw9xKNfYcRUx7qXWLzbrKfcVhX4/Tyrv+MCLiByKJbNCxrdQ1Y557k07ZIQtOTqKHGjOeMgC/DjGSPHBtL0AJzII2TWBZKgxHV1dJOBdZGma/u55eqlOVI46ZKgFSs9tOf7TIYJkVuGxN0BhHIueOAI7gAqudHdAFNAKfktfFWwmN3v4GKNAj2XSmXx99DOMkRBrwfnjMqtfZ8Dj3iQk9fjMqrkPCl835hTJvTwD46PzQ3U3emVonEyX+FwwWyuJvXkdYbuxBq4ewQ1vNxpn60ckGQHbu76VBHTQCNkDHdtIzDqO9Jq0ExGydzHkm2TWQne8o6cFsVg31WAyENNKz2g9UERDTIm2KzsnorF+IQYv3+jKuU952YpUDHIlttXa7cfdOSrpDS0Pxh2HIsZV7BK4h3Bsqh72sJRS9xqn7193NUTvL74guXv+KG48GWTBMJNo7pdWezjoftYhhypOfKGMTLG41xoJNfySEFY1lzYPk0mTKEufTA85kpi6oAOz+4ZRhl+k8IVKtIBGovB0Jp6ipTbTvB6ERH543vm+V+vjmgotBnVMj7c4g+zPha9/rp+3SewWq8LN/AU8gFoju1hpdxC5zdB18tZk5KBHFsvD0zU6V380H1ZzaO7c45kr2QQaK8/mNsfDngl7GO7Uiwlwtct8M/+omke3GWHI3JTsQjSfbHXXEjQxAJ91pR8iafQa3SujwybBv/iW6av1+Pj9OQEhqhWUKAHdTj6RPl7F4qPLBRbrTsTJ1R7Rfm+Po0JnHMg5lB85tw8F9jkrQTPMdGh7nx1ws15bwUwo6LilHlZW9bzWWs7qZ5//7oq+dpsDz0uckHfYrhkHUAlkCfmjNr6vjPozcDnaARhS0RnCDCq5PJQyBn4YHHfPJcv5jVqMKIj2/c0/lEjWEB7gKW/J4FTpjPO2DN0kjnQO68KAoVs0mZz0UqR5UzRMYFmbYz+pA0pH0feRS6JS8tNazCLHQCBrZE2WBXxea0cnwgGmccnD9Pb5U997GS8Ls/otPykC6nou8CuOdNzz11jfBC8Mz9XdNUFbcQd76zNepCwZiodIiutEBLPeW5tUdu4LWE2gH+0ib8+lOFJ2WXemOTi6dvcDg3v4G9z55DU963KPQzYj3a6UsinXcJ5CjmjpwWZgUOAIxhLYsqdMsBeylrxEjYcGFEIPCC3KVhcNxQngmP6Dd+pJGXC40C0KL+0IIkL+QOKUYY108S9GKv2if8uMBIlpgbqPyq9RDm1RSysyzJBMFdYiNptocGY3cGj+56tqY07FuJX4DSgru/GkBYm+UVVdVmsJFNJgjbmzCDZnfpngsbgFPX8eMcr8UNJi2bTclNZ5tSiuZj1QcljQrUnCbwJuzXEeatCeAbP56RNmdC4nVGDoZaRC2348koWerv5dS0M/0/6zV5uZbWGaciO8Am23tT7+TDTMygijgmCv9H0suNYoC6UgotMa/BhFBflXCQpyQvJx2oTAQ5aMHXDIipQ+KfFSfcToxGKKfoT+sZLdyAEQSaOLVBTJsSOVE78Nf7bmNASLAGReiczdJhfP+cMkVIQfmAy0u3TUwfnS6Aa1r0USZO+Y8henayBhuZXhHD9/EoF2mE7Ttr0cJvlHvkt0+r5blwQXjIBpiV760JfYhr9YoM2c8s518Bt03bbMP9sCY3Ey+saK1dNweCsnbGKXZXoiCyEHWLQ38rnxNl95Nb0qiyparfR5Rh6ORUxcMPwbje3qL2W6CtZgZeiQ5iyK9O5xlF4f+5pE6e8+2MRnzAGmrKHEMgel7aZB9t+WIzQ0vC0WxxsUQytFdu6VLu2+yNxcGC+ztWunFWagw3rosB7+LQaDrZN+nZKoDKknI/uhMQTZOPreLFUcGKu28H5VbO+4lqKvizazwb+gbgfpLA+W6OHrAKlIp1RAl4SX5jmSzJ3TkRuaerXuEspBecNdkyVSQur0+6Yvj3w4uFRu1DRQZ3VRzrrUjJDygDCAPXXlMUUzqeoN+eCb/pNA5eaB9ksooQojwo1JCa1pyPa413fguUfPe00o2ddOWpQ2y25/K2SJxweybPsvQUC/d1Mzf/OyKM6SeVMu7JfrYPy/oVm0j6dafYQ40mLAFy+p400iWg95njVFJ71+TzZQX/sisEg5fFSdjn++o7NXER+Buwqkpi+VPuHMZoIk0U8vocWjlZO2f6uThwTmycrz9ecvD/QCdRMLal55J3Il0vYk9OIsOpRC/bDjkaj3NUrW3jz21VvxMq45e8y7dpUYz1/imKZ/qk06qnXWoVw34NNALmysdJNGzMqe2rZYVjWgoQzQ3tGQYwj3kG4kSHNTseuC9IAU5z6r0CGnyyjAimNprbHwK2p0555zQ+hRKaBcFL85mGVLYACov1jh6DiW2weC9jtctk6v4jfeSxOLf2QCWD2RUXpxSv2XvUI04btXA9oUi6FnT0hC4qLgDq8/iwVNeJui+vH83boSnGox01HWIXm1Lsk9Xr1XMNc6JDPovYocdpYLgRz8wG+7McLD4693JYnDqtz4NTncTTkAPlc7zBsVoww9dg5+IlgUabXQoRZcJpQRmmbQ5IgOtFx0eOMjBpWT6eKKiBwGfLqE3EH/MVaqCMYkM/6cMHzVXHFPsx+zIwaX6JWMmd8yUFRvL8lqba9MM6l+e5NF7YUSF+uJRl8lSxZRIHvL69l1azHqiE6xW4krQP/su3KUaWLZl9oX5Tbqpq8eUJJ2wB9TI8JounMbh+bPYyiEEoeNbQof47qxs//6x8e/omZ/Jv9Y3k+sNgYMT+JRXUqaQl8A+qg4DC1FDA6/vJ5PGQOkQE3DLuB64+SPFBHtPRtgz34AU8+eMQ6HvOxVxl3UfaFUVYr2L0a69YSZ6sqICUZDjpf/mepES2aak6Tt2U/cc+5Onsw09f8KGX87zAyocVJ6V8j6rlqg8s4Cwlv8wMdgJLaz57WSTwQpzwJ2SsAlPNlYHlvzNCI9qxqm8M5cjM9q5BspFO7rIal/pEMAuTPRxoRPzfp8U0Zo2B5HcA1Y2u2ByDV4cUfaik1x2mHSYkHW3gSjl/D45tjfb5kPkRkfuwt8SHru1orvjb248/VLUfvI7z19cAqwt2AiYvc9DPsb1FMYSdtQwQs7wQFv5ieVAYUS0Ynq5kCcOEjs8UT9lxfAXtOuXD+LUuK7f2+I1oxkK6xAwD6mtF2bTgE2kzJh7dqX1z1QRYpdWBAd0FUyvFolLhMhJl+tHLu6+lQEZs5YwQoC4m+YoIZI33wgJThfmzeErfmobiKn3NP24M2pAJphqSGL6HcLuljeEsVx7uqI3Eumehh378nAg7jJhWUyqALNGe+rOvCCG+5suyCqtyXub8wTsCqO0rZgNw9g+X97h2PX36H6cHNjRG7RJcPo2lCct4r5I33k8NQ9ykdNH8ndSqvq1bP45rnJf74iBYf7EwiwlWe6XOdzzUVjFlqoT0H89l+9gk7fp8ZH//BgTNBKL9avIqGxNNffjoai4WXnIm9ilQubMjZgflqAGrzmpHblHN7V1JEVwoso/M4l2xUyRGEJsY9ZAv7QcI07v9FfrlkCZvO3YiFWfVPoF11xKITPylMXyCyWCn3tGy45Ycdd2T+bCSiebCQrNUFthrxW/RzX1E+bHNYC82H3oM35Vz0KLQRzMTeq+WoK7HyK6OSD9zKduPTQfbomgFC8LtlxpK2lMxotRsi955i7uVnE86J8KJR/1+NNuS+aBTnm4WN7cJJt9TOPpw2f/R0l880VWgKUqsgVrs8ayWHlKwFgd2y9zIAiLjRwfXKjjp6rAAlBuYG/VJGoGM+Ju8y5i3X6JphOZ3E7eZaCU5wZswa4KBwgCPKqbMGp11cqxdBEtrnmegja+m15JoctGdODuKxeyngpllOJL+UP49kKb3OMmRjLKj22/H5K7XM/4oKUrUsbJl5CsxQkp/xNNhtYfRAFerr1le3NwvisUFEeIyenQRnZHKJBSb8/gPUMT/Cuosb9aReKEvSyFwxm6M/oFyA7ztHqKIurowI71eNX7etzE+8FnVGf2jdFUcqEpL0ywFyUdyRLuYm7mZtgI8NeoU/6DQthI02Ju4HQ9pxRpDLfkR+Vj8L+C/SP14hPx5OSbF7aUdKrgCPgDc+DNkvtRwzX4Efj50i23L6U67QNeKpj+N/1l9J+DNk0K5OVY5soAyhwlTd+ug67subFHhVT5NZoudJ2vWqHBSpmeGPmZ3P3D0Sx81hyeidDRaJnQKRmfdehdNpahWpLm6IOlQP2w+WqnlJblH6E7IddDRf51R8V4g5WtR3Y4vECsh183QYpM8Z5aoSSC5JKrSDDtVz8E8Q1XNGlyns3N4baEX9MhjbFjYyudPuKB3LU0h3hd3N1qVSAS92dZOGgVdmQ/1LmX736PutOSN08r09syv/MjKqRYtPXU02YGZhJoluQ1I5sm8Eo7nnWZ5c1CSEpuIZE/S+3VM4GZ37b5XhxnBHkh+807SBxgMRk1BkiHSNhUmhrU9eE3PDtXdV36QPRuWJNEHdvtaZEZBolMqODs4PE7x6U5vODhNoFiLV/W3toHgjRwmV+iitNrX3jKS4FNg0Up8KCLhKZ/wfM2EuXKtMemcusMRNNSgYww5UB33lEWsmhgraU9iJB3xo2nh3kp4Vt0nrB3OMjSp5MqX4F5YyIj2Q+IuLMdPkWa9edQN47RyrScmmeHfxvYCAcmKiL3bu9sOuofjVycd/P1t+2cmbKGLACMqI4k4W1jT9W+oX4BzOaTMF4/H5BYcHQ1gv70zq+dgNIxeaF7Ks2SgfqiauxA2InE1bFRx1yTjKLXjIqNAMu7jSPNhzpd+AVbQmAgbfuC1PBrWC4tjNJre9FgjJBfZ4cyAkMVKnbbcrzwuFEc1zqzgQSrylJr13K2Rpe5XZShVJ4KFTSvhTQUgiSIgDNvAtHtKXTw+GzgrilqL8jbJOccadYGPQRHbV7vne47yDRelmLvFq7ZxRCtBuU4IrJ8IC+VxTwydeN8TXQnL6uPJDcEeAROroDtq8/VuVmDMX1FtRbIrAIYyGORJ1I/WBl4nY8DTEk/93mCb+dYdWbX6lNiZf5yKFKCJlDYpMzH/WlpvEm/eyJ17s9IBsAHJDz9Pr2SADcvB0K3/Q3+gbqqFA2zIfQe3TYWrDYbMJ4k0gPILnRnmgzpiXo3n9xYoQUBf6lbAGjqLDXrVwLzJ7hAkJPSnEGcw+iZ9NVwf6713jNTz59N4Fvowd59wG8GfoMD5+m4U2er4S3fOILTqZyI5dFhPrZGkMV0Q9G6phXrsu2xDr/K6iCtJmKsXHqjYuhmgptnmDGXjBlF0ZB4SqtQ8SEgGy1j86HNT8/JZcsS7RD1wdcGmGNvNyV3veQIgkPrKLx9vWTDtZFmomc4b7l/xNJIgz04v0IRzefSkOl+Ac6JefLzWT6cZDR0cORDYJ3be3NhmOGyy+uUvkbHXxevnYQbi7PU1nyBardJn1MdXpcmIGSPdNAHmJvFN3v9yKIrPJfSDKq+vmlKSOchOtXrVesGwbUkmfLueuvrqsSHq3lJjzD21K0FmH85t7ApSM3YcL+5nbsTZv4tcfwBRlzkDueEfbxGdskyTDr5p4+R937Ca8HfSQktXkxw4aGvnlSbVVX52V2aWfRXRsiaSHr4moDzwGcg2k3lG9zhMVKWp04fGPaSlMaVzehZ1Z1GbHO/uFfdaEJi+H7PsWf9Zlp8W2XY6tX2Fuj6MPlT9Tz6C7brIiCkAy7geR6DSotCA9f43VZ2SEUdnGaJQkO5gK0jhBJZB59kCYHJxrxLQRzdzfrTTB55Uqxy3JPNGOPZeJJUohzskVV38oWxdPTni3ADlmxAhc8sA66Nr1t7E/UmjsGpFqUSxDItN5B0vsXhahsrDHO6/6cqEl3GhOVMApKeWhmg3o5qViwOs4wdeMAMjGbRwQWQG5/eE6YNUGzyg/KQm9l9eaV0mCTaST9eokHzCqASVeLskcMo/nGGSWAiKjD4Z32KvJhVJs+Wozm+7MVdHpvXaeA4AmIzsxJxl6dPW9RB1dprSeLsPmt7i1KdoTQgBOlo8Wx3RDY/PODF2j7Fcd/7L28QOhynAjwQ4APQxugracQ+8Hqzwv7PKV68RHjc/kgHbQha+iS9tVvgjiZWQL9TXZ42A3mJOo5zErgF0yhZcFhohBxrvkrSREwb/y5o9th7gH5pNquN0aQahfJBlor+E5l8jYWYf4YcYYwzUC/HB36x67khXvmz1dv/glIDmeTEwjSUMw3Aye/882/tbxfDCoq4iFUZE1wCC3omaP7UI/AlgYL5ufIjwKw1XFEkKuAIFVtVYszrdt5e+nKCsZ3IUdDVxdzfSriEaqIs4Q62xVTBQNxBxgOhG1Gt9YW2AMtwnPt3ehUnlte7EDAZcfTP5sCW+gRgyI1FJJ/WLS3u+sdveD+iSRo8tGJuJXvBbabacGpggkVzJyHUZCkRXyA6hdYxrrTxUSxjyx4ULqGxo1jYqRKwgvqyC0Z5ITvUP0qXnIGdcPoYg8rh6+2LBJdYq90hJ8qwGdHUUleTjCWUIwdKUxQPDujRlVhV0UN+v45u5CZpZRqoPKJhh62/4xf2VXHeO29FMJiFX/jT0zAK+M+7k6heG4OD1G83a1R+clSPHOCU9WVuy7JvI2tLJ7vo78RR3mbCsn2vb2lsHKEOXTSfUcPAx7Q0nZwzeXKtP7wuj1vmynzh+dmuuNICCDelLqvs77YdbVpfQqXqxrZSUqRp05EOUGD7KnhmiUFU5RsMmrjFfKmNiQEf0ysoG8653ESLDG3XNIuzDeNrTobUFwfr82s8GzqDABeOpaooc5mk9uQy1aMKQ5yCpBNDwbgqRiArwwaIjaSah/PLRUG+j5S0iicWjc+hkD90kam8bJ1Wx6qmcLINpseUTvFTcbYRUNoUnP2YqmDw7dWCEMnkR/IE5bMEV2YKf3r+mVXeE16OcWP/32yuEzGZS1soVq4aiW+xBeNy/xEDtQr6HGGe9oX4QDPA1PzV/8vkeUuVklqeb36Ef95m2Udle08BDDg3tDYOInj1+XysfNgnPvjADIg3SpyyNJxuIkyuyDjPlfpnS9ZG5LFRwI1uGF4jkl2CdxhmiiCDw2JR9jadV991Q23Bhf8hmroDMUObYKoNoSW34DFW7T8W2t4P1iD1EW/h1to1vzQ06I8SpXO7dn3yqbnnD3xkrJJDGIZ5xI1bjJ/12klkzNQClFeGcfY6Y++nOyOZ8xQxggP/LcAFMoK+ncd5clOd+ZjYGbuOvBflD1bQb5sNHHSXTDedGMB4Az/FpHph+4DlAq6fajNMcns0/n4vOhQrQslrlHTbKihwM4Qs6K/uj6I1xrFZ3uArnk79MC9K01kTGg506j7Lu+HjYyfYsj7dZIuwjyx+Sy5uNLgMTgt9qWAjpfrxBtmtGL620Vkkm5s21rA4JzIg9QV66+lP2z+9zijFVgjKztIRKUjVPZdXzPXCe4AdKnDN0hQoUEGpjmyeQV47hf1AlDruu2RQzdRx8X37T7E53+jN+YP7Czwf2WZn+7uJpOGn0Wjmy2SIPebjz6t5hox/rC723U15KtjwJvINHS+TXeJhxv6C4TQ8llskCu/y8SI/XnEZ/glQHpPM9SX9CscCzEhi0OlMdMhbfOKGG8fNb+KqxHeVetWvYUq2YW6MpfHORLfda9PwNeiOvgmI/c0pNbyJbVydmDJFGRVLd1YYPTkh2PmB72Z96iN+KLQqGw3o5f3EvkhrXGxlwEgVPjQZOEsxq4kR7HbwWiCC9x30Pw4kISuzysuHOvGS0cAVm0I48xxBxneLoAfoQiFqGPHZcNjAT7mRHdmFnxO+oIcWF2Lv3QlubnWBOvx+dWgePKfWcJh0KtIJn729g2O0Jct3IYlJAfgppfDDGR4vwoolAYMcz1qT84+wNsWPSsLs5E+CdTppqT87mCKW/vT67ZBkUe80Ekqihl3bxP194d3jvxA+tLZ9wv3oxD9MhRnrEMPzc5WMR1uZMAmf3sV9/r9e/3sBPw7qs7gG0FjObpPtSHCkGqREyvCf3J0QatVXcsQn6X4ggrqqorxl5OxY8mCuGOvLyHNlJBrWe0AZUtAqtBSOmd7Cf7OEDPjoKhnrdAv8jJ7fbTHROS4PVa+kOMGd6WOSypyn9MAO09S4a6CD2E0zU9qLFjLDlSZmV2SoLTJ3c/k4is9avSxubQhC9u37bY3979N0rGMWJgtd7/qtoRpotWEOUra50GOHmL5gaRQFIVmPn8fd+ql9EYpEbn+tUYCvXtmDqkse6DygkGD8RNY74Ux4YiQ/CAdCCBaekZ3QheijgIhQDzt8DbEx2mWH6VFWJi3wiqbV7rxj3DYai1Gk7ZDhGkUtlCbpF14WkLmp25nK+RQa1RXDQtfmyLicafvNSb3O2EVsgVsAvswAWbzCzoUklKinXz9yeoDyd0PExb+xozmCBsOsdGSyK8ezWJuMhY41pBrV9r1cEZcmSnaDNXK/HhSB/KL3MeIPPyaskuKPK3Jgcnm7jrcwUe1+q4EgUfufIFl2psIeHiqzp9ufYdYNJABmktpaDle5b76EFGPQr0ycEPc8qu2lZ6aBCx4m/Kl1beKGedjeyQSqYtTAr+ET7QhLGbinsWIMsZQAaLxe5FNjRH4dm49X8DiG7VVLvDlt4McOioO2biW0jsQ9r5+YDX4tRAiPDm547wv1QM3yKITZ30AsHUi6FjOHAyEMRIgrs2Z/87DVmOB3uQpRloNjywYP8XB6fi/l6I4fyBHnnvBopBac0MruNImPAFQtNy81OkXXLm+aQMqFkby4R1HFrF7+mlRF1f7INgB4lFFmmweRqSDek4mdj99oA1W2X01fOohjIMorFUZOgq94lH1Igycz0vmECPPRT+oHs/IMk6XW8HDnIZlFhV8xkpqs9Uju/Amt4pGeALNgU4s9aC1D+0U5mRRAdwmGwacVAfjIYJ5qXTLUxr16O+PlWfU/DnolFSFdLFO6N8TiBUpA4F2YmltHvDWusFgm/j6gVcFeGfq+Z5uZDJLmhLm1tL0MLKmWeX3On/fp1Z5eYuiz1NOFeobel4GKoaqeTicjZwQjZ5sQeXcUlVlrFaZyVcKqdo/yWjg0xkCXLxaH2SbtAok4L6SrPSmqJJcLSuzjt/7zNKZDB3RJ9wi2T2mwVblebQ5m6LVa8QbgX1iFb61bjVVeav5dN7Wm5dmbZ1a6pI995yxMahvD8Z/88PDkcSv9Rfwe52s0vD6zBMFuyMzbdOJ1CMHOifLpE4VmfLwzZzTI66cODhx40fydVvn7tTM6ViIRY4euLa+j67maufD/HLowbRdW/O6zyVWXNI31M7CJWTl9wgEhyKyuWbHhwJQaDl1SwgCVkupZiqITvp/wU0nbqSd2PkpdT/4ATDBGDQpTmj33sAA/Q8SSbEIImXoP6Lnmdj37IWe2QtfPdNSbCBrHzuutmdUhrP+993ctjSihp+DgYEaogDQQP8kch8Fp/g0oo+RE0zXZi5pukNrWz3aUf5OwltsJ6ZQgQr89Cd9jj2xjwXfoB7ncz4RBRO/IHwgBVkXtNYskDqfvWdqkkbr+x1ZBtWvRzY3ZI/fq9Eu8zjNHYZRRrppnNJBi/W79d5yNltgmuiQCnfRPAafCSuwy8/qFhtt99UhHW8AZpV6Xs3WpvG4Xscwbhyv282NmkGrB8lmA9L0PmU/OgtNG/L2tBXfX4H+Qm7Kgf1KAGw8j4XgQLWcUM0/VtAWIjaPi7FeqJ0nAbdpbu8rC+qucMT2sg4zmtshwjUJ7pXcMJrqWJKuAU9N/TS7lHhCJ/U3z0AO6oGoulCrYXOVj5GXK4yNOHtNIEfz+eI2hwnbrhyDu+g4xeh1ERuijID7S6bspcmWxN40R39qB3MXn+sGiXdaYJKDlNIK3tdZAbmtShWiPHhUihF27eSGdT3QgVBmZ7Rp2DFpi0LaEQJK/MZeq6oou9la8/Uwi5Lr+gHDfnZUC6AIo7tKURCS+Fwm6nsxMJv7VjZDjr+BtYh5L7z3UdJcgV5rACqFKawDJ1P/E3DH6EPoayJRZeG9c+OhOwuQTBjPXuQ2JhNX/JEnrGCOspQbZya35GOPSDtuhX4XOEPu+tVNvZYTHOwQOC4NTi0O0c3Em0iVg8vnW7bjuhmdFW4bMyupQD/wYVz+7TfqPruoEHisjjr2UcxhDBuXhYHMilnTuCXfBcAqzDus8jTVPztOPHAQEg7FOBGwMQ7iyPku4aBwNjVstpNPENp/WeeygX6cnaH7Gr3bu7SpxopKgie/p1jSGcE9y2fstnvip6yu3r3jVTSNdXWTSV0S6APhgxn/7lEff/t/JKRnN/+qwkxSgWBw63dPQpgbuynq20fTPonO8qIEawqmZClTtMrmgGhTXdhVbZeCWsGDPayfjWbYIyBFWWk8B846XWxxuttYREYRnjFQWFTyfVxN1ZXIhRrLq4Ylp3VrELzeO5Q/V0TbXOXA4t5ChVMc2QE/yXegPegYyueVC9xNhNTe0epspcIKzAyiqwHuW+dwGmcjhLRKblwdq4dw3cbnotP3s2HugN4VEo7++e5IC4v7WRqHX68LDg4wfCwlu27U9dallprghbLmFIt9OsI9K4/18kDjO9wlhslObG0Qp0pUiA+ZG0+ULPYS57N8eg5uswxwpFo+FpV1AIDE8ViflFBD1hRu9kMk/Us6/4EOHVC2YM0vIkVYSUH/ENjU2zug6S9niL9WI0JE14DBtBli/deCbOTAqEPQnRKJQtvGtWm9tJDotaJThcPRuJ/GR8otzeMJIDuqIaP/H/nzQdSGHUlAclCQnwAmTU7LNdcNibT+tGJb2Do7aknQnkzmgNcwHE1uVMv8cvNw0WmNLSSQYsgkMlF2Y3ImWTm1pNSly7ZtDrU9SbB1az1tb87cnFS/6Kq1hYbB2deYbfdaA4SGwAowG+2UUg6KvR69VlwF2j8y2+qejbucrdRCfxGC09RIqjLQvn3CmXZhvivIR1aKfp9xH8A5UFjWr+DKtFFGtX96vn9IZpNHjRIczl9e2qUgBTrfsRNzkN2MHr6NQ3BKrnwv92fRWCLXAWXT9JXO6Z5slcHObCkQNPdNxO7kqwCCAfq96diy/HPkYsfjehAZ6nPcbA5jA8cmxy4v4WThjkT7uAdVcqzA0CibS/XfqRYMO+oDHr2NQDfXPAehnLJX/7TxXGAlAA+tUQJtbN9qm8Z82goOWVRjTB3Apu0yqiFCRY5yblkFEIXT5leKu3JAd4bAimVzMMdn+8JZjmFcNQBzut22K8xyMAS/RHGhpCyUq29pBdaicpVcbWfJ374DD9jxZjcuQhx/CoBhY9km6v/RuaG9nF59Tvm+fv5mMEErbM24lIHp/PRAnLdLSQbYC1H/WsxWSWGc4ZSWXLgFn8oPYNUgoaM5/YJb7xHRigruB5qBHtOXUdkJz6REt9Yq3x67B9u/ZX5BWLJq+NNYDhDilZ6Af1seSBkvQlwJoDPd0uLTuyVMFRnPaEOKssnZ2RrZN7B+aVRMhOV3I+e9UGGopMaLgOYHo2lMTBXDM43Mcv16Np4R5KJoJU3DPczzTXdoaVB7i0awaa2JIrgrD/xZztDIp8g1ZrXPTDwOq/lu87VSN2nEKYXrR9SrIyS7vVZ43KV3ZllErws67muSpsrKn/ZfO037mdJllX/qoqUc1tyToXWwGPKa5l7ZAoGn6fB4AbiOfHBN6S07tb27IGRebFlE79zZH7wxPLiVSL2Y8ajQwowSwWaWFG1DdOsEhxm7OMDlKk2RvVoLahMV53mMBygTRIMiOVgBDgdHQeSXk3ZPdZqktiog1eA+1gIPL+7HQk6jtVFDsVayRZNKCWqxt8RKHYO6gz1mh4ZhVlx+lsnT5m8RwWoY5ItAiZ7fFwxum72RHOdZ2aF6YvbWBCxDLaklucVWcu77Zl+XNVtRr5cO0Yb9vJ1fcQyX1LJcNg0JmKnSkKC6vLGqLe91zdRDTmbfmP4crrBDMUv3jVXgGgG22W2Xn+FOvqcrQNgPfiKCmQdtN8Go6UyNixYkLhpKtkR0SpCNNchI5HJzcfPaHQMpK+Boyh3m5iD/fgM5tCqi66jxQAUHDgn0SIWjXL7iBfjHxmkPzhmu/V7nRdB3DozHMyezkVFoLzCKMqNLQFaQqmk29vsPD4qW+q05sXd3askGrZx42tdOdeneSbrewJJBvyyGcdMn+L0rTLWWSeG2bu3GaWGYEhKzfUdkWQ8eaz4W4C7DNaqdNU+QSRK7JyUhuWWszGFvlCXYzvpfxGRvt2vc1Djv2LEADHcTXNGvr6qd3HyltrlIdg69ewn2XEw+JUGBgs29IXKM1SdXZl0EH7mCkJIue8HOyihdL3xgmIsJwmrWyvpkPdwONFVNwcmlK9Uiqs3q90EbFy0GoEH+YlSpT+D9uZ5Jbt+g6WHhEeNDU6t2XgmgO4TY4U7U+V7wrTmGZRadu31jOF8Rt/ZJe+eLqUF6dfEp6JpH+N1f83z+98HiVd4BaqY13D7szTSl6D6JW25K9PyeB2OOjp6Feb/horBGWYQoHuhvCHEV2gdHmDarFWRKqTV1QoF3mqx/Fd3HcUxB+345uTi28TGShfD9SRulmItg6F9MSLgj+a5pmk4NQk/Z+FWq+P9/PUKji/pK08vHZMHZEMeqqMTWipV8DbAltPyvsnNcvyWCLN9gKlorADRmSrBPsY8T6fPbbnRhSKsd5va0E3oLR4EILx5RuhYD/QAOIF8TrkGMPBxulkGxq3RwOg8uQoRhWzLC823+DYYsQxlsThQAgD4FdQQAOPZ6tc1gxVpI7cXcGdczOAN+qIokOhQHsCQnlsXadqCvyiQ+seHv/yEf1TltiWN0LsWvkbV/EUssXZqgySlTi/G6nO9Bpubc0wMkAp2Y2MlW6K+jfdYpM6iyEdZDl9FuGAlbEo60OmJWccME9InbbnPIskae8YsiUttZCCdXFJaAdPjTxE6270EPR9zhVpiPgkmpKFzBikGQvYoCmmeQChsIYqa+tMbrnkn1VNv0olH+QY5A4eeXuQlo0KQlGhAlyngpgyL53y9L6jbN1bbm6F9FxcIac1zNszeWq6dOjkNL7i3R7Gs2EWoxa2YZaKZOoalLtzQ5+wz9HiXUEZvla8AoaTaBb7egjgvb7yZNTKuD55NOYwuaqRsZaWBZv9DB8t7cD38J2LD1qmc0k9qbgkjYwW8q5syf1+YOXy5zzj6tEiewaliSA/mmySnJ60ivjCSsBnB2sKAb3fDOuNC66/KNuCBmEbyWkIqZ/rTud5SDEsTwUr7G7WibwuO4MBaUQWRvC7lYi5yQDbXfGHdLncGWnlEGLySf4cBpD81QYn/mVg8WBDkNWjRLjZZF+VuOL4CLBUOl1Qs3kPGxTMR5dxuzuLIUfZz73bgnhh+PwORDrpx0SANHJGmMBQYkC/V3lp1N3PJsSKte5cMeU3CJrthm1xD6j4OMiHVkNsv4aNh7cxzMhlPvPu8VuxLfPdNuRc0CL/N6Hp8FDLWZwsRBDXw4KkoyOD0X+5ztG07DWKF9Qp1w7q95yjEFWxC3Kjvsqj5/YMF1RtUcDThha6nntO3Sq9dmwWsv5mG/dAVlHwQtZUne6Um0xR1+Dx6fOmHSMSmTDAa+L2XzefWcgENDQ4x8x+3nOUOnbvcp1xaKnaWypnDHLHgQ4Ad/6uhVPsSEqaidb8HpVE55/7Eje4eAVzAoF2A2AkxqSgzHT5TDmMkzKJRlTp9EZOu1NRkIZQ7KrPxLDqIrQhyXvbwlHeKhGoQ5A/sl6o/chYtkJQDuU6YRSHQESo4kT4PbhPBq7QdgrqfQWoR38TOjho8y9MGiCknwRJ5ca2yh+hjY0uTeR6tQlsk86jnvLglfRvJsuS06DR7yFEk8dtB1POQNvZMmtwaDdHnXL3zUEQvgts1QVVheaJNj/RYEU7mnmwdDN7CWWydnPu4k784RY0/5tJzdo2X6KbwONsfEMfbox9F28BoinUydKuMtysS/PzXC3n5cAvmTDVPhN3Od5XgLrRU2NSm7gaKRMqJn2/XlKvogXCMUJOrZvV3NQMI66DS/XEVt9UbKxUlkmYbf2YGVR12wnMWhzE3eUsWiGU5gXPpg7twR3snVwrUB29Mmzzb17eJ9DF+oNHuFjv8PW8F7VzqkhlQBCJ84g/fB5zluvmouycrjwHNCdtP/Lwga34ID3O7oZb3okDJyH7/nn0aSZH8daGr2GDOw7bdAT2O9rQM61u3M1tBkik0fn9U2hr1bsGDL9bmKWehxU31IxA1lJ2ixn0aoxIuGmPZX3zxWGDoaLLw/iVv9EGv1gdBxdQLiL5meJpmq3CVaNYva89EOWueTD1+GD2VIx1kv0WMomcW8684yjinVojKSR/yPm3VZi2CIatNH8vlSlcAz8I5baV2ZSaGDERzQILYKkLt30JcnMwn9o3KzadZD/ALtUDxUOufjwC2npU8iPzJ2tb3A8HbVxZSdgvV0AiB5/dGz3ca7iMtvgity5pgvC4w0KwzUb5IG+hGuE69DF5fFLrb2dDzqp81SPM7KK2CvU7aZMds3ZgBZfSCl47Vtdwk0a1frmRk99x77LLjgCseFESapHuvU2emp5fjJKrtPpAfrCLyLxEhKwp7zkp3dPGle8bUTOaEDzfTqDLvJIskYjLqyy0+a8XKSQM03YldQBk3N4MmzQDnQ964fG9xdo8ztqztkKY6u8EBTO68Mw468MOqJEijcMm9Q3ZJ/Hjqn0PDTdfozNqBU9aHPZhJTchqnSID7JmaMlgxqJLouqyuKGcVAg743AL5G/IjsJGetDJVhh9qWuNIfTTdAUR0JFkw82f7/26IB2XF4ZO8RZvmAFCjkJdOE85uY6LsofCGeQl80fVV7DVXAsdTHDbNCX9RDTMbeKelNY5oCGh2CE+WieT3GvaCcMSq8x+u+IBfsWXkMRbRlNAbnbEnbgv4bnBzda0IVD6g170q8B1g0IRF62+R4aanxvSa8ZyBBtK2jaDj7W7E+0O8YEZSUjYq+VtWFc4DteE72fE+cI7wSsKW90//RK2E+zukXwQJe8QEYQ9dZelp+dkrCmBRKPN0eZnL9M8escKe+H0Mm7/D2Qj7x3bSZpCXWSTLlSJC23aiecT86l0/CdFoGqHk7uRS4damVuKHWQ4/xxC5TIXlm8GkWXYgXFOR29PDag38iLFQpzP7b2UbM5ZfoyxNwEEZmD7gfim/i84TXrdv3qlBFEzZfHkKcPj92Yj4AoTvlTK2oP4tGj8uWUt3z28Ku6ZtqSTbEwWBs49Stg08WVqfLrdALeKxVJOdo6D7CoGM4weWXJqXHGi+jds2HANE4BlAbkgPyHWKU3ulfT7YNv1DJseSHlRGKPUqU39eYsFvxtt+htTOjHQuLtY4tWyHSBF/pElcSe/SQXw7LVNxEWJsa3k0bJrczvaaOFAb1hvdqGPNLJww5c1Cfbj2XxhgHyC0UIW6wW2hQMJfClEKwigRG6yrIpLk2DF2N3VdZ50EStnJvx+3UETJb4gC1TIVcGAUgmNP5SNepxZRkKR3qkFoW8BR+EbtZBZcL0caql1eZGBQIJSHK189F9KnBHTPKzZn81oC2K4iHOY+LlVoaZsyQYw3e/QRdJBmx9LNul+jz6hqJddnZynOYO8jaAXLeAbDohoJ/PYvBXG0FuwisRcuy0t+CWwIQzgcMC+vl49mYTwmHm4t+269NKlLpYCMXga3nUoclUp+1J1qtYuAHNCed0Jcdoq5/fG28h/O6TRCZbdPkaLFHRlQe/PljBwxaZHouJBDQGfGUGTgicQF0gKXzrUbhnSv46vH1dXG1Y887TfYeWr2YA8EJABRgz5sDrh0L3jXAUtft2VHUZ4JGZvtPKU173L1FChbuFlgaQH/UoeIT3iapfYSnqTtqq42ZGB8IKp+beafcG6MRPorF9UhDOB75m6rkO1cWHyKS4AVc7AoKBtq92v5mSdJxM1w+x3GJzxWOhOC5NXGGywJ4VfFTeqvt+oUmYdL1/X2FWsDgRx+GK0aefRwFKmNKFKI9tRy0uw3s4itgIY99cK+HQCJR1SwVC+4Zf+KIHy1BuFdQ0vNP3v4M9lfHRUWcJtWBMnRl5QJrRNJfqUJxIg3x1qAUA4gYSE9ONpQnpti4DKvEBvmNXtAtptS1ohoC/7MfRwNFNkVLriRjekzfZ4GXi7gSjeGcc+tY6QlZ5R1DfY1MG4QJasz5+h5dLQbDrHm+JC21c4krXAn/vDMfdqjyQBAoFP4r+7PfBUNdiACSA/bNzMySRIdLO3lQ5vq1cGy0K4uTcbK3PoPAPoxnH2bqdga5Vr3PjgGSBQARJgh6PRd4PDkNW99qYgBOAYeBvc2Yw+pKqCX4tYBrKLiYgCTHGdxIuPoDdfnzZJWnZ+oyLvWB7WeWOq43bFIpNy6JR2ZndyO/1FFkuyW6y3YBVdeHyNNAJpNvTQKeiImkAaW+McTntoDXTjJCMnWSRmsQNach3sT1mrOQGPD3U8MYiKmCPVYpv7aou6+4Q1Twhq838jIQwO1eywek+VjA/BttnIgXbiXZEImXeXzgC7ZYp5WQhcBjB3yQUiBQAijh2Se75Ixy1vSK7Yhk1KLho53zal64r1HY7aCGGhzDX1KiE8LNpmPUn20mO1mG1xQpvEERhrdQQbQphjvl8Oy8oZIkljXzX8ATCNsnzuwrdCRkXgbLb2e4qn/mI4sDnEjOehTU0prx/1z4d1DibSeNzgVBsa/igC2mL/mXHOJt2yRRKK3t4AF8EMLD+JdSvmMwJ7ILfjBx/gPRgu/dxpmUOyW2oyqVYwSyFwHm72S6eq47I+gDT/6h3w5D9zQJU1XeDvpK7StUuoU7LH9VZzQ32ilRM2U+/llwupG1vw7olGhRpZbDj69GOlib61brFrwCBHS8do9MR0uw1TSpmB40mHEv1YE7YSJbdMgSsFHHMJ16i8tCKN3eob5/9/d90zkaYas0d/aEvAXgS/aOio2bchHM6X38UjggDJhLr0pEUP3VQjL5GLe6D1j39j/K844mEVNIrUy6zofzjyJfrRQT3J+JVndWe99vx1q50LX5cSZs9UL9aDQPg5bo2CZnjFBJJISw8MrPfSQP/+jUTGFU8S5wqaw/uV+RzPhjkZ3l9ufqcOVPr4Dzm4BtV3D8p86oVhTNXjZiocmBnEHgB4vkWz7mBN9UZytljz07cCcgBL38JwrR3YgwKKA+VbzayRx32dT6WnWR5AxTRMrVISslgPCgbSnxdW4nSgzXVM/FS+ex1LavuBMZJ9He1a0jhS6UOtJe6H6mktt22NUZ2+aOjMqDn2g8HtqdmWEh1XqAyWEKU7q3iCzkkiqTnArnSEixZLR0vU0mdK5Y+s6WOCdHXdMViyH8LQGzCCbuis2VEGpDFG7RsK/MzzXAzvnqJitO1Wp/h0LAOr4Ro22/ekRrdDhtwxMimFVXF9WzJ2zDQe/7RWJL0Q7F6P9aW8vbJ80d/BzOPW1voxuCJltOj2AkgiY7LjwvOI6+3x1CPEu9CauLverkHCK5sdt8oflc/ejIrEnMS7j6kNWdXWvgyRBSc/gfdl8RYLrxbM3wiiYSIU4jP4O37k1QGLBgSIuqC5OiXzb7P0KP9ieCLZsOUwGq7wY29qN9ON19davGQlPpDZ2Ri44OcO2GKKVGIgjR7DSgwFSFB3teMO5Mn4EKqyG0JAvYcGPQRPfU0C8UaZm2zE5LEMqq7E9J2e0RNKN/Sd7ibIhHadrRI6ayIFvVYY3xS6e4CDy8ATKvX8KpwKkqzo+n+DyYLdfBp3plqE/UYEpOtWRCFjEwMqBFLCP7pD6V/OObQoFioeW1Eqikneh2fRR9DbyDeQasQOvZJGvuvPqCJ8+w5rNtkhIPqXvoa+pCjea5hAsfqf0c7YsaLzr8yI57pLWBa6O+i51zSSuCk5hNAi8+rrChgR8XkRRWHm9E1Y6WWgrFi8IcN9ddvX4EJj87J1xJLqKxVNCg1xh+zvyNlQH9M87wUEworHrgZS2VZE6dB7+ntzl+xi7tVoWEJ+JTh4xn5yHi6FAnI68seyrt4Qz0s2bmYtNE/eV8+8ED13eiNV6jcPa3XXyT99e3eeos8E3fFZFY+HIQDSr3NhwEBUeAHPPh9OWiweenqqAgjlVvmPrX4eUWgQl6QOm6MjtRY012MHY+F4tq9PRH2KLbKqM3hHu9EiLU6kBSdy8BLzVUbG67ZYVHoZe4t+aFDMYFlwkJfGXslgwF0xeKyFaE5YzLJmeK5LVcj08YVEbKoWsmdyTYuukpvCdXt97B3p8NEWWKnVW9EAP63KDaTjYwqBiSfLxxsF5a7K7lYlt8u8wyjWO1FCORexybRqhkvKZtApPiAquvQ0W7D6+9lgOEB6TlUvob3DrAm2hItBf2cfqXY4jnjA8LGiuk0A4XXxUxA7QCy5m1/gS7i7E2+AGEAd8IgmVEW+fKshYjnubuy5oT42B7rH1XWWSy/yN2rifDsSs4haoDDoUTcOdL5sJ0mk2uVQGR5rZfHC7KaZ3BKmUS09wus7WMfDkMLcJMBAPKc3OWEAA1umo78wMA89NgFAqLydNhmk0whFLmoj45/qtA5n6JyasMpWnZ/l93/LZFRCl8BP/uVbSFa4MoTqK69d8WRpoZVqx2U5P5CNPe/vG385JeQXkY4Nu23fsYK9EJJOfbaA6ChFecAmBEty5E+UMVXAIjKAqm7+qrrRi0NE88ubSPZUhHDyo00ibOwOB/1cGZ6veEvisqO2K4PS6G/E686vkwSBuQl0piqyidCuHgIhUJtbIjkrl7u9shp3LzvOIgZTgLI+bZUC8+DgrykdjWHDa0+if0MNkN/Mu0KczGEGAYmtZ44/KLNRj0Il9fEcpVW4m4JySfwUrqlPX6vfP9cpm3i2n9eD1cJcuVlCZ61zCJRDoIorY+4jgLSdKIvpVyLdcz2plAyKfT/hleiLOknnQb8Fx8ZJi2xtERfkEMqQEcCyOb3Q6Tg5d5upfbAtmqoUPgLSwk5yZQVG+BP+9TuVGs8tLnPdCGu0Voezd2JYQ0fXeWXRaZ0OaV1yukzhRcyjGvM9Z+jjqIUa2pCD8ruO//77k+x9SsqiQKwCYDofCu3BCL+KDtHH489YREjHzpkRH+sKPOlJF8nFEsKDS3uwaTKJgs+3XtzjAbfRjY37IessRL3sKq0ZuV5/mhISeoMpg6sxrO/sGhC7GPOuD7hus6+dvN1CUHBpe3QQjnIjY7rXidW7kB9JpcsC9KVgmXZOV6AdKWhbAKotWUKyUycdofrUDfjBBdNgfu4hB7VsoxRitOaV85DIK9HUu2PGTIYe0IHwi/Mglhb7sxuLpxinbhhWhPGQPe8JA/hTzzkLkWIO7n1mEIt70zToTVvR/i9OjkrgiaHXS+eg55F/aoxBLC0zw24KW6sRvggdW/eMkt3EXKhtEt5Ug/QflMBr7YBPOinrdsI8t61QMALBeem4WWObpKbCMCJhua2ZP7LERafczRXFEx1SX4yypGEw3CZQ4geTA3nRfEcGOYg4bBQ3z56dK45p6z8WM9VanDgZHg2tqVxkoy2z4WbBE/4QVi1/4+4AfJyT/5LH0PQvibqoSICjTFvMesQR53UMvI31vpN3ijdrEXGL+ACvRAsmGqZqSzfXQDGcQ/uWqdQY/hZ6eIZJzrnU64yOgpVgVXoy++BoMBjBGO43sFz0ImQa1lR3FSQVrqP6tqdy7+mjML3Z4/92W9FvBt6dBlFru/CZqOjpsgHp9OYcrsDM+sPBZd2W/thsnoq9JnB09FRcSUnUffHOXB9uI1c82nQL8Gg/1SnbUWHVUD41r+tHNwxXEFpnI/2+iXRtw6a+v0zl+sZ5UYKPdI3HdLGIfLY2i2YYbtKYrtArO1jDRxFxaTeFE6KnevogNM6oUcMeK5t4tTaL4Dh8oGKfmz1cKYLF1mE2pGo8dyzDXH7GVPXfN1N0VAZ+LnEngZkv1W1OucUoaF1HSynw8BIOFvl7Ha9nyf1y+0Bu99R5xwQDB/QHjBJG8au8sez7KpWaV70PQtaBBIAb/Gl6+bEZAuFp/ZnQARzOQs7MIOTWPna6oDD31WQb/Eoa+uhwO3ZF9QMQ+r8kNRDNfTVStMBq/YkvCyg002eipMeO+PRhVLhstXNlhvj38d0OgTmU/m/aMjT8qAS7+0zL/4CRGLEhWMP7QjynDQa8bysP4hT/acFxIYiPKlv7MLG8SZU8dVQ8AzzriKIX0Afo6pp5RldHwqdLXamLWoP/7ElsH99YkLpHNLPFGvRNxzBXLGYOWSVd6HUCX1bFJonDW5taa6OaM2W5G1vTz0e0JyGPEQBhnAGW1dWwbEvFU1F782NfwNuCA1Bd2S6ZihOcfK53DLXpvZyu8kNi0hru+6VyIMlnkHipfkLCTIT/X5chNvQ0bqzYsgd5NWStiJNaR4TO29gPW9peMR1bCeiShzLO4yaCl3VvRD/z1qarhtIicSZb15CWbkUIGsUElbZufiqw3lNK7R4QXWFIg0SRNCF4Ko+lrwlOR/F2LfyYtV8qeNckGJmwKy1q7umJAh2y30gYE5POpXDOGQCPN0NY56orbptxUGWLzAYEd08cXioP4oe8Xtiofy0JQyKMtuJpetMCcGzjmlS+bzzYYujoi4kas5W6hlP2+MresEcufkGLIt1/myalRdwfj4eKbQCOwqiigrQPfuaeQmeEVJxo8QxwwuB3XTMhPNW4oU7UHwsoGoQKBSYaAZoQIeH103aiMScDycFags+ik37bfC607dqEsuvKvMUk/8nRvoFhKGQbnORcAQuD3uCpWon76AB8YPSYL2Xyffe147qKA/O4llO+RqP4gs/z6FJJD8+ue8+IaDtLNDysLmeLWNmgJbpR7DdRBC4CoYVHPaZZan2pJCPR1ZGjfnlF+Vd5iAeBd4WlhNbUamsKn1wpNLqy0tWl0bTJLwNuv2/8xQ7ErzMIFcg6LN/YOMylFAlYjzzWEhagcJytKd2AWpiWZvBhcMfDS0b97oMF38jOl16xYEWt0QCWfi+cjVCl45RHbexgv+0Ofn//B9ybMAktZirRk6m72jxs8tJFO8V+q/HuGVVm9AvlNGudTlIaiEW0Rfqg9H0yKuVD7V8eL6CLNJAnMj/3xxWNo98nmlwpu+GkmD5c3iVrh331VXpqqEqAtmjlaM7DUnp9m7hQTtqwwtMDtrYB/+CPNut7LCf8+2689Y2CerHW7dgFLkVvnnWolV+g/jJ8Jli5fWrrR6+4uxeCt6yMKFBQ/m8hVFkzw0ELjAUP1U3eeC7r985c8GLLwtWS3PGJOzOilvXECglQLMWJZbKaNk2L38JuZnPueFJ/uVoifih3Zp/Tc4A42SLZ74aarpAmr+SQ64bvO08v9r5leEgcOnJYPwe57HbZcKxrsMQlHgFsSlnhxHi1qlXnfxLvI1FUKvCedDoWPtA6mzOma5/HQEPTn4g1v7Swbk3okZ7TRcTGwgj2pxRZxUC7FUYMgEs7m1tFpDGa7LeM2IPeqdX2s0Z7/Z+5yPPd6E5AuaszGnT+CdL9GOoSMfU3ijBcNMnYYF2jfPsvYSiW+eSYevhkg5pAR2PTKbgzcYEz1KkzPoxr6OC3BBlwhrBog0VxIfEVKNzk9AkOFrDuViyC+5CmmkPp+z3LfSXvR4nwx5yK+1eVJpRAWeKLlF09kYHD0paDlH+ji/qiYB1LtLoRaZ5gwOafnr2FAjJ3KpbOL++ZEehlCjLMGc80Ran2Fu1KEO92MawTICqP1oQ0otDvEQLHQvWSzr5cp4bBDuNEqqxLsWetEYG+RYlqlK/9cVTZWmPO7HJ6grJQYUQvWBYJSnpDZlhB7xULtEay7y7LZk6o0rNqYsENYYF/fzG1nXIQiTsiw7vTmU7xexEIZk/nuieu0qpgVLL669WrwI02LepR+8XgVCkdlZ2gCWxlwstysqrRqkCl6Wyo624dTy3qz3z3isEU8SPtW3TJaA7HA4+2cKoqkfF0l91YAric4QAfo4oLBcgDL2hbelYvysIBmSw75yUGQAgWxjIXYTX+pUVgFt8Vu8nB84f+NbEObGadfFi0lHYX8oywI4V4GViiJESyIQAJRbttWQiKvUC7wyWlrCIcPasjXUYH2Wc+2CC0Yao/S+fS+yKxiUHr3meLKk/WUQdBfkI6Tb4I8Wkpttpj/pt61EYmlOej/jszPF5NmbrIQLhLeoF5VU51VWgSI4mg/dtVLGkTpR0G7gloW58wMs1msKa3Cxnx26C5b1kYsHVZ3JdEuK3SOjNGkLF6NT4+iVxZULSAZRivrxssA8VGvnKzjzeMpHvE8P7ydTj4YhLbC2AoSe+/4HlqvMlaQ7EQPvOJYswKyMzM1SJoeId2VaRa2/g7wz/CV2ZbWt4Md5yYzw09Uj25F//4No1uudYcwTK+y3YM8YvjDOnZ7Rq2D5NqN8vvuiTVny8EJRR1LJoWR5y0uqZ9+3SucY3yredysIEk1IFIN9bx2L9+1vkRqLhf2XWQ2SwLt7loc2V6oCKYVpym5LLwo/MxtnthEMPnGPiPK+1wJK8GqakMIZ6OgwfpkBKFa0zII0tKD1BAPkhhsIdZD4rGOJTp1x4QbLRtZascPypIX+/VA/zMg/d2HcZr9YD15fvIe0HFPxIIruuXIZmAcowJR8Hb+IegyWGbdBZatuYcyo5u3rlYEwFvnUP3fjXE/GbqfxNLfk7fjkxUEZdaEehgSP/nSJFpX9BE63lWEgOcQIO/OXjV3rPATsxy/IHHWpz1Kx08JR5TEkM5P+sknFdZF2XRHyVr7m5BGgNOyuNl69M/JOy8ACfWVKcaoomqJrKqbtwBn6XcqEf2nLaVKC4nqDZ8l85Wbwqyi2Budq8iyQYQgFkvaeKDEhdy9mlPy9dkf+jWBInNdCLzn5B5KImUl6KWMS8yyPxMJpgnO0U6DHkKn0pL9NFoIEhFLUbSiAvZcPqvvy2T1YMvfGVN379JZbjhQv8kCJB9BBR3gKxk4Ih/sqjKKtS5KtZuTUB4WOxmCa2CSU05aRSIqiInHGxPaagVXpmWBHvjTpE6sF2+WHFJj8aJOE6Ee745oPZ9eM9KejpU5/2hM6VQp6BAmfRUEzNGEIG8IbrXZafhAxY92fKrggtYiln2Puem6vLLHtfXhdZXC6jwstsrc7sKPTZ+6+OkzZypqxXizFJeaikR95vgBu3M9aYnQkvcGzQT8JXpPNREnh5+sxGzeasC6l23H7R1YFsK3dVt1xcIUE8obXHbiQvUnemY+CuHQKuLrvfAHLrqlPnesr4QgxkWGZZSMtoaY+AMN/GZk+Q1KgMgoGxIBEG00/+TonZI0R6VgwzpfvchhgVTxT2wkKKj0J2PSVTMiHIT5+DAN8RZC6o0QCgRdYTE/L0t14yi48m1e+TtFkvyvuNhKouKwQr4uQJ6koF9vQpK5NzvWQA5mvvKKAjHrslvpX1C5lcIhjhxci+ClhqE2oNk9hfJV94f3vXnQwXPz9sO91/nhaD/yb7U8uIsaE+5zsHNb4Kybt8WtU66TgTlXZiGaxj0cHshHOAlPRcoOo/3xt4ZJ2tImd9Dd5QqlDi8M3ooIewwJt9BQ8+L15mXVB+b0MgChE1QHco1Gr2EPrs1UYZdaYgdU7GO+EPnBPJnxF5I7aoc17dy9yXc0nR0RUXyEmynX7gZHSm9HPUmcm5/v3rqPSGO+u9asa2bAmrq7Lg6UNpZ9NVykjMySx1UdI2IpPu2x4ExscYeIZiFZZo2WucQgeB5V0YfeVMlRCjyZXKvxtJLJXW0jgjBhOyf0rl5H/L3R1SdAo1guvPKGN+8snCOIBLYl2pN1Td1VQS5FjZ0+sUw5MmhXpoJ1XZigWXILp3J/ga7f2WIFZ7ezEo4F0RyMGKjHBkPhpi65QKoUrpHM2TN18e5p17mqBSNXhhxBdp1rHZfDs+AuDyzuYJemF18Si4xDc+/7nrIrVIbuy9wb0JmGnorvQvFNWgN9iTAXhYWoxEYkEdSuhEx1fPmfxivBkggucQI/IBWVdJWObZgDpGDC6dD/XR37L0lc3chIE+hSx3nVg9lqvm9MwD331d/rvd3S4Nf6buTooDdoKMQd73/ZFpOWLYZd1hKbEcDz4vkAp0gRz3AoYDtu/hnxxxnxoXb333eV7CcfPU48dqy6kAxHuikA1jkNV1KToiBitewErRD54xpI5n5EIe6UyfOBtvhunBjsAdLXaTGk/9k85f1mzcNac7dW/sOd8Miqs5vL8jQ+exG59TouioMmQe8tueh6NA5sOSDrOEM3U4C4c4CvxdJKcB+Ruo4oZXrjVm/qt7SPz/Aw5t+qKEtmS975XLYwxC9V9n7jmxqU/Np6KdQR6K2uvio2gXvg8c8bEc8KssOIxhzFNNrWNQd17vNhZ9UCFUe5Tla1lrkJwe7bt2D0WFgx26d3Rwq3cgAMrVAZaBKrh8xLC0vKOiFJc2+AgoETbE7oeiT9BMTvIPYFRAYOO+8pB5jdScX5C1kFEbT7fUwu3jvOCwQo+/I8v781vsVMQG3jlpCgRCApE470yJm4Sq8/dEfRGQCYmLN3Phgbu1gu5a8mJCoXkDaLeetGLj2d3hn1wEL2tbYE0IYbIAgVqyque+QuIwZB+CLwcvKNIcAiK7EYYPhi2T00DtEMpjKYzA4KgkE4UgSmUjqrc5HAta7vOImN9WPLXsfOXLLL/3prBXwxKdDZbTv5Fet5j5N2lSwPv8lgiqROIgVcHHf7PGxNJIaukEsW5x+Xuavv/TXz5yWBvzpBlwXsY4fY1QrOpTmvNUjeE79oW46y4NYveDAlK9kmaoNcF1PPpDzYBMcdcoGX+AwOl2CtBqd1VSqdJPZ1lDg5oLt0gHsUa8AH8+1ZjFwRv8QQU37vhauhFpy4E/7tSqLGd2cIBWRna/wyqGmxXor6q2NXR5xc4e5tt/Ua2lvrR5u4R8u2m1RCK2BXulKC4yH/jy0mNcvXBFEZflfHco/9/f4iNDxTT1vmXBrRcD7i4slN11sl1CGvDQgoQS/avFYH1u4PsHH4hFgbZQfoYYhwD6oyVop9O4z2bTvPIBZtrkNh0kUN8YgYm0a9y9YzK6K6yIiG0WEWYg59j29kaZbr4m00hoZvLtTAaCNnZwK4tWM8Gw3vU0XC814X9fWzIWs/Dvgcuua6DRL2tjiTf6n7TAUG2UUhX5GYNmTQ2XqehSTm41FpZHIqYWDfW4KS65htcQkaGeqiQPjNXvPSI7fTPtIGYmlFhNoLZ/Xs6fzNmpTAmGE7TOZpeCf5y0iqGFV6qMp3Rp22nyUNXYfJQN3d9EEq/Rp5rluPadSV1ovEOBXD828s4u+OfrbRhwZWKk7EnyVPmIQxs3c1yHYScu6XGKtubs5GW0uK5CwcEfZiaZN8E3vBiuj8s9VCfBAh4fAVhSn9sD1Ux3p0oY5jKaclE+v2DlM4pwPRo+D46C91ZmPFnIRZl5ZDzWytjGY/hfcAaLaGoD/0kVEA4Hf+DpB0U4yqSDSW6IB4yKNGmtMaj8bWTEcgL7iqYIJA9n0SMHGGNkUJ7s9ij3IsP0d/lqfchHQRjiHqtc+fvUKrS4cKywPjoN8y6TZdq3RGG2PkBkZgp58fzufJxnzOO1hhv2sMdRfMXu2jSQaZEk6dWGwvGCWY2BfV7IHtudjMWM1izzxwswh1Vo5hv2yuZj7zNowTTRdxCcwF+1lDTfiadSDQRnBWSBh8RidKgsUA5SGxIhCbPoz07GCw7fmLkGrb885Zr6xaNDmdx2qW7VPQwL63XMfpVwoRWAJzK/UVbik+4klC7dYdp/5dhiPfpvbHMMHeq40ENePu4jtvGp9pwYB6EBQRNxa0z6FPQWwvp3lJqBmfxOJ/56dD3VYGqdJHZr8VVxGhDCCMl/b7Hva0BwIbbP/gFNtveXpBVrNFms5GHQv3+SY4v9eGkwOZFbRaaeAU7Xtds7LSC56X44/Qmr+xDCw3iGAoLsvnJG3bW8ntN9651osmp3C0eBNheqO0Dk+EMY00VwG6K0t0MN3HmGIj+kGWgOTrrU64/5jph2tNEnmw7/x6pHX6kLrYGdVlzoEF1XOXOZPeujIqi8OotM8LJLu6NwV2XJA04qn8az7EBZfZjEo8/g0hCF+2Vwjh7r/08iY7JTAljAszDEy0YtEqZElsYvtzzP5uRe3CGINP5aETqF169KarGX9aVKYISFYc6DS88KWGj+AC4UM5uzi8tDZcnyPZrmsWpYHK20LYfR128ryhRwxPbfhA5Qd1BEO5hmTZ392M7Ol6s71ij6mmkbb/f/hnsLx188H7yR9fQAFKpW55c11YmK28D5TLgCL0Os+JoZyXFmXGc5UnxriYEYvhh5+Zm/R8/gTh2/kZts2frPtCSd4WOuifKGDZjf+lc46mlr6j5FfD/O1McdId71Ym88bFdkOVbdjb3AG1Dlk02h8qdNkOm/v7oXm6TB5xgGCGjzJ2r/9kQ31LEhkqQrJSKtsVdzxvBbe0qRvQ3HfhFubQ9qg/o5VCWVSJiCWBS5D1BbzkgT61rz6L4jhCvMrWYAIPBfIJcF6Rr+Df5EOsiOrArG0i0xg2aIqshEQMQWs5Ddy4/pZlONWhMYO2AtCYOcE6gzblZwr2j2uevDuMYZELu9yXLDriKQ1jF29DZCMkmIFR6wUzjBM/+xpJ3aQ294x+2FoBa2NkhxzPzeG78KsrbhbPJLfZqoEh8vdYu3IdEVlTe1LPIsE95GU1aBCIs7A5AnX9S4MQjAzPkXTV2xnOensRxv93YkMlnY1QVLQAV6HttiJqxre4f6EktBciKK7SLj+ty0BCMod12VSyBaAwAovjGlA2rNSy4tkkrjkQpbbgpgrTw/K5x5QavdFcSV5wEPYKOTubZSUWv1hl0mZ1vi0TBfx4os50TnfpMcC7jZ7e0e7J2mi8DYM2kYjkOPEtmxS95djtKWDnHgoutV2wDXmdgsr8CD25ODAVopWDepGAMz+MmmsMDZayxWTCiT2iBX6WAkleDOf+V7Rdu6mHdmyg+muz4ji9Pk1Qxk65c1C56peldb0RWvpZ6lJN9ovj6YyurSyegtb7/FvWYQSw33EuIh5v26hKDxF5Pdg6GishBdwqcait6hKbO70aBavrJ1lO+iiGYiwGZq5Xc6w3oO/EyQDiB/Qm6jd3RtxNdajZeo61FELM6nKeHhul93m1aTWzLGn3eRDWrJfK4qR4OEsbmzgUeSYKtU/GyIHsSMfnerFiByle2lQvArpyhxkcPcCPENSjq0+39GcfUgW8jDbz/eNCmYdAEojw5x33kjVIEInmbDyabRLeXoGx8nsT1cgBcc3IGlPfwVOiGPVUXeD/QlofgB6kpEFpYSwThnG32ipTjmFTCTzG2P6Y/Qu7HkPz2W6s0J2+5Mh79TsTs0V2D6Q5egmSUZ6j+Oi3LXnuSwuoJr8kQNY63eEnMvJvvk6V+aesyMtJRzBnQjHv+RULqYkrSeBiSWG34dGhgHA6Zjl1ceU9GV51WJo0p9O3kVXTN0X9gPyTqDrnrT8/cCClf/uwT/GQCMpoo+h9hLGPI9rBZ9MuCfrMC9wyImTI0/W33D3iskK0O+4zYI6YEg1P5ZTiCnNlEkAuyK+cXFJuNkuL7eJLYXGLMt4QrcZUzKQleTw1Z74pbiBaV5Qu5JOpxxnLlLS89pnPMzp3+cCZF38TOne4eJRDSCOczLs9jSS4X4UZkrzhldKySSZl8hmm1Ik8qTAe/sjphX2YjBqB0qpNYelvIiNCmX+6yLlAJZQLYGJg1KaChDtybeOT2ktQAQ8FYqWUlgJ1rdgC+N3WvFfosQx58vb9DgV4STtFUPCjD1E5Ber0YrgL9Dan+91uw0wjF4oyUaQlWM3UIKFTU31ILHCN86a4Oc54cpTtHaNqBxTfwHRRWWakxkufk0+Bug8lrLJPK3eWAHemyCOudcdULteMxiKiLTPDao9VTuJ/CyY7QTMSXp57ctcQ9h6dz9qb+pdBDdsJAnzuuwt68kn2DxKfekO1E6PNxrpTWGpghQdfRGSbdVP4rvIrL7fApvYSIpVRLtGgnq+mQgQD38x9LeyS4FqV0eBaC9DqNhBIQiYO4n6jviLbolAgyK/OEC9lZbVx2ChsSTojrREtUpGs/G1P2SMKJsN6Y8/XJtUM3j7nF6pvn/5y0rrrybSMPeSs7VyUi9ThpAtJ23f0741uU3QF0QhTdrKXedW8xk/2avaZKi3Q6QA4ra+SDQSV3YAjJnPvjaBgUx4GcR0FGHIbsB262EpcrlGEQvrqRMeqtTpP17YF1cc9WoC7Zkr2FvPhh9U+xmaIAxBfP24xsZipyZxci8IR1nn/Bi6uoG8/pWLBfS3PZG1NA1IB/DIOWXy1InjcZ85fSkfMMwtVrqw/JqWpRndQgq95JjTeMapw+uZdtjjyPOe2MdIys7QhG6MBNkPU2s2sdc2wVSdZLOYuHmR8HH//cMmJV+NKU0Ih8yzOE48uNjIB4fiL+Tsg71beWQ4JgPYeVUaFCnY9egSYzpbjf4GueVULJyzEssTVP1YZKGypt6N9XU36GPiFb6YRWVdGxVg3SrSFghl+AKhGy/RRDWqWWJiyf8LZkvmfnIb8dS9AFj3vczrTxpYmlACSHIQQ3vLJJisImufvnDjoRNA+XokWtxwYApyPhY9BVnRhgJKTs0MahA3OShT9Dwr3U47pgkXW8rvp5YSvVwAydMdxV4l8v0Y6rXPxZAmxluPfT1awGlNWXIpVvQGRnuRpvJNvHjFDPRDbMghBwHmL0+TmxSqCo1qHN+DUzCqxnAJ87GR3msXf8eo3T/+JRlVHuppOhPwx5AiuMcKTe/k5efg9f2+rp68edzNvG6J3pdeqfOM+c5VR60M9HXCS9ZKgIGjoqvEDidtQIklEKMG2/SqZy8TuFlf1e9O0IxxaUd+nySgGACPPUPJ2LdP2q4IpoSUIVkFV8F//LxLDKSHx4H3l46L/kx05jSf8Z3/K6MafMmzXLCndcV9wSe5s1bj0ty1PAEHen/WxLqIT1WuO/3ykh2k5aaYjoRt0J4rmnQpkqjKsvclugbk6u2P24qYL12pZ6AhNl6HrVNxnldAL0bPJwHdYgqa9+1jqn+xf1gqEikuwg2hDD2YlsMJBiiTA5VRYSWH1aACHAksO+4mTuAoJci8P+FIbEooEChNsETiwZK5BIK3u7SaFIcCF5LTM+5W6M6p2UCbO/sJGM9V2oACDTBixRoagwBL+2AZ4LQdgIsw9+AwWLyxsownPP0yy8GPO5w5GUE5xvT18NHpVIIDwVxsb0QtdbJHthsI1p+saWbtwHFzTWUilcMtN2O6RoB3cAvPqbSNBBNDq6PKHqK7f1ijmp0mwXjDcKibvzS4ay0AVE1kJXPlHmweDCocpjNAqnfnz1HYiZ99BEg37FgL50bBBNhaqSi+SNVnliAEtgL634kPJgbTHIvlsB/rWVa+jbfYTyoKbKIMy1ohJyx8drELv3HEvmnfYEKwz8A2Bfqt8uDgjXNAU4TuodUeqPw/gQtj4X006p/VHBXWlLhAqDBu13MxoaDLLskJQCecs5OCsP0dCnNb7PKLarzsCoxwZ3XCfhoyigIUnP2rPTsGGS+JQUlvv5VNREr3K2vESWZyAI7Pnr+VkbANFcGK21HkPLkSzBDWfTvHJkwtU1d/yEV2J4UspONWaExZWmcromLazPFkDC52iT7PYUY7cjbIP/sg867zaiZ9wO+Gb1rxksTtHJQRrYS6XBVnZTySkhhYkr0YsIJBusoARfDdaI6lD6IM4cVeLUjn59Qre1wRgK4eqmUr1VT0pQS/r6Vsd9OZLs6Qkc1OujbBiiMqvSjqzZTmun/Cx7+BIU7Qay9a6JG5kAR9td+GeN+1H/9yRff6e2lE5nnGcF04MhvHKgtZtf7ZCcM/p0q0MMgm9SuiEF9YbxRZszHJU3c5HWuOPN0sFCofIo2LZYM+aoT81MaYiEnRsne3ghK3GoK2tC/SR1vqlp3jFPpCQ7bm8lQohzA60jyF1euMVudVearrtuAGBhOZHtjmzu7JBzKnFzWNdI7lT8O8/Way0cusbCFJucX4PI/3Ut2Iq6JGKtr2JkRUQdOiDKkAme60k9HYEQIoReLrkCNuqyNR+DjLbdcWJoHRM1/D1eHAgOn3JY+m5YCSHphsgiijrQ8XhXtHWruqSNYk8HfpU1+ry8PbbXrCZdCr7a4pfPwlGxaOcZybN6+aMN2gdx7hsc8NbBvYKrAL6UnSekScYRM+VEUo8t4BQD+jClh/ZzxYpdnjN0auDwNcAp0cO8H9Zhssi+gi0Gw0BdGsR+KiCSErwFZbZVI0DG7b7XvgVTuiMSjt1nRfEnF9VvzJG6uwmOhfrVkgdXbU1+WNXIXr5d3LYQ1VLyAcfic3PMzkibMU68vZZRc342FisPoNDyZziTea+LKwTdFe8mmSqLDeKATxbmhy9zaksZ9MeTxlKIr91eLf2wpMGAKL5rRmHgfy7bdJYj2kxjVGyWqCwJaGaOhWXX4J01dJLzUYqqzEIROMYe6TZ9i+6Uts7Ex0iQjSl8SUqYlw7rfft+hjJiQzPahPmvcu5+gR+sDCWd74nOcgkThg3V8eVkEkvu2nOd4mojAK7pGZNnHgFjmyGYYfsGeZtHpi/cxCB9lLOVeMvrsKTteI3aaIKmIgZ+pvGAdF1aJDM7IT8s+niNeLeIo9nlZ9tBd/9t6sxsidCHeNoCbk+P7y88ZBLECW8MiacgLt+IAVFbNnsNbnZuxjMzXoFE9nTMy+PvIEyQ17w18wf2/1sn9bFfOfJOVW2Bef4Kibc6x+292tqjVMZJC3EK8g4zty5Lo0QLiVsFv/vZe9FWJtzQKoluZWemY98V4I85iNMdiTQs4YxxoN9FXczmYch/wclv6RhlJo/rJj6S9iQUg1NfQe/RcmGupG4wPFATyjRXbmeScNz3NlaCmXitTJiexfnvwK+cQkmyETTAxZQ+kJh5TKQChDjMnxYr+nblbLgv/WQ0S55I8jYjkDUXB7GeeE/ei2+cvSeNpAGsd3kAx/0JM11QqjuCvodwL7cNB1x39i+T3Jqq2uiJ3v+OC1YatKjhXgx6xdkIqMgPZt2yYPVB44svZsEJEIZq1V82Q1dqp4v8gQNpW8wXMKDhYwvk10kYtvKXUtOuOhqJkkKHZXHPFxoZJ6uhEGYNg/2WSyNczqivvXqRD1vCux2nfba5aglVhLiznBsowEwNe+q8Xlf8OfW5dsChUegJpZGjQK4cqpm76M9aUoAvFHt5vNyEnYeUN9WdW52R9DoqHEEK/+p0M4UR3aOp6twWDzWZGtRkngT++5noHNh5Az7pupenpkodJgqjm7CdrHtEjzg0gk2H3ulQ+PLtPtEkbGKEC5+2xOoGYpI7uGIJZy+dQVQAqC2ZuCDU0sRkYRfDQ6wdIA5RfZw3tD2jUjiHLjR7n1j7dsLHNYPwj874/BF1ki8oW6dxVmKQDbL+Q23Zdq3Gtey1vviuPT9vrhcwbo9v4M/fiMhmV+UEFlyrutf/1odAH03Izj5g0KWXNKqK4U17r0JnumhdqyghCUXFIIDKqFmlpGNg+WTCOboQ3snO8rnHEu/Z3KbAUyrFPQ2phxsYQ+wuqYdsisH1aOe8K3QJoNjOPWvupRfIropokW8sOVP6B3y1LbEX6yajNowF6y7EjDpOC9oUhppa98BwYi931XEh1M4LOALkKetWrCBI3pHgJ1kEpb3Yz0kLZHADYIr5JYs+CPIrei5eWBKhPwVqb4SFQ0aacTwElVlcAY9bsb2Vekll9hqj1IYlVy9N3I7z6XEc/W79+Gt/R+j6lM0ei3E9TWKYcITfmzsKzFGygyn0GyBORwdl+12QkNWHeEmPN9h/PTtFsWXCaLGyJtoC5lAHDB6zLhmlxEHn7hSV6poS3lfwDWfc9ti+z9Fr3IoIXC30cF6HpB4fTawjY2V2Wf7GHhwT7a2ZmDVUp3Ib31wHNb4K7kvEN7lqektnSLaT7ye0mGZqNTOUYiXL3MM5FXJ/MsCkU/QjCr9X4+vGWX/jYlfh2FKBq9337VcebKB4uDHRfw0tCVwkG9kkQB4okdhJ+8p1hiJ991rh4YD4LrbJ49pWeUnpx/8Pxag/LJIerUtn9kioGoS3q/YKrOLB/bQioj/sV0mi2XzZOAYjI+XqG8U4f6P96lmOp9UVqY1GT9EJG1rZUgHQcVAffqklPzch6gw+YyeBE/8k1gecgDIFLvRnfo+bY4jKpWjKHtPJPJn4Z4J6Qq6iicz1RH6GrMQDUzOuPgeDRex+KmcAdjqklB3K5NOrQjMTQNIExpXoLLhKPszryjuzf66GD2/FoNIM5H/eMpmPHZy8x1DPSkNRMGcMvY/kDrF8mbMboFYMAn4ypQOulOHMBG9hoarQiwKAuYOfFuS6cENPZmxwDHVwB+cm8hIDKAEg6szzJHd0j0C0ZQ+qCBdzGx+BoCbE3Xvzx+7Y+DQq6b6MsEmiDFxSkQyxBbl+hAuPAGdoiT4EDBrSm+zBNdfE9GbOpd9u7K68VPHxrM0K+Vm11Vgx0cb4oXwK8s4JLzGtRv+pxKA89WOz4scRA5JdRCFl2jFY/Oqi8mwN5/KKUUNi9rZybwb165vbeYzTd+CmsKpfc98QIZhFIeVHJFTI+2ezrOP56dDfc8rl/fRhVhcoRrQtoYTwAog5ss4TEdyG1RZ9L2wMBDaIeL5htX/x8iNq9Zm4a5EeyNPgLMpKTQeroapBhnpwQ6MDnRJNg5ztFD3uFZsk7BuMn5lRPlttPaZXtQEUW6XyGgT5PIgA8W7Xi+hp9Mhu31g6ai5b2A9EYvujDClMeEDZz7er7O0ymE3LsKfPqfN/FqEddhDmV7sP1QitYW1LLyWAbn6NI6rsrnrU/gTRT0Ka0Kr4dEma+w25KLwULU8F0a20Fi/xB3qow66WhGtNRKoBIp1QzlQJzChbaIXK6iY8Y+l4/D2mlZKhlg9qw7tdvu1OPVCQNs+5hBNP4Nxc5fGAuHheOc0cSgtZTrFzQpxIwp7AWH1K1g2BzUCHD28SbXZcVA8KNAQq6Ss1KjlBz0UeHf/nXK3nQQEpcwokeRU+fgjoN8Vl65I4WxtxB6/Mam/vR0TraW2nrLfSvGiaoKXu7Fayrv3XtyjJrC+hE+Xc0+f8pblQvYfE/xrs6Xil27IUl0ydKI2R23iiRvPOAqfKS3+HhyqhxGgrv7G2xOe/8UpM53vOxdTzwEoq4Q7R52rpQjLZ2RVLcz3Gt654qkJl6yhhWglIRs3rLsBlV6Z5qKi7Xq+KH7Y9zEm01NBzJU/I5vUz8Y0kdjjVrL3o66g5q1DrwUsjO6OyKOnhE5TL+D1klZYFFLQ6BOQgMWt/hI9EXGOJEIkMBtJMncofs6SLCXJMeo98YivWlDKfKv9yMk4tkxt1g7NUsxqMez0CIkG6ZbUuywE8J6yNglcbmc8gNNwz4kt2gFbk9FRgVvl17YpEBBSycxYfNnILfFpDdr54MGf93wiEp9z25Aftj4kImlN+jMsxRA6oOci0VKOkB8qRnzOgfxL/RgE272jFwXlk56Wv3Bp9W5ibc8Y3JYpQXQpAyQxl+697uICjHPk6J7FPDx5DukEa7YDTHjln71zJ7IuI4EqHE7JKBeDnTNpdZFkl+l3/mC2sQxZS5M0aqUYH5F6qjoCuB0XwoFIYAtCoBMDZFikkAwudbf+ClMpKSD27Mb6a/6Hv1kNWdGvY8YHvus4mkBXjxvG+goqXGpMmf5IIrfSWEtofyrO6zJr/H5DStInPs+Xv94K+e6KkILHGaOtFS5rsbCLVu+NIKJKtW8P8twB7U4p7r9+VdB7/ag6QdpndtvqvT1w54YM9QuNcWo0/TwmtSGFjXMH8+S/4ZtrfpD/9sidCfdcXSWuKCOq0U8RRBlr3AYQ4apCz7gLRAdL5PAU2mlW/YNclpYve1mQiC9fZT+Vq34BAfOoKkDLzz3lzSLFIlkw2XJUuU9C5Z0YtITHEijlar4CU6JGdstBIpgMxqCq2cX6LokjWtvPX+m0dN8mvgXlTz8FOgX+Ohv/9yhZxedYkYqUX4eVl+BYwaPOG2znBaLSO1hiP4H2n9AO9RI/A4rgMvqPltbtSN3Mu45awXt3y+Hk0clxLPs9fS/sfDJPCIsSjd9ke36JP8RS+Bihac4I493Cc/8SSWBgkFPf93aep9qTHL0P0XJh6RM6NiganpuikW2k3tSVUahD5KiJ9fq5iln9n3G0J6Dmpy8bCWCovnSzH08aTz5Tf0IlwBkuEGtPh9M/OaQRVaCeoPNLscCSeUqVAZ6BLAdzTz78UfrgxdV0Gr7mre8Dkf+qNLshLn1Zo7vvTdzuCbtsuYnn1PRA5Paza8LEHITK/z9MTb6VdWilV8Fx/dwl8/L4gPXOyh8ifJ+7HAXpwgdqcwnBP6aKGuiPMn1fZdWAatC3MgY1hQAz1M524ubMYfeB+2vM9Ky/ctB7HvVdT6Xa3iwjC8oQEKk9gtMLKxZ3Tfa+30L50Piw5JZFcN5uFbFTcw/0wKWs/71G8CzKJqwfyUOGECt22hA5uH4U+YrDXvSLc9d1eAUewK1C5QvrLnpM409wv8d7fis0/X+PZ0rWb2cgluiSQwAGQ6xVtWaNkBijRFJzBM0FJYSkLmgxapgu0M39SCyiMyQX+0oiWNmTJWBMMmYY4pvClPoKi6RmJhNuwJ0tW5AHcJBNrNo9+zbS/ENMNwTkIKUvwSytMaRG1mzrAxhotP1kP5vsJhmjCgrxSsSybQTGsm6D96nAQsiJTjdd0wBmcA7W7qHCNaI6IKTqgeH72xxSRrrJ6HpBJMxiny2pCVhbe2mv7EoNpofCjDS7JnxTptNetKSQPqc4+6785rxg44+uUoDvs9F8IJnyuvzTuw32r4yShfQBvd/lJSlMN4bqJLsgTgbnKD/rZFqVRG53vPYvq5w95QFc3DpdCGUBXxoDR06ca0zebMqkG59QZoqN6RFyGueAKH3kw6XSaX+R7NYzoAum7j64becIEyOQ5sWHTURTsYT5WH4hMh5JJlKuqwCXp6JbnMJiWXO+cdbdV7iSLUy7dqaLrH+TefDeoEP10uJd/PQx+S3nPKtkOBiyCN5B4y+J9vyzMhsB5VNUiH65Vwbg1O8FUDWrsZEmkz6H4neOzKvkBmMZOXWG6sKTfZ45wcf5gbxcKIg4SNkbF/TH0JrNWMWnrFyJtQXuqbC3tqeQk3sZauOA7VOymWmjGNQCuUiLSAgIwsmmceD8hXO8454cTe3WqzgAYTj1500xwArStYv22BZh6CUJQA/6CZ96E82opNpM87f1iG/OJ47nglGHSgGlOg+/FahmPjmTAdgZcesoYS3mos/Y3YhNfGniW66BnKnuLOkOuVmJJZS2KW/TScsZQNASGZbjT58UOfeCuNCorAOiq/zbiuStYB5pmHCtvd19OVfqyilgQDsKCJ0MioaaalwnWPgkX3pLFj2195W5rhYOP4n3Fdj6iYgDO5o73Q/G51PHnhX/Kmc7ZAhvZ7Bp2p343Phk+aJU1XhM7VLvJZbsVXJF9NDO2YzwyQxFJZa6gC2EnTXXuxL6/XOA87Ca9YYjoBuQDLfugQFefPHn5MsSFZk+WRPewjuWpBAZqlZQM5ICe/iM9eqLn5sTbg5ghugSMDlO2dn9DYg/kWwb0bcvqskz/1Nbh0eAfiu+Dfdn/KWyKVCuwxWb9R1mD1sgPpYVVwEHb80eGtrU8Mw2nJT4rcQ4OkQ28lVWt2rlLidMGbm0hDqf038zi21KKDTmJQaibVRyTu7m7wTzlZx7Aqvr54K1blICIX4kI8udFZ+/LFcJNvGxoZa18CCJCdjTCscBqQVsGm513pXdiURVgyX0OOAhzp/KCO5kUacomag8AsXuC3M/uoTpesKcq3DJy/LkglXC1yVoLjP2PJVyWwMuZ1jZY+kZdA78pnAEOpOy9HtMW5g4z95EkKVwfrLt5djx/9ANwC4nJfWhdMGvnmVpFDIwhbE+qJImH1U9Qk/uAKHFqLuu0JxVwSt4f8zNKG2Hwj874/9Y51B2f0QUQWFH7eE2a3m18o6vPhGAGGoVpzDHgtfNS/aBQvqsSnITVKivL/2Pa1+obFpe+yb+IORBoMhy48C9zUa8DSFUqhmKi0weNWwpCco6te6XIz6d0ZwNRrzxcdNcfAKtPDYjr+0uvp/CkhRpLsL+AiuiWZ6yNbCdu7WWA0XK7H5aRwkMsCp1Z8e0E9+TCxMAxdDX1oUEJmJf2/GY8rg7n9LSBnOmCLqKtsOfbFEArZteXI6vzHtqIQmUdw9kXbyOYBfy9glIB5o8o39z+vnWAUSp+3/tUMXvbIi9vt4pm9/roj+Xj2Gln++LQbOPYXHzzh0S320FOh/AQeWwFiig5hNBLSmzNlmFenxuNzCnG1WuItg6h65Vh8vcRE79/BHFyhaRH3VJrs37iriFzMUmmh2gDKk1J0Mv4gKHds08CeyHTuXKmXd7Y7sSXM4PIAqSn8sfDO3+pQ1fo63oXxptpWRE3Ll6TOz1Voq+l2Z0HAwgE7OsuSr0XdEsvC7ihsZJd25RJMYB23RYYcJTwMns1GbeQBKpV2Ni+q3nmYg8RURTgnzvKfWnO5C31Fxwoj3j86oyfEHHqnIiyqX7VLtDn3eTmGi/WOp8dPtjiQz7Hs5K2H4kcqyiuQ/kDQiU9xV9AnwXeJ4G+/DJL05rX3Gv0r2wB6EQ5+0lIJgoXiWpDzEMg0BysQEnWfPs5yDuxwmF7uctrrAALZP/ObM9LxcEhDwWB3gjq5NvkquGIN6zEQidMEOhDNDjVor14mN3Xy4YJdxGc58Kvl2O0XThBXYrdpDPMxySkfqhBKUdytLTHKdB04twpETb9ZZxWQI0mbkwZkV7V+QBk20b97xbm37rA/SPB6pW98lgRtjyPit5xwsUA/8fZPm8kDwvBgG+P1GMzHIuIBu0IOWQC16qMkc0Xs3Oq1j/Gklzub91DZZ9GM1DXLjUd5LH6ExIbv7/PPYqMNDeogsLp8w3hMoVLHrme1SM4iM9znaDg3xS2NNdwRKT6xYVW2AO3IFcGcqDrzwSfvSBUvIQcVYm1C1/yzm7ceB2gxL29h99sCf+tSbzWsOnOnE70rbHZjnTXnsJ+L6KfuReXPRea0VFnNHD+7eMhuVYjREcBpRfHBYQmic5aiSEdtoC+wa6vKkqavKpbxTleTe7Wr82awfLDnMNbO088IaDW7nV88Yyp65QfurTazjeEDlraIQz2PhK/rtxhl8PoIdkM5JtIC3Fi0kYodXEoqshxOSynbG0JFOOkMWYv3Wp5Wr2+17WwekeLkeDEMDO6Py64mNlLSqQwX6EDklArncALTXAKl2cXar3DSJN4236YZUUwgM4j5sqOL8/sWPsZF/4s32cDIfM9QfCodNLc4//rXrsc9qw1x9IWAOqOXSO4LgLd0vZrbinuIiokkGiHmp/6xewNJOBADH+WnPgbZvs4lAgAqJwgHOkBOLteuo4YVpeDgkye5ZbuY7x/7dofjHgzeubu5RfxhUOi/ACs2ONnP8sA2R56nU01JHD2LioiMOoQE5USx6Z/GukoCjNlVxPPGpwyvSw7nuqzMeG9H9AFCIcCJZIEdD82zZ+cKnRIa1Tz2Pjg+tSyI3PBFk0rbEl20oagaZ9LSkHzUoI4xdi4nmH7pGSuF5iiICZwrvDIHe+SBmaupa4u1XGpBTUO4SiP8z07nFlhgy6TYE5LlV6uoHoYCwm7D/km0+2WoXlAtBl4+yqTfeF0Vv0Mk/kz+cDw51wyNRn2e5dSi4N1vNuvez1213eapSgS7Ijcf7aOKGQGo5vZOiIYcKulyAsZ5AVrw0lN2r7f+FZXK9GZs4B4gXamq5C1p6IBGCJPa4SQXzIYBX/0zLn1C1YLdCpqFrj7GUS1UVRmjftR1lteTzrrgp5RzlYG3jnzu2h66cICnA86oHRJUp7LuddvJ2e9w1raL4LbXLsF+c+nqiPZYIVAWQuWkCu4v8ahqoQo5xEgrn/vwl6WkSZTThE2ZkWwXXbrgzEyLAV9AHx+Pp3FXvEwIAzV1HNw/ygDWqHaXmV3dTMuBV2B2eOZjz1JCLHL9y9H5YqDDNoWek3VinmA2R6MlZEU2Sm1SN2QU8p644Kv/JOwziNLZHAvG7ex0wf8Wo287lj6gkaRuVSBiSA7kZn39sltukeY1+ut1+2yXvVWvXMWR2xSnhGkQxhSppMD73u7jbqXu5yn5QEMoVVy7hdDNAzoFSoDVO+6scQ+bm3PLLkT77S9ZHdDzz7eE7+b+b78C8inE27y8RbZYzj+SvFvhddpfNN1+0qCdLqGvUulhitPuz/7VFxZn9rH+g/vEXNFyn5q1jO61oS2N4zuZp1D5lTpJcFrgmNzJ2rqZsTI4lt5NhJcoEGobYFi+ub+ypOtVEtemJVqfz6jkQUS4pThcgtyboaeTkEdzS64VaMKCN+GgyNCLzBngEWafidHqANFC3quurtL+p1p2e38dwsxMSB/Z8AcBdjLGgQS2pj4dBSNyFQwtT8uqtNzUuLpftYZWAKyRvfX3rO+pfyHNp6cKprkOs1tbF8vIZuNy+ekaYSfN2rt/1JjnXiQOf4tWn3U859eo/eg7iEkpOoH1q5KRQCxs6W86nrVjDv4AzBSQM9rN/g9kCShWgtNaTNuB827LfS+CXndvU+dHcu1KYBkUrf5TT8VC2vv1RMnzLRuV1A5PAZfghxkWA7uI78mEx7VFGDXbh7eyqFLBS2VE+WlnBYPrGa3vmtEkD016x5IeCNbkf5U/58KODWalaNB/O9Hwch8CQpEJE9eKbXVEUgurRI1JdkMNsSm4ebEs9SlmkyzywElT9YJEv++xyj6znVwfzQmat88Ve66FtA/kSQ26uS/aBm5zwBAkoUs7QUTJgra2nGcXna2P39hfemFw8vBR8wqA6b8+NPQurTotu7raWUXP35/0umJmzHv7Hr+DVTAGRTmg+EOA85Gimemo+39byuBMvLRXAvoipBlnqdBNOzKQlFWfBZgFYyn2FCQ9wtn5jxP2UtlsLlRdTYQaozbmUh9VSAQVmn2C9H5dfcgFn/lEqOoOQAO+Ny8kG3itBt+MV1XGqE4Rcdd11yNmJXDhZ/acsHE+3rG9P3aiPymh29AMlxopR2gl4uMJs7DlWcG6rpS7XIOY38cLjTPP+KrACATBIdJpJ6GsI8KRpKJDM6ud6f36gWu+YKMssMXLOIBH3HGxHbMfwl8KXY2fof8YBqcKW/YOp/AH/htdea3Xq/uqjQPSmnChgUpMJIQ3jhldo/C0cT4OY2WsBcBbKeZjyB1kN0QnrYb7ESEBXlc8J+pPYasFvhlbX2oEs3Onr7neFEKgX6zo1vmMDvOf21xg4IIa9fdKQEVcp07ah4mIZlScrPT7dxffl95+F2zD9+uJ45S/3lv8ZMFIFsH2omDeQ/p2YffaI/kGazkhH0+W8wlatvfF9J8madLUTpYlF5Z3YztXWCTrzc+HRa+1IvRvwwd/Ya0CTUHy21cGwOVx7P2pV/X9bepgfovVqqQJUIWCsaNampCKoKTo9LCg56xTD7p00HaA60jqKXSwYES0A/tIy9B2tZdcMPkFPlTDdf/VzdVLbwT6omxKc2ilUkdgltR5PpQzdVWXCydYenvcjWXadVzLyfrDI2Yya04PjQzJPdu6moXJKiEn4a1Ur7TfCKFQ9rA9wvqiS0We36yf2Lxf8F4dW9FP7eXoawVgHqsSZ+gVwkYivhmPzrTMNZ2S07SlL9UHLQpf1AlsBoVecjbNkTZx3Xf+dmRmYmWHmonykY1NH8wqYO85sbFpGAq4gSr+fkHIaktjXPxvn8I0+tj20GNJkyfjgbqOaKDgWFGpW++BwCyin/Nl52TnS/aCPnozju3Cdc9NHBRqgAvkC308d8YFpdBpl81HJ5nuPqOB5hCFHHMyuX/08HctzMCMPkFkktLPhvSCyHkInnmsiJHfAdg8jXY2OdOs6scQhg4eSslf5WdwMK90i8fREpLNztrn/CIbAFfm6lnlKvzXEMzgL/ki5N+O80Ti80DLpt3U9ZMEnIjVunVcysbEhaJNQioyjTgVTp7XZD3t3WrosCHYlN44XmQSQCNPhwg0IvH32Q5l3awVUPU0i7BYMqn7sFTMDJ5phY1N1VPMi5qnRE4yIta+hnugKr/9DSV4+VscBboMHzT8NC8F37YEQaefTjjxfbJHsVT09JizXjERxxQjgk8HWgZsB7mOylNiXTbKs/WC3D77YHB0j8NgSj40ZYur5bj3qvKz1+TfhrWz8BpB6wxwdlmRz75s32xKKzfjZ/EMLKLxt42xbmfnT0EIo1CEztu+1HQUJlNd3IX83talSVtTkZZpYXZepBg+YDZKaAPbgzx0x1V6C6IlSKsAJySAwWtH/ibZffezNTx51isaQgRLAqNd9nC48wFU3zn4aImYdSUzfo7JS06oqpwrNEtkHgrBGda8LREoKT4XAcPoAhICz8oID3801I398QrdZsPd/ceYaWa9bI0RHIyLQ3+jaOChVdwi86w/VVwjZdz8ASL3TrKyXl0wuKLgK5smXV4Pzxpwuoh8VrLgC8PLoXDHVqd3UaTjpsikBHeRr+NL7R4DGgf3zJRv7RSYrIkZl5ZzPicFXqkbMapbDQoYeGqFw/oi7Jm50DCEPoVOzPiiuSq3TlsMtIykyr2RWEsIoME0imkMrz64iTSpqWoUj5Kw9Cmsin9AlO7SwtxMIm+1xIwYr93edsRA/Kyw2Qv2mpH5KlHa3+q1NdvGfKcUNe46YBLodDAjJAeWEHQGZItosxMP5GB0ez+v9yxZGOy5E6JTUcJLsRqP6RhEWU9WUVlp52svdZ3wmgm3s1BoZMcNm6OsNFRwvfJtOQwXRZv1AAOyh9HmLMdAUWoWUjxvsXBqwp1foMJO6zhIxw/XHcY3+U1Jf35XxDhQRPs/mRerSo9nYIege0hZv8u18hrpADAkV/76wMBUbDXCZz/6wPRUmTUHJ+aSIOXE8BChXnq4EgtHv7Z3XTeBlEkughCiTWTvT2lxsnaE7CJ/GAb9YNFjWavJEetBNg3VRG6IBg4N3dvVhz8WCHZQnfv4/ZHGM9JatZpES/n7Qn51MeLgnC9hNQ6PSDLvFwACiqxRBHQ0xh4YCxxD7YcVSiBRWbqKxJCGOjN6ISr9hG+hmQlsxLeW7/W7qPv3tAGm9tq0Ryx0EkWjk6/RhmqX8BhU2iiBJPbEZeoUIOpzFudCPsJFBPk9LghgH86phYQ5fraj4NkXMZ+bkzUN7nL9Pn47valnaam6T/Qy9h5+xl2OkkQAv2KwAn8Z1gCJO2+0GRqrlw6oQdvYyz1InkIrV88JuYm1GhmGskCqbOe0+IZHp8eNV/K1lyupPBb09GNRczbEfk6SkXI+Ac7nxnaRryrZGdwfCaw/sPWq/szR1Dq84qVlVW2x0Ri6X8Do2zb+C4ViyDYQFu74DCxsCzSU+oi0qBAIBzwPCEPGfzgHu2UW046FCKTY/qzkaRGbCtxhCsufpsTOYzA+FL8mdk1Ah572u8wiIsvMhE5zgQnQXfFdhVrbBO7ERHhFKmtUiXOpDHLjBXvsk6OTUJzhtjVbzb6LgxlklMmCE0u240ABz8PK2j5JPSM44RN25ljC4fYc+1ZpOJHiZ1928tv15N7l1vOlELfAR8xKTpiJLLLZMr6j9E8UOAeTonzpLI9tdE/DUjY5snrB93gtI6JP4rErE3fkhtGemuaxoUVjO3Z7EQcD6hJIe3y9DYW8MEjfkE0L/+HWBrTK+wYpICOBBi6yPa5Qbf4HFP56qpzfxUmlCYk0qzZEYOeckL9kTxBjSNchKIskXOdPX8O8Fxtra+qafE54dM+/ZJB/ZVfnXfYbkpQe10Piq2WJNWOpM2mKZZZ91nhVBy2iGFgJ+yTy8mJ1HjBZxj+48E9V6No4Ux9uqnZiklaHAdrDu2RmHAYDq6iysjIeXptSfLchfcT7PY5kLd5nqiBYjM8rdXyqQtOwbvMnJbjHGl1uSJiaPSGQt3Rajmh6d7NarB+te9qKqAAp5zvz0xVOXGLGSMgq4IjwVO6rc9oriGp6xCRjBWja+nvaISlHzFzW8bzpCh656DaAYcxMY2VDWUWBTqeiXcdnozQpc9Z4mKz1XBjXyj9pFaTc+eZwbWIaoflVbNIr6Mim/cAJeRsvrs2Z7P072HyG280NFO43yITFbx69fb9giiMitcjEsVINA4n92sHrM8YmSJ4mhqX5VHyKMCSTrScA0kMCjZdW/Quy7xwGQBoKoK53Mlb2ca9uqvP2HT/E8epsEAlYisFTMHj3Ro3y/DioLSvSyW8a9INUtSOj5JU1etz1affS8trIRnSrgbMFCbpT2xGy84ATP1k9ybpVmEdchJZ9pjXCZcfuinNGq8pJK5tx8DmJgUKTfP0BjYsUqrGCgrxhRL5/tFLXDUeZCH7+gGdJ9o+eL2VCcuP7WYWWSRvr1uPdkP9YbTNQap/87N3jXmXpES545+n61hxdP7a5nlbE4OrHpoIL4cY4l6UbjW9/FtneAGvQ/2agblr/Qdk6vJndemo3gLK3hq0wuOw3Pu3m/JHDwZVYuMO0cnShnEkqHqe9mSq6h+dvWDDnA7pBt7HuT3VkF01YeV1JyJT0wEe3jP/g7uKm4TgLDiaF5Z27c3baj/2j+rtjUinUPCbyIc85WsiOhFcT4sNkIhmvq2dU/ESdOzAsaNV2xlizQi9XvGQOPY/hELmI9XqvvGjRrIri2xD0ANEb/9o3R6u0e5ZJJy4rlruMCC4EK/XtSCq4VXhCp/FX1V+O0Iwd3vin15PHSkuv60Sfk63jvHtc6ZR0xGvKK4rJ/KjMmJ87LFNj8LMB7+0wF0j3yuGgQG60ipLsMy6I2D1NKtBcKrXpv8I/YSO1pd4PPGkZW0QbgsZUfcbkoE/ankqaQtgtr/RxYQNpc6d/UZmqe4gdjZm0W90RCrZihmtW44UFFQiY0uBEnOp1NZLLmd91utpQyev4EF3+sYRFQVMdVIzr8UxmFJm5qroHgCruxDKSyxtp/JRNmCprqkOBvomk7j9aE94aZ2F9r6XiXjacvePdXU3bqfucEcFLwImR6sLrzGxuvC/5YywYFWT/iZ5qF5muuxmLRoYBmRCV4mA7I08+R1w5jHu6ELHAwGsYeatRQbr86atKGYikN481vARV5c1ThZtozf/jJXOrB1K5KA6naVDGtLYDczcsw8cBWw5yQ2EyJFSV0njvZ3apo+h9tobJAu4q2/9zuJ49k0lwrD+LbzP/6gSmC78lF/6LBN3Qzbw6nKBfEESaCM77qO7wpXhvRWszhVPuKbuvZ7XOBN6q1fcIPXh91QQ4WZmg8jaOFZmcva3OzNCQ+/Q19mM/aXrLK244sOcJd7jOu1cPaKVpkxMgtJmhnuEh6DbUu7TRFInOVpAMgIs3v2GSUoJEwMoz5UijBbSuJn/LV/FmLL5Gc61xnJ2xXIqOYIivcTx1j1Wfea3jE5KTOGipNZOElJyexK9C2YT6sBNAKMQe4HX/SBuH37stnPgEi+8Icq0t5EkuPQOA2gtgj6Da83SbFvE3KgtV4y9DQCCaMnFvwS14o03FivpY0jdLXvtuauX73wgsjCUsXCM7IG213aLKBQNEGs9U9JexdfLNa0s5pzlA/BH1xvdqHDGMJ//Wc4+ZV1TVCzgRD34W0fDbbfS+tc6YbipIv6F+tUNovMLo1HnGB9qL5FF9kwaAISPOxagQarmPU+0eii/tlvRxomzaaA/ke2Z4gxUJOU+uYvG557doqobpoJGUdVfnJfo+ZznMAPqmVednLsH5ZuL3m+ucrJsZBZ0pIi8iE8+yt9z+Q0HJe32d/ZgLtXLmTVGeB821Kaur3AcRmDNRAWrYEAeSg9xm3n1xekz4/KhCShQTTg8OStjb68wA+8ru0I98dhBIGdPFwOY/rWchGgA/xpzI2qA0mrtl08GV5QJGNio7zJMUPjE0UdDUTnn2VumhojCIt8FhfjaAXe4cy6ATik1NsgyOr7rrcdO/+BzDtWnjks9j44acUt7g50v7TKdFzoR8l0QA31ckzFt7av9/0J7f50KLFoZtdJdNS58/U2C+1GDSgvzZ67tYL3Li23wX9VwBK4M/1fbeFryV/BfMN7W0qZjFwMu0Ftd6ZgglsiQ20kfKrIMbcDLeP6hab39SIfsyJV9uJ2GrGccuGFVeBoxy0+kIS/yPFU7pAfddReFsmxp1WIBDK9R9MGXIy15zl35iSSYhU0YvkRZWq9fUTAExHD/oTUf1WOk8DURLdqdNdRFI8pCer5kPs/ZP6Kxegnr9gQPDMHQ9w9eL/u5/P0rN13j90vHp/FR4PY6AIaqv28mD2UpOzkiVXSeh0TEdKtmO16ANCcVzGHjyGjSQ6n1KUEHpNnXDSHn0LaOQEwdIPQueW4bNLmw0Dz+UXXX4rnmbwoeDECqCZoN8cuaqEPa74WGjPioMZp7JYX0h0o5EMhD2UJrzXSiLgDXTuxye3tzDuZi0V4pMi4SJFE5lbbDPAZ2aHdJIffjHasmBddH/FBNCncpWepfGJqJuZfJBo/f5f5TyxcXNCe+LXuyrrTG3lxDPf+ly+ix9vonI4+Pusiaqy/W/m3irpxN3h4Th7cF6FhM+Kchz0gI7yb5z0Bru6qoa8vOBxfRauJxK8tXfXX4dvv1hec/Fdch2PuqVDSzu3otdftAq7u9bILBgEmswSo+McrCFqJwxprAx0JR+yyFfDwr3qMq3wgGHjkni9i6za7BnbsuM/uBlU+13+NHWOBKQfgJjXGGF+LtCwaov26XQ22+Qam+CNu3R5zCrMyw4kNRJAfJ7qq4FiP9V8WWHHIjUnRSqw2NnRZBMdhgcZEgxwba+4ozu+3ZeGIP/EHkv7fVSepHqovQ85h/cISfbafnRqlqPoWkTFa6pzWRHbP0gersEGK8mk41iQgGEMQDWS/U55Ip76KX62IBMpWd9nee+RgiOKS5HyZahVuqQQG0wQ5m/Z1ZUuvbkX6tU+0H9VZEN9UlG+U1bvJAfarOlNCMeDlF9QI1r5iTjaOE2JHt5JcW4BX+9+VtPhWDQcWM1kYK6G8XqRWGahdO+C4mPWLRv3wWgT0t50A3j1uJh4I4PtPyXcHOv1vnWg0XWp6FRT4exur7mDgcz300WTkiOnQg0xWIfoNbImBvFzoksLyrHlhj3cE+9iQfrPXOGSSY6TVY85ejqM5oMm+/A3dwn+CPH54T55qCtVHqyvG8S13Oof2d410TFLXyji6EYLlQuRO3/hR4i2TQgWDkG5TKcgrCzb9WjY8u+tyciXeZCsqxNGzFh0qULRDqR9YJouvcsu31/jqw08ZVAxqFG4ZcVBnMBUXeN2IftJpSIejEPlVUXMmFQ4XaBDsmDB4zEcKNqSk4bK4UmV0+pwl24bLLKf5TUUQw1Y+swOuvhiVrivkJcavemHB+CXTwlIqtbYMCSPrlxyVIYcutRIqmzZu3ptdxbAYLzNISZm8uI63ziRHIS0eokMulY1OlvDFyUWiSyCrUSkvOlzCVSuJgX6A78UfJr1Ss6OlAAOyAMV5uBHy/aXK/GpNY6N/Xt7YMr7QsBPa9k5c5m68TxutX7V7X4rOBmOJFlGogNSocYjNdEVOqBGQovRd8GgYtJAHfDmbR+j8Um6gDHTqYco0ALIViGvj/uAH0jgAXlQxKuzwwAylLYNFdgOjf1mi9tpXUfBVQooXo7smG4y1gZ0jWjdRxOafLO/GGTbtvv1cyNcmspah/X+18KOZwHbq2LmOiKHu/Clhy4kqFiA0JwuOQDR8CGpY/NStXLjakO/oYtP0IHwIO+k99gBMjD7C9UZB5fNQhhOYS3AMaR88bzDmNII7imiXJez2mRiUs0PddGSltPxCcCUKZNhUo4EJ8hGrnbTM3Z7uCBqEnCbxv/OuXu6jXnHQyvC+OB7tPujSF9DMowWQO+of2rlv5ilTyrDRhzdOQl/iQBYdiKYwsSzckyvn8j+NU+Wyyy8mKH0IgdU0flbghIzmEUxF9ejgb7bJO7kcPBxqgwtxlOIj+wZC67nOVN5o3l06Jq5z6IFRfKntKuu+8+FLkxQdrohQY+v/ejvj/hu6dv0jmKjZl505pN0RiESbM3GdIkihr7xhVrSkzJn3BREFvIFtEO4qd8ObW+Nz95uk6hRLjG4cynuqSheVSVEEgQhA6uMb+9VBQNz4xCM4ms40S79kHJFFJoEyNC3ngDLmvKRfllXsbTkjk3G4plIe6tKDY9Z2HrPU+usP9DnYFxDkfJdb/sEQ5kqSanGfSr9fzNv+ukT6ZGvjknHbT0PWZowNf8B12BBmLhnO3GfhprJj4X1512xpAR9NaJrw0QZaMIglc18blHmHZO3RIdLAmZFU6QA+tbJ55lpplmbBtRbPhnasDDMuTJzmNL3aqIiaErBY9oTeNPA+H5MrF9TcQVugNatOZ5wwGqME5alpsSMdKpHhyNsn+mojgI+SIJAcZXPRvk1OvRT3TfJxfl4JGWHSpivPCOyWBCs6uJEUCTF4KHHZ2GA99kzVzEgMBG8Cwlket+m69bJBUhQ+MoKmZNpjRcNpK2PUfqSlOvzJeaoERmoBVh8/jqjTUNEwGzdMOw4f2fDNlsMSdVG/sVKSCFaB76tHFsuIZKpEor3z0m2bZ+xWSXdXTTwytXOzzjKlVt1eHcYrZHSTX5ZWZeipVmSfp18+2BZ4AJpu8qW1GQ/oSUzU77h/I/gdsZNjlqMf7xa6MFdQ8C+8bDH0Pd2Rp9IYqeFu7bknnyEHXlIeyumFP+mAShRu3yorljN8aoEqHv7ewTEhQmw09nEyZ9Ikyi1jYJI1yjwDASnYvnEXEiCY16doKca+KtRJF7//hz0iE+uShtzVPnjjQDOBEWdoO4/OYFBA4P2ehezs+uuCNXsGiED6mzrzMjNMOqPSClperws+QDliwdoISTU6o0r0IKw91xxkYC02m9489bqUPDuGpOWBSHuaG8LstUGRS6Y+mMoPEotkZANlh6HcD3C4upRoHYSM9GeDng2cyfsu+lV2KpgUw4nUMSLze0n+IVRsKbtjgUAShzlmNwhGpZAaF+vzcLLWKODBawTBiq4Ej4iSaCXa49QM5nT0eyaFoe3frpQZlvcohelTSKOKy9mmWSeCVDI4Wpv7jdtpB8mLbdOIAY5Sel3tUw6TBaYNd1fMRtELrHcVBqfTG3EFlH7xofrULkbPFcK0dGQsYhao3tkwOCs7UPEPe+nE29Ekg4oB5cYBnruI9QCTSbkN43RlZzhD0Dpl15DtNZmOMEUK9NLyMFyi0R7rC4EYCDGTVaBnNJ895EZqsvt+8jyidkILZNR6z2sO56A1nXW0sp8eK8+AdhWROpkFO+waJLtfHRddviPkIhDZBs9e5eFni+NFgdhX09hrKc3jEquJGKYbd9WR1bKR9sxzz7m8/ll+KysdGbRutFcCApwo/OgGXhKogx3BRE4Y06dfm0pMz8B9gNkbxgj8r+K+G0YzjNL/VLxMExxzSx72slHDVR/x6lfDHd78elhEGK5y7oJz7Q2HpepRYKFOcckct1u9veuyVqMDDuMD4BH0wGeq6vP8fIjz96IRiJxh1maI9xRIwlh7N45Z+oRzt+/jKTvABhWP4+m6EKHj4l+LpVpRX8pD1aBH0kHzA/1YpqxzJ7HTQ26Ps0Rl7mpbORoS9hXsbgzlHG18sWSnfov9NEyNBiTGvpjtxs6C5KVzngXbkg9fYOCZAPcd2iXPaCnc25LCpN52GIWRLePb3U0gCyPtPlqfCCohkieDSiHDEAdDM9dAIEvdPZec9jmIGjHCr+yLznGMrNKsJOex2M3QKN5/bJxQSwnSR8wxHysUwTsveaOqy27dhnAxn6ct5SBm5V3ed1EnkLr2DtO0KcNJHvIVlRyFAc93zhuONks+AccIdW5rlrfBTO1nAHeaWNq1bBorZZ7uD/rEZDnUseE7zL3hsUMzhFUTogoT0XH08/Q24W4szPx18DOL12HcFaEwjyFdZKj0uBbEpAQEkV5NPCD78UGoT01R8G79nUl++sO3QUz3IraFTOayOwGVpZvkH8tk5brVoAgHwkIeyu/deYaaXRbljiY59wl/B2CtCFYQ1SlxDP17wVJEH0Z1razharmOo9GqKUob0dEKHy4g8DdJt/RgP1JB6nfAmwPcGE6MTNXNFvUNdba3qkLrO7zZHF+u7cEyKKGeAlKlK47f4wIHpEKSdeHoPd9Lk837jm3GcrLq8SduKDWR0foH8M/hprWZMhhyv761xb8AEIsj0tOuHc7ljsRnmSbkY0VT7cdQKVpCHg13wxzgO8mNXQWDTU+uSRAV39nrdBIQ48APpSHrRQMQRpcjlE1cjSbsX/0Nq6ZhQ9UbrkfSj/aqIldPfrUUx1RIAxoD565HtZGTpcoinvB5Pu+V+xgOGcY/cJiXIxgLoG35Yk4aT6hi6Dk9tRSd3kOJvaw3o7/UOTDa9fUI8n0q1MIgKVOvLUrmtnmRxkEXgIUQEgg+x5jPriwKsxEKe7vyMmEvX87fSAlOeMCUjd1rvezeksGjq2lpT5plfgjC33rHdoKJYHwW0c2Bq8mDhmQogY6TFjXqzcNhnQzcNoBf3gQRinmlDcfWW9/qPqX6tCihVjyi9aUIXrnNaJSTcEtuKQUHVbl6wfwOnv7XgR+eDXQWE94pHcNeIIIUMZghdseTi2KS57S6LFSFe164zoxN2t1bugzYuBfJ+099VmN2NoRUqR3NAD3KwjaAENDrtS4TArkNnQuyNV7p1NNT/KOI1wMniG5hokCpnYSRSMXQvJUZAhlpPocuV+lphD4tznJfQAwsq9fw3igulV+6ReyX+eGfIFoVH/QXPwket+rJDf+C1J8W26i8MIDALWGYbWPiaBgzkXd+svkMPLUH7qkbDVkPUmaUcBhii2uEcNzQya+2j/VUiBk7HFq2OlRbTWl7mCMVg1cH3YKdg0QAY3wcmT5xSGagg5ZAkHv61CrhMvbaBV1SUxTpIO29Y7q0b62ZDlfVQEa8nC5wZFiHAVi95ybMMQn9mmdfeXJdkdPgT7/JVX+q2RfB63vRq+1ohZH4yADtGVFQMrjaewyA/c0kfDsNhsWkNCrw4/F+UOqS/sDZ/Mc0lkmOlYpZrzjoeYA0u3Dj9KKimOPy2w+Ml0Ha8mGc0HcXHctQnO5yCdCucaC5MhWQSkvDZEhhnHkwlNQsSlPhAm3y7se+prTzUeuj47zAgp78ebTZvQrdl120FtEvZgW/TOEqVTSANDmnVi5BfvhqjeKqsvz6qrGbL1HR4vI5w+BX3WikqW8enpqqA3qnLLRe3xBdfuNX6YSUIvbU8srhEOKt4BxrAoGCvw3pP7LEtLAJWPqMfcD4OS//z+d1TdWB9Q2eX/IoiXYVpUpjqBlQJOC7vH7RwVANCqwlk6waOMioNA1dt7c4XI8SCIffYDqm3Qx/FdWvObHzbNnuZWQ6FqeLO/d/ufK4EGewwEdsREwsSz5soFBnbEeiDaqoqPG4qyguBnU9a0iW+Z+xDYEdqdlqIg9hXgORyGFz0jW6aG7mwy9Ao7PO62is78sQTXyPt39ZOASJmOPcd33zg2Zu2ObeZ+kcTlG6yuXfHytJSeKW7L3Aysv650/BpEjhgldqh9CukcIdQ5u+9RGXvpLZuUa+FXHqZobXxDTBwYDR5nO2c91RHZUOLw/rWlhMLUXXzpxLNuX98vqOMv3HsivhEdIcovgQCp8D/Fvc5M2amMSap/gRxoacg+Nbw0rgDbetVxXs0ql9MOXs1QvsfG1O7frmsSKQ+1u2DHDJA2cHL5D1i+bisvhoyJ6iB/Q8rtHTW6PXfh2pwWOLK4bLPNGKvjy/7OvvSBVTgYMsGqya/x2UBZbyVYb+9Fiy+8fgnfdME13JzKBvfkt6bia9x6C03iqPwJGpzfnO4UihO02hZxvgu2YGGkTtqGhGcG1DCnMwhEBco0gmfRvV4ImXxuaRnAY/XGLkr2dWNhMghOxTcypwl03DfSx6kwn+BC1PaVehyN4iVa0/rCHFxMoqBZ+q/QhDTeKKD/dSk1bh/4xmPoZvDcX/n5UwyaHNAV5UyEybtw0V+cIJQTPweSrFmND/uGRpBlFWARt/m14zohR4V8rX91lF++heIZvbWYJjWiIKWHvTnXoMPP1T5D6hc4ULxPa0do+P5yGisUxg7X4yt5sgT7A/71u1yFZ3w9vBhJITGQ6sdwGvy1cDw7FQUfrn8+gDAF4Bvw6nOetSPLRt+nwKwRHRJnJ4MdXy1tJihqIGCz4xgYC4yB1dsI5hOm2+LTAl8kr5lt9alGHXYKOICE7eTSX+4Hp97cfCqh0bR/huSmmH/T7pRDYnGqgJzwlNHcAIzC4jzR8vS+1vwVC3ZQAR5/am4+RG0fBVCO/1AkRZfU/5jRzeK5Bd8VxL6x2FKnkk2bpf6SZcjd6xQOsM2Bk9KaunbVNAjGMnqIjD3IGMHeDxiqwuw9uMM3rjKiNjTjIyzWVZPQwdE0sjU03fUJ5cElf/XvHcUDj/3aZViIRUqmeTpU5W1k2Ke2l+C8J3dxMwRclhoBsmvm8/ff2Wht6QKHIlAhKoyelMB1MNgg3Nh0WosRNo8IVm0erLRb/YFarGgNGeai/QXYmR5h5QnK79mpvHZX+xkAFWItDMSvVClfmDIPq1V1FOTIE+H+u1rnuvgIW0cGgfeFogyyYwf8AS25+oH+rxEqzQgHIxde4UmHOnVxxKj7Tq6YO19lzGAASTmsIcCdQ8jWwscMgGT+Q1S9UHwYmZpqeUTaiXjXoQ9yKTgV4zHyF4MEyJB3St8xAX++9CZnJeTOFp9bk/vdZKttxmk8F0emSaFtzS7KVxocmyZQ6AGSPo/lNri6N6FBGwZ323Lhxurq6G3J1k0drYI4/Li1sMGXrpGW/LWTd7xCIIzsmIW9W7evl8ONvtgSi5ca3cfFf2ELaSyBLuVlNLPPy2Rw5VABkrEpMFuLb/Js2+Ng+8mhmCZ9NGUGQfvebEJ6abdaCYQaIyC4fa2nXwPbYjt3VrCqbGnNQ2hF9r6+VUHzDGNTmxfGRMkqEg4Qzs3jkMzKooIB3/dzRaIXyxHc0sLqU3Ejpg+gUnsqOf6CHLc7YCoE0E2NKwj7Mzi0/qFXPDfCQ2XbRHz/2sM0WzEoHexZ3IQg2vCHAa8bfB0vsNAg0psVujLbrceAIcP4jKPMJQD4MBlpyMDZhS2maZquiWNxYC9FQ7+I6e580jv4hKL/vIl4GVN3dCOqhs4B7kcerDTca1691ovOmRQD+GabFGVxPhozfLHzlxE/I1DKA0PZgjgViLkuktJwnbUnjYjTbLZraXRlo5LvAIGbe3+CWmEFFSJw1fMUGQWTKwlHFX+SbAt59boB2ABa4tyD1BBfzyi5VwxzMIm9cAfD2xUytsYvb5yVWEXQZiFa5yiT+IhyTasj5+Ucx/XDryGGT6HoJya0T6wLKZP+dHe4Nk4HmDIMsBUhYb2e+KMlpWF9VCimJePQZvX18p2IUC8idWCPP4FFuQzXbQBGtBzCj6PoQCR//7VPX8hIRhTUD2+6itNqXO0kCE+4kj4gDCJ82NPa2nAWeHw2xO6jfnD9FVTmKZusxwCXVIKGSAhYAyETT2lEjFmauGmO1q6uHVs/crdtRR++/Tk3Ijs/EE+K7iDfpSQgJpFltaBgSCZ3gVhLUNIM5C6hArfO8/TQIJn934vICIh2wZj8chKbJxRtJqjLue18QLpcr34BxI9ZuSGrIQZH59csWWJwJnGlEM2NoC3sryiub0qVXHYSwk64OEyrQbKJbVQP7rkXrDjFKpVDEb+YlTA7zOUx7VcfMY9h3K+hbYPt2/uRkSbW06xz5/PlTTL5IXTFl1bgxcdwgwivjjF8D56VUj2J9w1ZJxdjwq5bI1uMY9lWifrYZWFlTmVKDbBPByxkk+rxFiIh+Dvc14b54xl926poOWV9wT9MIIqg3WTzWFMAukkkvCBnl9rkEBl+L1H0/QINjArEJtQC8c4nmnNyJo+JuGez8aF8bOqsGMHMBLK0CQzOZRYZn2vAiaJeA6lAD/wzA6LXrL+jkxeHiMX7wQcur+nWZSArWtGhK5rHvCxFaWx8+l6SX2VR5lZBIw/OMI9BGK3ul2LEs8nPNr+bgF3HaF4h0XNRbIT39C27rmpW4xzZ1G1F0iuUjzQZvatv9gdvf+5L63/ELtLk2er1EwW+gfqXn+an+j1b1vEFJjXu95Hab8+OyzuwfOAE6FvrHWmc5ynWXr8Kbmv8xMRzZMdsy4mYop+AiCbgyHNEBBvc0cyjAQEbe0hVAPJM3fs8zi1DEsrW6yysqBHo/mq1wHb/f/PcOju2DlHPEYSD4IWQxF2JQPVmZZgY4scgQk/c/WTeHfNePZ7NWAEVAAbIPbV788Pwo9WiDT3/CEGSPRoKoemeyoqAvpPzxdIzIJD2qpdFcFplJDwZlQGnoDhOEAKDkMuAAOFSUMFwcml6u2ZYFvtX+wLe+O22cME1N5IUsWfEYFIZyRUDr4l/nDALWAu8yeGAN1pJ8q30D6fQxprpyBU8mrd0S1b3dI1UEwwqnd0ncAPY09X0KfYUXf/omgCc6XgnoYF0CIzLYgc0N24Q9rtoA6wos4tf4a7KitHWj0vQJns5QqkWFWlTlw2gmxp6p4xVKzPnx3SvgL6xXa9I2ZSi0JAtS0LJYZcb1D3KvokT2owg8A6v/jZUNZW2lGFLqgI6JKHzOpTsw5UHlgIGa6LfC7SSgRmFwDBBQO0lWp6ZY9lj+K3Rx5aTmQLx72/WoYtzzDvEXeXiDhP1rHutXh2xJuJe6BUv1ScrE3hVO1RLk7eWGZL4v+TR2gJBoT9AXxcZXZIEBpoC8y23Dv2iRg2gW8wo6/YVXfbgp3WfkWy8Ma7FoSGUlUSzs5Fm07ED/gbwAVK0RHckZW3je2rAqQe5F32CfCElO5WKZ4V4zXHG9vOLhV882LWuWLcpEyxgFv4jHf0Oa/RVD4tC4JUi8XUM1/GHW5Za3JL+6Rjv0B/6aN9uode/k+OHbI5LsKKD2Px+jSZbRmkGQ60Q/+S+EGF9zdXte/S71KZucA7oELIRdRQX60rsHXgESjHTJnpoh8KWCMfr2sI3LFbYWGPyvOwflc/P0lh9ZmB4R1uyhWS+ckm/kHGgi2iUsNwiaahw6mM2PFnOsn98CGo9FGBYHUY7SJTAeru1Ui/7XGtw/7f3BQckKxLPA3gtwQh8C8gLa8hBI29yJWB5IItftKQn++vp6OrY1UFAGseAiI7QPnrMe2/LNwZuNqOxh4BCO+DGpJ8D60MeBq2Kl0aIUBrf3m3pJMErQ5z+r3Np7ikmPYFHAVl6F5NLgiBreksPD0v53C/+JMyAe7z3F4NjRaivtn4FYJxVkLxOFGAMk0h/7j/Egp0aGLUBKCFqed4Uz7Lhaxs9aDFmeBzhuZwFmUZ0WJb2WOKsJJwVjzTgSKTQAMTK2N55tNdTMzvJvLG/XZpRvULMMqmU4XM+/EXk8kEIkFPkzECqqME2s8wye7cryiVBGSTNAyZ/1A2V9J87+rJzxbZT+lWfGt4dB4yPOM4aKQuB76a+SoFWXxxm+0wtjKmGn7zFMFht/ec9yEnASPDahYjkN7XHXZXX/Lao4jIb0tx7IXNxN8JEiFI80zsfSaX0gxVCYIZFwVNsOeJR+LEzzFvA4+Dzqy9M8QaPhvjAM4OLZLkL2VtYG+IIp8T4wEvtSN4BkvZN80h/vj21va+iCeZzXYkmbxaRadAkptUqTg/rOSFec2t33XYOjIqIkQCYt98ndTEgmj0ihE2LsS2AW8c163mlPIN1OviJzAEnQ9bHlu4MTk3LrgdFhjoNLbP6J6BED5bLZGpn/hNtPhcmlA4rQtrVMrezX4tBzPIVyYZhuSEMJBfnt+imTuAuTRvpkccBz462cwqWd7a0NQCzbtsJhn1FDKNtmbnSo1qZB4QKMEzSlZ9JyB79mxkoZvpaNdftgFLebrKAcb0Y5GKcagPOeBlULE9N+4LNtwVm7N1dl32W6qFHyCdQyaPMWgH+y41Iwjg8Pi3Zm71YGr31twqkt0KDprDtVTbStXhD8JL/ul793CQ46phWJPSQVlg5r8MfDbfRSiooIstYQyfM3BOu/kR6do/D6zN1egIlc5QmmAPdBI6PQ3buH+yzsrOvwJr573WnArcaqTX9XtxZ/kciPfsHC39db7RvyIsHClEjI/0FJr+uuy60Hn/rL+d9iL/Lluf9JAMDci7bbIhvSdvIIroSqKDcNz9HK+79BdHe2AvM2i+rpV2CcjQE3W0sp3rzaS7/pZgzABNSCXtfEssfB7AcCc5JBuYOoTinBdAHh0j8q+3avXX6OAtIns8bGrzs9c3CpBMvU8xMaNlymQWGirqjVUgm07hx6v7xV5Bt3VCDffwcosu1yc7PsfP9qf+Ji4W/wOeE0zNj2GGEILAeBq7velC/kxYdI7VWxlzxecbYyliBXNvvF0gNILZvjRCQz1OcQqMfLwPoAhLXf8trW5OSGnMMkzg6mUR93DfjA5vZPeDw3/MvTfECHh3wo8LVcH7a+PL1QV0lCDHvee3O2DpEJZVLUFFqBSycF3X9K12b3dTB/xGRx2791F+f+9i6FdgmGmSt3s++OhZeXKQAz4BZvU+YyWsqXO1Cb1QKLM2rhrOOs7je/Nc9c5qRoU8i2902rcz5yVoAuwFad5yYzBHkEnZ0lVJlxIQj33nx1fHbnyXun70RIulXCVelkswiaDPhNpmvNEaIxo/1QHSiEceL1ewR1M5Qau541dGuFgbCB1wN6b+5SWS9wtxyhdcyESDpA7zqQMH76YLmirj60uHKJ819HKaYyBPtJsXbt9S+72fgh4UGo+m1y3S8Gi5AMw9bW8Ib3rFhOsoj4yQ7LA5hWCBI+Yt5TppZezOYYO2g9AFW3vRP1FgvlZTaStFuLVAm6MpuAWQ25gQk91L9s6/TmJUHmxN3oSg6tCYhF2rddCUhCo0vMHVqqGrMKXjGeSwsnLkUnoNvdpXk1oaSdKuyEC6pf3TFHYqB1/x8zVT/hhkWVIUwvJ9lzcOH7zU7I+YvBs1Kw4moQUKZo3BrifQ7EdbBZq8OQ5hW4RUKOntn7KP66B4fz80MstgcLJORxOLcZDSRgLs042LPQ6zLm7jPDYPqkdPa80REMPwZA+kHs+rUGYR78ry5H5mNaB1XjfWU3Z+j3zV6Ya6Q8FjUHm/WeXEB2jttHFcd0cZtPVm6XtuKgVNnADHL/rWU9X8OLWVlWWwN1lN7HQOaql0dLbBJEcZHIW6R75SANtXIWFtzfZB4/zpJP1seOyslo+k895NSxqevIMQwkSwCfz0idP2zTEzbKz87SjTOQt1jNH4OgRS7sCtREcR5QdoAJIHTm50slaCsC5J20PcA13Ov7nQLBFzIGMuHRmlpW6LS62KivhzGOknQrUHWK6aGJRfp3TrjB4F3smB4nCGc/WhB1p+N44vCvpKvZS7TWJynTq1f6GP22LrTsQIGflLt8yHQmUagrSEre9ctaa9lbH9DYKLhlGCgp4dgt3gw+d60gP8tbFwHupSbWaHqNJTITg3uU1+v2DK3aNRVF5pZo9FIbsvMyjg1x5HoQsCRvqlDAsgeJnMgJXfivJtekqrPM3ccrxKecIppaxgIf3D28qttxiG0kHG/md9420yCTSyd0jAYPN6fhnVbhZ9wdfBWYPN6OQLdC/l1yN+pIhTwGZ+aSMDEinbNwV0zTMxqYsgLpMGWHJpIUOBw6hBF1HXt/8EVCrnVY1ILlCjuGZWESVuPSJv0eS5+1MIzfESUsvOd1un/b5rDY+dqOhF8lOxtJziwwR0KewY/PKLgmWTEnZb6ffYmecPAzlfnEU8rhB68nJqdjHBksOd5TyTjYNAhibARzJqML4imMVNUb0z6wVCiV/OOgPIVDhgYNbpfMg6oR4yXsBMXDef5qXC74nCNygyy+1mmX2l3tNSxbKKK8Z/uSedFOEsF2BVDMJQLxTe9BRvtKpsnhQtPdUNnR/OWbP5p7J/9c3ujvQvvx76IHA6dpfY/qW1UCyuLvh/MGCPRBjsHWEO6wGgaQsDzoerrNRyHkXa+11OsEE7OYfdtpcteuuWhPCLFMKO6pmld+tRFddweRyqCqx29do1LAM1RGWv9c3V6tZvKFHolZZv2z+lhsauYIc7X0mRmxWg+xwNJE9JpTRhgKWlfPQBnP6Vg9HUM6jVQEFNYsPgfJjnHWUvolyUZ/3MMqx8kKv9IBguEHZ7nplGHOZj87q4cUc4hUK3f/eojC42YcabjfaYBeuTCkTP6D59o0Q7YC2yrdXZ8OnNMX37wqig09mxcXy6CCyzLw4OkVbF/vN7OAXhv+QP1sKtmSAscJLbwhwkf38G2xfoH1ee240VNOGUTFLAmBZBdycC1kt+ppgUFp2zqewZn4pkz5qnEfHVkLT9qeB5LPgCwtT0Dm9B0DCC8VJpp4rdKuVoSkILKayINX1ZlYu9K7AKlXMd+ovIynKVVyp7OH6+ix7DNF5mAdjk1Zm1SHuYF5aK71xeM/0rrLPDwPJNx8fe6hACS/eKNv8FxfAw2tjG92e/KlN1bY2AZle+xI6XBlOR3CP2szULlPsZnC6MrorZN9ylEUVJ/7ITbSK51UVE+iBHuAQzlsf7AeIPZwoGN312Xl7LPlloGIop4988mDPshD2y5ywKAqfK/ka5e13uCVJw3zk/RidMXcCh0rbFceVlWbF1LU9ahpm+DgdhEcmHcFt5jEqziJsKqLhemtOc2dCTOtDc+qzROWkuJmvu93FsOFz6oie8cFee61ggA23biPIa4+kVqLFoHxcU2NrkS8iVud7ug3DNqLkJXZoOsHZ8Q01jmWsOVhcPjuKMETlmBrx+UkYNDHtyE1GXf9pjJSSdLB4Fkta9aqaQFWjcaIAzMDNhSlJUJyRnUoPpG5aMbxlhmOQfahwkiaiisXBtLB2n/ateNr1MYemubAxksP82rn8PM8TqQpCUFYQIrwNrRqKnzi4r27wpGfWFxiQKyhv2qA1iLforEK37dtU/afEVgGsEIZdl/IMGtt9wzCRvoMDlPeEwD+yxnGvVfd/UpEpiJofgOtsdNOHht4eQE76Kf0yWXHgC0NTEUCJRn0ZeJ9MTTxx5thBy2CZVwNaLBD96eX9kDbAuFMGbqzTdYw8Jacvif5H68a1yZbLUc5JPSqg7hRcdthjZEz8atshjw1JPMxajoj7V7TfZvRHmyQ/vMNsFMru49WyvneWetSWwUKZDrb0eJZIUdmPeRqTDn4iqD0blIgwEYQ19Tp6nO5V8qtvLoHtBf9TxXo3G1MgbppIKjvRWAHiv/Vusq57/DvJhERqMkbY9n2msutp6Ugg072Jgwh525uMzwhXjII9DRglZxe9CD/HNNdrcAL0k4zOK8ERY16kgrVw2wKn7+oWJY8ILbAXWdsyZtTVIrp44sntTP7XUB1oRdIQuyvD9dT960kqbz9L0TS4yUEkpJFyZHHn0vZg2tdtI4iSBBDe7IROly1mZbpxGn3cvVUYSMe5+tPuYGVhqsC6LklRSrwfujEQDd6BdLUqo51MwsVQUEu3+yihbYv2B39BCo7jdVT5oYYBiZKGlOZ17zyJ1EAvMj9EYCAv8TnldDW+ioycoC5vGlKPGTwTSw7z33EyvnFBdCzSNvA8FiO0ICRG1RF6FQg3uHNyM23GLkXw5e0LKLMMqrMMEfcyqKtcKrdhboiaLJYn6Z3HNq46g/3lGAyAMKNOjpE5RSEnOhvEouil9n/93jnsp9jxil0LQCzOij2bfESebZYwSDtEJSYLkaxaOUhqCkBaJhBxGytk66c9oXas56tTVANCyv83S+pq3sPES72YacPfs2wRDN4J93bgyWKUxaapTQGhc0ylXKHaD9z1DDhSW1ym/zYIHxsddrl3Ge5SRgz+VpQxlYAOMAmJ2x3FIjrc0dlV+LbJWpbudyZLelXpufyAQHgi45sKIIbE5dwRQFuaRDGrX9WlPdRpzE7kkWWDb6mCBqT1RfW7AqYLCsYFAVqDBJfjs5AGrHFX9754CUdEq8VIYPAI6LZSLeNfk9vGbPRNLtOnCmKTmADb6jOWzQxEyVme0A7GFO6Y2mwePsRtPcgBJR4nXZdSMQtmnxdIW/iPmb1pjCkMmLganoLjE2pji5PVrXCQMVVl7CjZLut/SyZ34iP98kNbWf0VKceR5P4LWr/Df6zvyVTuRkk5La/w/KqlR/pIvrRrvXgYRdDippCQVMtxgPQKYwBJGVbc2vZC67qSpVCKVX+KDTdlppby6rl0dAPYFbvEVxamwD6K9fR86zh2oF5xFgEEnYz2q4F4/L5Q+C5IE5Pfrj2kukfair0W/uQa34bVQWwm9THgUsXjNNfW18Sp5kuLRQxd2XMG+ZhMKmUxIlE+n3V6q1wUvwiegBHzw2WYvPwPYY/F4jFLas1ZSalFHkHJlYAL1kopKnDFvQUo9hSFoB1TzM+FoK4u/VHfwxZFZM7uktJkJs9ZnLTGhgS9mMFzzYLXoOiABClA4Os5eNUVwppKxgc1Gu8ZsHOIvXagx4nRHsmqyqviWlQiUQ+4XtAdABnOgpgwLFxA0U+6HY+vSMQJmj3GJcm4Sg7zrMcTcIUKWCZPWR4LQSbKP+ZVX5Iq4a2CJY5J0XQJomePDA94+11ViVifOA0OokFR9xBukTIETDKKgGVsbc4joEb17UvXGcdwo9xYwYRvrvoAvPpskXKIXAglHDDcySc2elg5kRNM9jirSP2Wcy4YTMBWi491K/D4dNoac1AehedPJT+b/Qp8ATwcGLNvwnitwftuwKuSBslj6JxMDcZUlYkMYwlTX+oaOL1s11XUVu/a/XoVDTIPu9nYcNQd4rm+/snxay/PlqP0/sadt6MeQf6XKkVQItbgSo9p9YCD6rCknQF4brgb3P7SvDlb7ff45a6WvjzeaWB+1sfBkpP0ER9T+vBtzBABPc5nmKzVtsqYKG0pFofzoJ/EXcqniksVXJeCC9HwKPlM5a7ogd/REQK2llBNVpDmYW1sqtVR8xeORMvr2V5rt1ghnADjmhnIR6X/6pXku6EdxLQq6zfEDNiguV6un6PafyXSWiuvxt9CXTflYIjiyEHDa6tp8EYFu+IoeAp2EByASlLXw0VtlqqUyDE7iNOZHg9w9/OlPuoXnlDoFHnNZnlTj/1gKc7AcaE/9gmVuNZk39rk+iwu/sf77W/4bCxenXdkD32RaenHu/GBAVZrkYknOP88U/gt6B30Pc03DxC+pcjaWY590Mk46xWt+PQypdl7u7BiL9ci5d+Pl9PkeYCcuCBouHZmbfTEQHCQWAM8YhFoDZKupZsvhEgHQOum26EhydPaj5hpoRkxew4aPC1Sre8+X9fWhuE059AAVDdDAuUl0W2BrlZu3Tr+BJ5rBTPBUwvblfEIS1FTDqWyKO6L5jbC/K2EMXO38CXoYDrDnJkrc8Vw9bAxHqOldRmBnyuC4+CF6vf43hP3S8sODYs2YRAyMv00urApdHT8juBHCKD5UgE13a6N2szKBT7AatEC2Je2f1rIOoy6poDBVmeaJPX5pc/m92zBGcdfucO+wjRV3aW7WLJ5e3Jje4GJxKBzulL7xGTrQePZKzYYHSaw26OLZjBLVWq9bRXV6XSPE/fbVs8EeXushbuda83jy9sDQcqHqNWkEHpDs5e1Rgu/fK79aKiiXF4+rOmfboYc77pMZ3NkkzcuhTUWTccPi0sZX00DX0zcRxamImUaOGrhOov41lOTsOWLhM6VGzlJh3SxOvTml3qHZ84G9STC+btzvrrAJHXCVCo7m3Um0ai9l1AIPeDoBvSkxLqOfh8IomuWTQ65RzkrLOFH+5SqzzDc5V/8pn0I2Sag9a733vyZY6/4ySpiOhBmTzh7Q6o5GXlAR0gfol4SnXEXDma8pnKhlQg4HsvZlTkk+fG2+Qoe+HBgiGMFQItHsYACOK9r5mSAX6oZ92kkb/M9Q6JQ1CwYWJn3BXz8wO/5T8/zK7BP0aP0E7zT+YEzR4t/uRuA6AzJaOXLgZpUz4XOeRAR7vz/+Q0kTKXnJ69cX0pidUV+NlSrPAVXwGeH2ceAc8N7pnzZznnEDBeZ4H4wnawUOy2beuMnZ9yhgMowKD0gBBWXkEvGSsCD2Rym0wff0lNxmF//wo5z5veqers6GmxyqkT4t79bFVLcjQRSOcX6yqJIx4yOktyPNS+lSpgFRriZ7fmnHoqLkfPH6p4kkIWdWqRRV/tie+cbtPzfEt/rk+ES7Qj22qyyRXk/FxsaT9WQ7Of3FdC/10MoltA1zZK++swmwTTkO1UkTm6e6ydy85mpLyvaohGOGnAy21FftGKAqj7A+YrWvO+3AZKmWa20L6sTvghkdmO0/MQPU+LML6saYyXiACbAna4moEz7d5ic8ERHx6H/lwPEYxfbnUJEf8YAy9BKgL8uDnjAx+RLu2s2gVTdNond5PYvxSa5BW4QtxvfL9+4p94tWGudTA5isOcaYBywJjwd+eUejuW48axOB3GQ87g4DVD8LpOoL3SZc+wGcVSAizX7bROS3UU0cyb0FPsm89qfx5R1rli9EwfQPWk2LZW1LuUvvvCHEIEFW3cvmylOVdW6QE7AX85j1Y9Acwn0IyzsaXvViG2ujd8V/AKL9/xzIoBISZs0OohCvSdknczfmBwWX6VzD/OodIfMzbz52n6drL5i8175wBv8U9NN1who2FpU81CqnGXNFB/y9RTGSYWZYnqR2frBeBF2nIjRBuOm12+42em16vEza5cwTAV20aHUDQxw1gZ9wkUMPWM29vkgp7RpIgmxqRNKjJ2KRvvtVfosp1LzI27DWgsZbEFfWFA4lULRWuw9g9dmRuR3hPka9XTYQ5ZzumL60xTVvDWHFrKz188apu6s1G3h+yh1XwRF8uwqgHRjUDxPrLD1P48HG1pyLjGhUtVzqlfYrS4lpirNCT6oHb6qHPeSZd2csVMQ0SDE1JjEpbUse0qPas1wZkesR9jLmGcRzBxVbwxNxe2SLJtzVxpSxOyHOtsv2fyt8W80+vNaQ6w3Hwwl2/tKcUR7YbLDgC+xARHhWjyOTtE/90cU58tfIjq1egYpGWPer6/ghIccY4DDbuKCLckntGLvCFcu+9/j1UAfmWgYr6ny1tBsz6EvTK7N4AENOVM13xi07W7I8pLVpRv8ISEqj6z/aBHYvi+eBQmwP/qL0pmYAgjgciiDsPpTl19e+DSegOtecK9T2X/LzHAwnAITppg4fCE32qtjZglT9GpGLWcZauBcbAZ7Th7XKerjM9Q2480B1PteJtVmIL5/Z7wHDRSt55NN9IOnHkUQnozZWBj5vlDdFjtqjfd/nU5odCo99L8vABT0JpAitHGN7LC1gtUZ75HVTQWmAVL8rvp/ZffTgNtk0atEig+t9rrBgiWNMhtNvlLdB9YA50mbkTwpmVAlgUcbiS3rhi3CwETF03AYptLLY/X5wMgvrSU9DqGNdyBmeEsikwPlqiwH225sAan/vY3x1kYtCVOw3+2h1gcsVHAT/DMp9/AQGTbrnXH8YXQ0l1FnIBJ1dxQ1hn7GTeUNLLr006aanXhmRyM+eBVx7JiiZzvanQfw+54uLdd3Btkyor7y9NwQZRmBvUFqvJNbX8fJ18bAYvs8QhQdlM7DNKIcXy6oQL79shx/NuUoG8xJADGuFfdLoJbITAwTeStXtVfT49GwRBB7lSWubmXUHBGU1T/wHPh5nAZsy4fr7peHKnw9JzYbKTTB8/aTzfpkQEs4DonpPKXkVEWCBGz5iSQN+IBieULdNm/qXUBGVW1eAPtnkd26ZFFcVV+wINix74aW/V9GJeD2sgcdK/Bsr1UCp4zrK7frSB0WVb8fxwS/HyyYRmjTrRmqaQMyhTNwnRb6fYSr8WG8BegDh3XhyP+alR2RbmQ5iI/Let7TePhse+yMU8WT5WIGq2ykg7/tCJULDpZygr/JaZNjvr4YpY5zkNRndMqFYSw63dHJufA8DvsjJPzP6eoK210defRaPHhb+6FQeun2x0GyVrW5jL/E4LK6xGU2bOr3uWW5XVxZwrtCqKYwGAM2hu2aXLHDQ/+Zoa85R3SiGe2lgGQOwMaBpYt1RcLKnPxE3WEi8ZVvrcgCdf14dk+G+lCG3CwThAJWlJgCTvVCFC9D7zZCy01Xn2Q8JLdoCAHIb/0nOeMdneSStmvp4ydeDuqUqApWrIH+to5+jcAtA+DT/Vw5uORgjN06jAIuM/ZIpMeHXZYnu2sWvjc+ZJXZMr5gtrQgb9IjoKKoUyXo1gk+47Jqr56CaQfZWzhwNZA3V+0ZMKSiOlLiQ1XqkFYgiU+m+eZNIueMzmFclnAp6OB+iizG9+EzKbW0tgewRrEwcNFFNjjc6j1HV4sTjysOA0AL2AllAazbnzcxFPbpUHHrG/C/e4kRjAFE3S2fXQ5/R1kUVQlZL8b9VHteNrLEWBou2ITNSbCtZ6dn/PMhVJ8oF0BxnBwG1eMpb4g2GQtjqfwsbWW/5v5fddd2T8+ya/8RClL9WV0Tik7Uv/+J+fQNlPFBxOTGyiz4HaYhGNrjmVSZNhgkIOz1bPZS58ClWemGBl2OQdaCsb9mYoyXMkX/idm4q94GbN35vdpIMp4SetLWQtoebkmIRI6KWkiowsHN+S3bCutypNQ/E9NPU+QHptoF9kYgDxeaJkh2MMhRMS2gqopgfy9XaAet0BiSRcuI2GPmHhFT2r3SJO/h8EU+hptZJRo+47XTqd0h6/y9tjrH3gMhMysHtrWEWCN8Fa7GW3+zEKvrcC+WjURTx7bkyxf7x7Egt324k24OMl32pswaX+H4icUAFWG3mNhZaQdAYHvb8AVHeFZ/Ehau3hxsZMwhBHCHYb4Er0pZAzt0REA24UylJQ1CALS3CiB3HCiVGWYdaHdG1O/h6SfVebw6eAAwx2fcIBKu1EDjveShTb3BGajt6WWUVUMCxd8Rwja0aUPcRdcvTFovsz/AcuSAqiegvZo6vEMtm1sIrqBoXRq2bhfXCLqSHkVmF9WSPHE2PvIEyMVyG8eYact/UfK3y5pPTS6XB1o3p5PbxWXF9PPkGFEc8ztjWXxeCT50OgQWYQI1CboHk2JU/y/rRuNfW+HEcO3fWYf0aPQvyMKn6QS05Obud4N+ip3dvxk0OCpmS2enmyGWAheBVg//Su4W0TrfN6CzMOyKS6X8LHWwhJwBnDkJE9bwbPh4C5gp3HSFYKMWh4bGhtuofemsFa33Zs2QZihnIC7bdLUsuQ6U9wmRd4AtjYlGwU7/J7E8+BJWPP5en0VOW6R3aocUsMhsSQG97T8af0kTInvkEq3Z8VLYv2PEESuO3MrMKbFQhfcrP6XSL3X2gxY/TX0NkNxX/b9GNFJIi0s/PPVyVeREcQ6HRxnQ7Y1uE3lJrnVVg4o1utQpuOHJ7rgDtWYk3xSwqZ6mFZtDQVbsSCWWtdMXcd+quHU4PmNQJ9n1+Co+xkpA6qj9kGY5n0ISUdSZw3ohgqzzMdNM0HUgJn9UYStQHrL9r7cptCTg2EnEOI0faYXa/W0jQIP62ExEWUdxJ1lkhheJirscQGS5EXHij3jXm1HJLmAJEBzz2tnMxh4u+uMez20MpT7aulnLUdA9ktFCgxCvvNYpwdhwhZw8xOa4pGFe2SVg9wUqoyTVOttbyUjdh/RVW2Fk2EVuycPjidmKRKBKjceeI4FBaOmI19//3RYlCkdFEDX+BvFTqrXwc/hdtzTTdrTn1BBW2HWRSOLnmwtsh47x9u6Z/2d7ghVpJ2NFCgiXrCV5nJD3Sh+aAJ3wD54Xt8pp5gPp4az0HYKFzeqnsbhaSbg75S/P0Az7R+5VWjDllOGyijj0GpPKxCvIk0ImL19GWe5Duwm0RUAzCNk+piF53sK/llIwUOLTU7DQEGdiH6Ho7zXCADxBxbUuCfjY6sDlHlXEyQeHIGKrNYGtWgqPqSFek52FcwMmUzT1dpDduC9o5qHeRPISKhUQLFT7keHy1w7lV4xRCfbbe9xL3a5piRx8MMb/VF8WKaNP0ummaTdDye2DjeH2aVFA8IY8GN2PCp7OhxRDDJ5n3iLZVZLjLcCpAJdItYraevpJpKD6AY6tMGGXpyrWLxN0qZfthM3CrE/aA++My76u88elQX3SsEpjvWC4/n/dp7k8UvNEiUuvHmIbTp7qB5G4eEa7WmpxzWfS0jcYUBqmiHs66OsoCg41mXcXvOQZ01WFZBRB/7GOEvuB+/7K7ENIE8Alwib1jRxMyFMwRc3DY+On6FhyHKkrPdjJT4jFLhLbiwWrQgYOQLvz4mvVGrs33v6Mnys40yvyliE2rx7CjLzzsa42x1fy3VWphZe9J2zNtYm2u4NmAnUARfa4yl8Yp46yF4ISWPdqmxpLew6vd/jS6WSjUCZtMiEwcZEtPXqzEhGDeP6qwWEUemqybjwB3dpqllvcOyoC5p/fAJweslWnhhbMFUgMNxhazzW07bEhJrWDZMDBkOHYiLNFqbVTR3d5bRYWGhMET8x9ealxHJT8iii6oazqID8cT1JKisNF9MIxbHJ3oFdohDaQEywjRd/uKk94p88S/ssZ7dg/EYIMqXWb22Lp0VPDa4vOTH30xixye7EAJJSu3VrTmMcI0BugMhgOHujp+SaJDpPmUIMdsN2ekF2iAPfVUTgye6yGXbXnZH7M5i+KXydP0FWJ7dbsDmibwpTEu8MrytWkn44QVkjAMqKfI/oiAQaD8hgQ9WaVTWMjunYz08SzxsDwL+a8sRyjvlibLHD+Dt/IGSMPEVtoj3Yl7yFz+VaoPwFyUR1Hcy165zexhNh/Fmq9YBMIDyr0M6tDMw+YXZfdb+iGP4K4uPQoiJBm8RdHzM4ZeRKoOsH1AkbSfqmKk+HINhScwl0a6pixAstZV1OwpGC7i8S4f27nes53AvezHEa/zKkkzQrgkQRs2VfkcO+JEzVpDOZ1QxHxUNJE3ZdTHfNEO2zQm8BOo4/DdVP423i0ZiGuBcaxvEnvwNm37iM9Xbb85PC4W1RfkU/EI82zI/v8wg5Kd3ZfQJyjnd8O6OGD2y19JSw8peQSlcz7Fhvn6+ep/+kBTJS3bcbBko0SlR30sQmo2iydVbKjD5M4DjsSsr1nHO4s8bdsw2gE7SBfKBshGAXOxuzoaYU63b0B8wtv7sg2WpzVcvJHPvmCFn8an6Rw7qDpmOZ6LUTHyHcO2upr/FpASRytyrkq0/AwogcqG6wXt7rUOgaRvoi0CSUZ45mB2njTMRIoLtfsvfvERJ7C2Ps2cR3O+odJJbBYMuRbepQKKkCtdCFJIXN9yLYQXiP9Nj/L/73yoEqc5b1sHslR/FDSPw39tZuVFnxFoZmEmCTiY7feP1l6pokKPaBKUDMDMlt3H5OAZayj+jxnJxdcfzc2DgYYjfkVLgzdcxzLDWtSH7NLM2qylORVYFuyGvhzu1irU+iTqigUtccwxa9JdmqU+10b6WwivyRao+iI/hFC219Xc5AwaZPFNbPuUW+8hEM+vfkJphIpKFOqD33kc7xNY3077vn4QgUcy2UJ2WmlDtZP/y/kLqeeJu35zp1JeYgPO4kLCSl1UNOxaIORrarma0C0NW1HW5lQLcOY0LYQo2opQbOD9nO+OT5NHO8ODztbZcKjPScreJoHRAt6vF21VN18CZFh4n+XlnmNLIXmv8EaawOJYdAolxdv1/eXlFWUaPHBdmn8mLW+oc/Xoip99Qdz9MQ12dUmU8tfSgOfG71wfqkMq9KznK2q62IAE8ZvvUag79AZQ4OW2SG9/Rs1+xndQEQCIvhElxdoubCrXmwFc6kNm29SQ8niNvNIUrYAeX8Qsv76SoXnX7bxJ8Is1I1lkAjP1Z8d36Wyjk5+WDUZg/VFVNAhVJfEv9iMkrlTyL2iHMD9iFmiJDUt69dKhg8NDCktvkR2q7enGATGX/HNUuTdR9Ne/7wjN8x8D/Cc2DU0E7fMjkfZX5bobOnqxo19wYSbn8ZaunrFxk8MOjPthkAJYqunYzmewac8DomEYuF9kuPfjWuES5gs08STD/Tpvep6A+wvdg7BItANm5uZhhz/XYRwd9lJE4sGBWs9LKCsdyczhikcirkeA5tYZyokJll0ZHkrgZ++AjgwuzxuLspUBdBH9k7pBQjZWeJirkHb9CCmWlNnbSmfgrZ5l8O5dT+5nQkTfxr6S41nCl5mrVMvDzLHMOJh5vL4cKMLWUdKX4rAeH7kA5iKQ5YsXxycQPN0xuASV7v8LtYS9gk7l85LUuOHzxcLUN+RrfqarbZ738OUfaV+RfX3XN5EdQYRz2acMNsJ2yTsOU5mzBjp0SM6rhJxI3SxRNuIBBMWwxX4leyiQrHtUl2d6U+82T9a9SFwrwvqY4wGP7Is+jYp+CrRKa+VoJ9LmmZcZ3yl7l22Fy+ysB14rjcT5OFjI8mRQfONkk9DXt3Jm7/LPFBlMUJ7BJAAC6NHCKgVY47ATJAB7FdYXsLsRTBKaZHdcFismqnmpHEePzSNOIU12E3mIux/edvlltoUoKsVBIqiiT2JmtotI2PjBWRnYWyRPGdxC9Y5rp64JSCyGHYhJwhj6oYgvSCdCnNggHZ8IYCFMvelpWxmWn8hg+lkN6W7oJCGp2uwhEnxbsCSZ1CzON5ecJE3Z8TX+Cd5G0UfFaA4jxkHdzJCV1KPIBnQrBIBIbkbzURSOhgAKjyfvr4cchn3n025hgEd4HG9Xft5JoMEnRgqgkWHzwbMYSwHXid27Rzacz+kYLclIk5ZT8vXk0r5/6uMWruo3463Un3wOW7XkjqzBOBzMklolRqDEF+X8Ns2PsWNMmSA8Yb0M49KXisdNTAxllKzEoXYf40gsd4rvyRZm1yv/fKAR9zIUd3IjdyyhsByqcquCsQPX750sg5nrvde1PJfxTKfLzvx+d2JLgenBU2fwE9ug66fmCIzAjMj6MjvqWBF0k0NeDHkvt6wzoE5pbxKOIHEbKoLkcvxtWKsIFE3DcvQz5jTS2SPCZ6vILfQWYSMXhceS4U7xYVOMZR1FSV+GgeA/U/4UiFaSO0ZMTxz3jks5Zgz8C5tlJ1b5Oyj4OkOmKG3ypXRZrc8g2Fp6Oxk6/WlC3IUR0grdvNiOYRjPw+Qzkk5ZI9NmNtFSVQf0wEXnWfYLFjyBrDeGmiW6FomNb87h4X4FL/jkYTiCWdqrWmm8yX0G1wNJ6K19qbctojR+aQt2PAiZTg8XOQm5Ec+qaWggKYG4nOptZJmcYaITbI+UyEICFl6v8nUxIrS1XRQApDJylrheZ86D+TrNkVeE3IILUyEAJE6v0lcyVWlb76z4+ctJiwAwdDpMKc5h5Wwq2Pm5tDyuEWHiQE6O8gUTYC6GgpgVKUg1UXCyU9JTMEUSmxQVqHQwkPGUVjERHInJCEyPPenwFaEamWTniGhMYa9hm2xOscYuJ7a5ZOGMSwKOM1X64ypL1adZHL19de53uvGdb3LC/bB/1ANwWo2erNUaAztNfisGma0k5SSN8tt0NpwsHMTITnPWfAwXiZM+K34C+9iGbBFvGLH0Pf6/nJBrTsKGWT6VKqYjzWwjWDux01GPNVdKx7oO3Nq2uMcIkxuWZqH8PAFdYz3TpYrfNPprMFXaGnc++yLEDOV1HpXwXVmbRyGpJEX/Ti4KiA1MDx/JIJUDFmgJnaiPVcsTW5XtgM7W8dpXDi8zpg7bbZ4+UtziSvzju6OrcTLQCWPnP50xxMQitJOip9EoSGP/2NrYcIxl5gzOfzqM0SlP9IMXNamFp2GWHz49a5Kx0k4T/ld31n9gQxNriRHCCe5Cga0j6VB9+orAwfJGK09YKD/npne+tGMtyo2wFR5yUizvz6wceUcrqgqvsvECv5dqAYKWUQNqlJPcvQ1o0MzmDjxGm2/1XyiPpb4w4RV1fC8GSdjj7qX7r8leT/vASgmt4rKWGlYNt/yAWbWDA4mlSsoJYpXv2zgNhwNGjErTKDwAhWxAjPJXZGyoot0hyFI1lHzjl/9NI/5+kzBPFPnbXqiRirerFLtt4KPdB1k7aBp+nR7gtlQoNUVrngj3LclTgy5FXfB4BOEodskS8uzLHCkyagzQ66DpPKPILiOZxWC6Tlc45/S8SXREvc2Mv5w+JzRglW2Moo1n8X/YAR/bM2O+b7GaqVQee6OUDCRDYVeMcIgldda8ZkPu3JZiwW/yJoQ0GjMGDNzPqt/flttUDjqOzohUQhU/vmxgKfI61agD9ZLTq/xxR2261rkPHU3qdWJTz73pQKDOgNzZhjdx4/tuEYp3BcaNa77eTf4d/se5Rgmglkd8PhQWyGdKQtlbRSxgPG/dJYz+VkviN5jY9PYgudQ/c1k3mXucg0v8hRIDnelUTwkAmAhLzBsaN81cXwuQ3IDsoIe9C3bOSrQShhhCPFWd0L01I4PupokhjQZH0FUL/RyXImFZc2TK1+U5KsQOGF6hTrocwRl6YaMd1/y//ia3JLK08Gl7ARQH/XX4Spln47T/cCGXyTp8nsh90Sfn4yFuhJmiv2zk14ILDy+2EmIyxcZNhH+CiEUiw4dX10M54/CQ6gp4kbk37H2hjIR83IU0YIjTreTtl1jXJcdtRZRrw+Kl7YdqY5ePiFpG8zm7URZXIy085cMsGpzMDHzuP/x65ak80eqiy4WlGeg6oYTyVF/Hg3ZVCxdr5ZpK+7jPXSpBmBeao4mAPUXxzqpaEYSEQ0Khwi5nt607wZN2vnV2Vz/Y78LO6lQ+StevENyE4AHR9QfE7r4xnTSugA3h/LU90j84w3s5gr2BQahQhfe1NnplpeWwTwlOF2uZm8hqFTJG2fVldjkksPLN3Nu6WpUk79h2NX0hUygzULQwVzaoljhou4PZMxlBmONeXF0fe/uS2kibzWC7HANYrYvzOcpnU02OtKm6zJl5CRLea23vSFgq8is0vwm60mN89UaQXNOIyvKMlhktbcm8KLXE3uVD/MjdUBMP7xo1UgDut4RjOZsaQo3gUKv7qQa7R7hlSoJXRu5k2hnNPcYG79ANhAu3eHezZSUqRMdjzVzgayXajkzzIeAAl9rkg9KK776K0SUihjWrXWnqc/s5WClzJW/vBksVA8/E5srBUfTRGdcK7P4/rB0h8W1MXpJMpATWDSM0HDeUVCDq/nyusMUhJUASaObgzs4DrXEj7JRlBdAKJz2s3y2Bft/zjaWXdzjwRK+Po88qjQz89oZ2I+g9TzvZfx/Vxhg4B0OJEQc5VUNoypjQu/OPQBKnMi46fMQb32eAnyEi0AehDske6N+kaGhLDu1O1JDCGCqpzVMpyKD8xZ1BmAMi7G4sLLR9l3vPgQIzIRJI4yAfazckYlgKFvBdVT/Ar1hA8jypSBs0atdnK9ZplWIK9Iias/f8+cG8UTSePshIB21B/dr3TomHhyL/bdZjbXCKDKyvKOafA2yTw2x9xRG6u3vFRjxmlK1c/dv1IGOZ58RjTGUMVC5juPGYDEOXaG8EhTyw3P05yX7uJsLITDSBhmU+FROJuVCk+DNcjq+rbXpbxReRxcUsScWkYxTm6nYib9/JElTHT9xLM0NiuuTO8SCNr89/FVhcjzh0qR96DppvsRDstmvW3uuRHKxpHK82F7nXIFFT/vH/7/vDW+18RK/dXdVsSzROObn28fclvo61sjr38IaQQCiLUm0IBpG8eASyZSrbuPTQY7MumjBbPMCH9FmS08+WWNAtIegKaccYxjOWC26pHbyAUCU3A40NLTVT+B1SPdX8rYqcQ3OrmhDauQKPckoQe8o/T+0uiagyp61etJyceF9o+8rjYDr5Xg7DbMJY//X81uZiUhNRkgwiVqaGQ6B65boPB3qSBoCJEb+eZHxQsSjnS5qFuKAl2DDc7Oxy8buqx5ISL80EZxMhi/7Lx8DlgwIh1jC0T9OZ5vzjZjN+Xr1hNNX3Dqkopm3bIzZ73GW7ehMM6iJ5l7a7WG458ucdvjWOg5rI242mxxy9EPMryGIcpu3JYkSqiivhARW8V8UvNioCkHJJbQXzFjmtHXoGSWPLw7bYx58yfJzQmmo5wq4MpQ+eYVWS9EAM+8tzRLFLou33ydg57WFv8DO+/HP/AXZoC6blOuCCeFEhqeeSOc6t1vWrWJZ6whoCrd1faJPN+jRmiQGAcP8gIgaQI6XXS7t+MU6Y0LD2AzVTZpfV4niyB5GA+mIKtfZZJiG0VTpe4O6cCzQ7Z0lFMPqWBDY5ERtXctL6796ZQNr6dY1r2RefngeLB2AcVix8Ig0ufO49vmRfH2FYh/ZpisuSsvexcs2NNjK5uw5F2RwoUNv+jSh7f0RicUJXy1HtyEu/IPEl4vw3Xv6Ju8aS2q2tGMZPeux5d3q/PWGH2cBqAhF3aZqTAGHX2iSvOWP50jM5LIn3FIlQgKfObI9bcr5FyZd94fdq/HgqNurAqb0UVZmMIBHoHFhpbzyHHSysCbnm6/TkARjxZ17ujEiG3ga66NQSg0q/hV20+PQSk50/q4YADP98KMrpDm+SJs8jfL7XaozYP7v6pP0+fQ0jQm/+Tnkbp6JwH0aGakgcM1nZ3dyTA5Z2ZxH9sVtMKvfNW0IWFBG0NCFCRlWHMj0bo4udPRJN6ipe4u2Xd1z0uysfKDlnUA+pXPKW4qW/CJGH8iKjL49NeXYBoQadrx9fRvpulf3IhVbEoL87vZFCbIEv7aAXpsxoSrDb5/dkeMGpDOOrTqu8E1XJZ7+w6JvU9HwNjUtRSGyP7jrsvYYireymqMiJXwqAxCC56dFcF1YWA5PBbotn30Te/J/RH33FCQGWQyZHkGbxf+8D+nBQUovhh+230ZINNRSoKBqHf3iyF8XDKbgA4oFULWFIgRPeFWeVbVxvpUFn71jqg4zGDk6AJYNRdgy3SAD8hi8k5ySuy2ExE3DxyyutvqKfDXYCxAwJotukpi/tLeXi7rKVNWEEzFuszP4726ZqbPFhZE89zjCYFn7art9LOM3a6dVdOhapaef+cPPlhwY+YFI/CppLRlxw+XIYY03IEua5rTC/KRmhE4sj9cXaqsQd641L/HoKPN1S6NDoJSrMSpqXedOPTWh8Bjg7CC4KRT4v5Tx8y0UmCnnikIuKRlNoVHJjx0uU4SxP430EnXig9Rr1bBXVxIMjJ/JcTNFDYTrcv9I0ENlMRihRjXhq3JjorpoYzjhF2VWGO4O4uEJmeJdqFbnJxX94Q1JxwgKQsSZuDv/puUubgcNI+/S1/SRAvOi4JB+yD+GQbQTUzQ44bZCC1JAlI11DCAzfl7kidB/UPh0s6LzMmowBPnI1aTlP5QTbqCV1GxqFLVXHF+p/2zeuH2nTHQ1nHvDuXG1GVw+fkjKgPqQhzk+5HvkA9//j5nf/8r9nuMIhri9Q7NpXSoYAUUjxJbmYvEfJYGh29ZC2UqicEi6JP/+jhAdGHarp58u6YBp2HdPhcIc0kDxa/20qdNfISKPaBZJA7tnngds1JPjBs8pL65IiYyaUHrsE2dx+4wh4FOWJ6qDsD5LwC+QJAXnVhkeEl8J5ZNg84MNkJV7e50ji7HPQTvUo1SCHxZ7LyOOIdcreLysITcrXcUiXdVKVI71tKNk9AJ8pvv+yCtA6sD0KNKkNDiMcSVv+Lr2x5e1tx9wsTZLtx1SNnQG4LiS09JMJ5t5pxO5pBvEI6w52yoK9UZMIOcvHztzkXmmuMHPKpew8W97lQvyNeaSgY2QKrXhc0kTQCymMtl7s5E8YOClB6NvSf8YKsj2LmHKWoJ1YK6jXTu1ARZ93V+825vwmsk2kfaSjk+sjssVzGwzgd3PGvtoDbgjNVP+y4DGDWq80JQADZqGTQtO/RGLMlsguX2IonItP6QtWsAGicPrKbL9MD4W7KpTrt4FNntHFYraVh/FOYr/nU/ftEgZS0Pdu1DHp0xK0ORodhVeMYK4dMKpYBLbYeIjyCmNopbMAMv1HbLweOsVS7coUN/7eqiDvAoqcQVYP822OsUDDiHZYA7EVnucsfijXq6LPcecn0zOI6ZjfiD8gbbrzGgX01CThDcCD4qHwbxy8uuDeBpaBSs073aGPCARo9zSFcNR2n0vi+HcDkc8dAP6jnC6Q9nPIy1rGqG5p66vA20ZqQRyRAd+p5cCD46uZ5EthCiJFADtUlOgB1OvmhljwdCml4xVUSB2q5sllzY87GTAHWNtpD6TpMGShTkFwyWvnmulmMFYmLIxUVl9bqA/tQorHVYzqFEEsRMbf2ylZGCKejSrIkS2R7zzIRdAoJaU5pg90LNjHTG7MTmCuoY0FUp07CRC9mGX981oUK6wNAQwVs7Ms6Q7+E5CK1YFR8qqtSgxnD7gLdNP4inDGxujR0I9FZeem89vbtncd/j8r59QEHZGUSC4jEoosWoeYMNsI35PAxPJ4X3Q3CmTe8TDUMxr05ZMh7ZwQbv8PNfoh36Vg9kAp/cdja+3PQ7KEBCqq4074xKahmmBPvGe8n1aT4gZRxWLbzMFHlTO2nW2v1mn3ge8YxVxfVjkRMSD4jevqeSYaEXTfV5CmxZ+uen5hZfSVAH8vLsAze3p6tFZVuLcx1WRpPtNU0kr7oETDQcB9tM/XbpBSpnfclrOUz/QpyJA/87oSMVcFI4QMU3nTWtiMF05CmgYBgqIYokKUeDOgIqXCxlWUvTty6QEpiNNIgEb1EFg51LcEBbPmEvbI0RYjBIkwYECced3HiGjI/lXWZFmaSI1gW32KZBIlbeqCNLZ9d4AyPqX3K/fQtm2fvsz+oX55f+g9/4Ir7rNATBOwwYGO0vphgM3sENtrT2BWm/OvR3bIzypL2Q1rqXXSdq9DkQS40klDe0Iimyw1bIfsx/Mie7cEsmnYEvTLbsLfHy2gmU60OtYGe9HzK0S2qQvUN5gXJlozVgtdiFFUqyBvfJldPr+mvtsgzqKe5XIthGAkNZsCn7YXXMe8FDrtfcN6pOt9sx/FDQsamVlPPSbfhxBZQZweCMQfht516Zgxje9bzEQLWLNCysem1e6QDM5prmBXaUlHh+l8tE5HNny2dW1cFAS5pTS3oICU5Fza4cDwbt7SynczmmpXa0EtiBwQcxOirEhrvMjJJvNC/W95Uw6uTqz4javNZ74zievIRxj+KNeFB1k9Fa5pZ6dq//pBB5nGuoANtCdttDYgKFOR+Lza+a6k3lTdto1LwqTC4tKD9Qx3qrv8LWv/2q3HK+nT+4OaYf4z/qtOk8+g8pfLYuoo6fCvxK7rXGicQweF+5/LHevJSWh2DR7K/qpuZF+ye1tXNbtH3QPm4rIF/g7KKB6OzkwgB/ZOVvddzOCo9HDF8XsbkHf4NKhYCElj5iaoYRE+JaARJDXk+kX58e88sSzbkq3hgYy1mn7lSP1cQN6rkn1sm2/MBz33gwOQuR95Ear+WSj/QtOIzbvnOWqgJ0Jk4D7wBdwpddTLzQ5bs7jwh45lt+8wCNiRxbZov9BInGaGzrGg5NkGy16z61T/HxXpB2C1e7Ijc85RjBEQKuvi/6qEouveHpuDO79cEYEwSVpmzNPLdGyRrdi2GegHo/n4gpn0CF/HUuu/gXVFAptCM7hU1HIfEJk9KIeGtScfIAowxMY6wdg28ZEB02b29X7b7YfPlF6ykz93IQx1CyO0jWuF/2piQi18xlmOdOcRSxj5GVH69TbnxFwzd/+CfKTu8mUvEDuwhmY7OqWxa8FCH1U7+ZVbpACBotS+xoiQgjm6EwnzYE+8Bkgmkvcx18xr8B01+sG2Z8QibG+GJsdavlK5GycdimzLFWq4uFbV0/h7T2IZvhYWGBKIZDq8ixsrKZpCD4adC/cEYnXfTxc73ujIaDp/9uJgRdhvSqz7jeNw8yTrxiQrmh7WJDpwDUXxkWZt0NeQWS1RMOKvjyUomo5kKYMHrNPHTTzPSu916zRQkiofUJh9wvYjVJK3cvOV4nNlJjjcBz3Re9h3ROIzccyD8+T0ykl6wv9+MYR26I18b2CiyRKAHUjJCzz/0qaTyBR/xnQrBQq25FlD0j15+QZdYtxQpDpafdKU6Fd8yeY7UNAx9HBZdBKPuifcBgQ3MMx0JkGHXfD5uLrtN89qqx2VtB1LUTmZxkQYLlPfxK8jiyTzJ6zyLPr/Hextj0tIEssDVoHV5SiubG0jnvL7qrFSC9ueuLiZrexK70ZqwnJWDWNqRoxAs3k1QuZGgC8C8+h7YMqauHbTSGfHvmdk4fyraGmnwgHqUPhj4FPcHgdrJySV7n4Wg/Dex9wxw0aASqMDRPOiBATsXvfCdeoZ1Bac+GrtPTlNMFqaf2LuzMy14u60FYeyXON6YvpNJ8Xzbu0FOBJ7W1LS2xQZHeH6vcZWdBMdQVRfCOawiepvWTf/Ny5kp9eyrrI982wzeLWACKfDNPwHoBr3lRRUSifje5BohLYYL0P5JvSAmFNcUcf5S3ZdUb0GSspBfj0saMOvK3EBRtgU2GM4Jowv/9JirEV+WGyQFJ4aeXEod5fC8XE40iOs1glpMZrc4DJQokzf98/+qb0FY2PMnoZiJnPYdVaEGG1UtfB6sHL3eXJ9e4d1En7SBzB8Eo6bTiwpX+1pl/jk51Ir4qBEhR+Z4s1p4zDIbczYQWjflfECcyKz+UK+XICuRkaSI/HsVxtyWb2urKaC1LnHslYG9sciHqrddRKJrfu6AaXSMRiCCN6iPK/PQ2TMRu337llT5HUj1ks7f3xCmPz/ATbX/+RNUi3ePfXOWETS4OPEd2tKZBfhr43esBqKg9s8NqdXv0BZT4gVxka59qZTvsuIBiH8oCJFIQYjhVQlWYkpR9Yksz+aP8FkkFg8cdvp2hHpLLYlG7p3+/Y6Wb7d+hxNKd+3t1rwacp3rPhjkxEJbxIr0s9x/RQ528xY4Z8Mk06PtN11YVnk9ZfQUGbhw+2T7/220UCOFE90NwYV0dtlItoSIU/ERplhm/sYR09sGeTtaWApStENu3tzn5RWvGwOU5T4c6Jbic3juqioyFxLo7dvnQL0dfl69awRN5AkI6SUH5qSDxCv+UJq86vd4dT9itiH4wMMdKfsfKLslT/8aMfWHsS1B1ynXL26lNMkD6n4YfkHE6FkdL7Zy4XmFLOBDAvr9RYOJo8lW3h4kzjrNL4lAjtZApaUkTHpVfouNJEH13Srn9/cHLhDap5+QnyNjy4ajfYNEPmaJTuPqctVaNNPbf1gQBFPVXXlLhsgmQcgTkFU4xJL7OBoC6juLqdTlS2v/JbEPYGEvi4RknuQnHV3E3ny+DlnyZeiRowB5gflBVApV5zkvXbB1mqsedVnRwdw2HQF9McGnacWBv432avwQhmeonyE34L1hLocCjJ2qghJ4hDKMtxCFrEskpfCMvjbCngSUp5WLDt8Kie/snAmhgY4srlxpf09SQIvhu0LrgsY83JCs6qxTTcq4mX71TqjN4861lIWbyepz38zktaTccvCkU+VGvp4ZQ/m6+H6UFFip07193oXPT8Z5ptA9gvk3/VCX3HEliCcr+Nm4POps1qdIVSaH8bfMNnYKHkeC/ANByE6Q2IePfvPy506TJUiU33BtnfF6IBo05fGiqYN2hyXNBTW70teoJqom07U+mMaGGYg1wR//7Sk4NeinF8aOPfluw09nXrD6TrRFxkIVPX1yLFzt7vT4sos9vw/RDHe4+c87huwwUvh80d6xE3kR0N3SL/XCn9K4/oUkGyfuTZHU6RMwF3FZOLqqds6UfjpdLwP0JR3FBTIuqMWwJn3KFYByaakU03TD89alGcXKZQdUtA/B6qs4y2xBY7VBy5hDvp8/MNXERU3m+JSYwxW3DGqQFRlV793GwtL8VhmMER1SGyt7dERoVTftvMvf4sFIlgEnKA7ciHb03SmWIn/5VCeTYRMbF8OL02EF5ljPT2pRqQfZ5yUnzaoOAiu3wg/FLFKr+cbV516WAq+6As5UGUZO7Sm9PmF9SstZF8diBBs2qbTC4EOpw9cwvAhcsqP1/DRuX7tzSxhyedqoGRyQqY6PIuxP2rEsqn9GpQzyxaWp/Y9Iuv3qwUM07812jZRyJZvD/DkgEFOYyzJfsHXJ1n49Q6wb1QXliOjEV7S/+/rJtec3jMPgWhE1Jc+X+bxj4QtK1ICr2esi0LRPlIWO3hKy017FR8B44uAbVBn/kX1KzDaNOIc95BYv4nZigL2I119dK3jL1Ggjqz0JX3xvc3iisXsE4uijB3lwawMWJfsIn6Czlh/RpqvXqVVVW/7FjWtQQR19wgcsC4KQT8ENikOwzrgChR3ZpGeaxRqJB3QQRA3pPj3wLfFmLyfDGxu/y+g2E1iQG8ftymUtjJPYZSqWTApFJaySNhK8zhgY5UGkQ38RPZG99pTxXfzuZdNF3oCsP+kczS9ypcEjH1cJj7yyaz9nPgUFjWlgjd+z/+oh7pCCIdSnFVTO0/OvJWDWBxITZSakTX/Xxgr+9yua9kjcb8gq6aKYsSPaw6PnbpvIHhLeCt0UoYt6VkVKvA0h8SDB1XMQN+O6/oXGxkzVGQ4n7s8z4ANSIjdf80tCWiy9uSDb9GPSNVAM8G81nplq2iyuYp6kThZhhXgISZvov461ZzmLiGQNIlkqdDTdV/90H5jvsJN4vcL14cizCWm2weszXQeWrez3H66LX6iE/QRhQytCkUa+xizIwFuaK2N00on8oGR3EbI+C0wqnh3OYAWq3lF937A/CeC4Z0+uv8QmJNEXQxuqnwgxX3YjiPyamsNGH2RxW5K3dBPXGgKCrtUNHfAYiIGWZNzMeBqglP0KLTll/KshArJ+ceQtkLdw2/m0CyoFN6VKN/uhKNejSQAmpFQ/CrfeEabKiQzpB6Wpxm7XWVIuhz+gLOxIgKO0JfWWYTWzRGKT7hf45C+tf5ORfGOXETR/39SrXLh+Lhdk2rVcFF6bZPMRjhr0vfRI/hmK+ksX67RG1MnSfQiG7Jgm3XnKg+zhwoNEkkE012DEQEF08lnxmSV8kHZc/qpSmN6v++9z03EU0c4P6Y40gfVBFLKB2TjmrL2tg7GbLkX55AtylG8KDfkQ736SemD61lLojqmeXySuLWo8Ar5K21ijoWKXh1jZu+B22DBc9G+/tFURcBXOXTOwdH1Rz62R8lFBJNfFQhZCSA15rMhnP+wpMo1uA/PUhsY4Cuth2VLwoX1CHilLNu8201YbWfbr2P7f0MREQlJDnsuB0PDrltUwRlP3HAWQOErKHguZ4839R10MgmOfshIATiQXN8s+eN9j9RTDj4H20Sr+W6ODWML7UM6Z6z6197NGl+oogu5f2VeKzSddYJ27922vPN1YXee+mnbH2Q9N8mxnej6wdaN/PVddkgR+cge5gqkoB8X2KRzCriU3WVe8/KYc6up9HXcFzjbLtwxVXg14IGBDA5Li2UNQftmNyHiABkqPOLlm7eouSVXxq7Yzf1PyRo/xPHiUc0QR6aq7dAl7KgiuUggUK8jzl1xwmexe6j5GrnegD/HWgAyM/en42iogtt3Ejw9HpsXTEQQw9HcSzSaFUHtCfsvcbi7WtO+JeLEm7fSFfAsvzVhEWVcOkz115oVyCDiAAck5L9O9+wWeVShAohhMaf/UscODdA1tn46+cdiMuYQQEgvhfLVA0boYdcMCGRRGv0Uby9PYpH7UZtOR6PjFU2Jss5L46b9BC9jAH70+mg3i0QDw2GIiegK7vYFfgeIMRybQ4aDtAznJS+3T44OuYYb52iIiklROZgcf+ZmmdY42qTrLsV0UK/ND702NExyKLWxaTU+vEpQs3SDuLG5kmAeS2VsyZt/K9RU8Ap6lGcjvVtG42FyLSlDgLCVrSsV5kUeU8G2s4FcNfKNFrRyibKmdTL8rLP3V0QC5HY1gjFCw/FZGryyZ/FPy10Nh49v/rwKzvojDyZnom/JunR8QYSaAvpvWCodfZ01VWqVBJhF98tHnr6wmZBTxL/fGWCE4mbZyE/X4rvXhipIJCHu7ayWpytbfaqy/RGjrsnAct4J1J4OV1eAjJJFaHb5G2aBOGNGDhDY5ZUUvOqpB0kRc159Pc8ZhteCLx1FGWcwKinc59soeVItN192lRZzOJcpkYzYZdUBlKQ+v+2Ff/HozgAM/EI2god6pHSR8RbxWVZaIPs7snDf/qvNCo8bR+4GeJc8wr90MJk1pxuCqx20ngRgGyDrGZJgJSUKTbChu7hNamK5t1hegrvjMqFJk/s/kYxlfO39mz2A97CrElpU8IApqkOxcw7BW0to2xXjVsJH1INK6x2nrQnY+ghCJannKeF6+hnNRtuoL4RNzuz+3f3ywc1gqtGWto9H7T8qwYTQ6cxRhqQfbASanQr6QeSf15JsCOkCrXc5dJoQkLa8Rn9Gu5VJwU47S2/BLk0eP+gHrfxnXJcqwkbixRqz44olTFMuCEY58BWwW7xM+unGKuGgw3ck8G2vrwLR/Sd7CQsKJ+kS5byTnTrlzDEIuXAG1Tbl+goaQ4IlfXGE8VylCyI0DlFrmEsN3y4Fy4LXz4ljFIz/SXFfCMrJsK3IfJIGir1nKPs6xS+imdx8H0BK80OQ8pWAN+ot15YZmKWJUzoOdUx5hVJxU5FRCA1zpcUeoAhxQ/QB1mxYEzD0kZRJmoyGi+OKytxXzcH9UIg6QJ7udTApYt7H9vow/g0sJ4vcsBbnHqHbQA0AxAJVFEV7NBz78Y1WsKIlLJBJBOEQuN35FLmWr8xoDaPVt/64yXBD8TvYmpu3KUJEJ6kNtbKtXXZCHuuMQY/mV1aWC1oXkLBSwnBgKcaWm3SUplF8smytDe7lXZC7R1Rlga+kEQNwg36xgnbOtCQWnfi59ScP19HWiA7HGjnxhFYtKJ3IHo13/uzNd9qgX8E+vQJEx6Z9L1ifxLegTZrEUbOIE5vJDev0s6L8GJXq33EErvz/m3LjST6NOS+kaywXH43acJCUzAdSx8L/zxHB8zUEilpac2JTpS92/XnGvQZX0X7HWAW4uL2cpBQqiyBNhDf/z6Q+qZizXWJYUm5s3DhlIP52poEejRQP7phLhr7TclxCADvbvR+kNs8jY/TdoIbNBu2YMtLapzjqzFHF98l2NYt7UrgMhB8HN69C/J7lP20VDWHY2wjhdiS8TQ4DvUMsR/MchcsRvjTZ/n2X0CwOMe7TazuJVnelTa6ur3ynGj6HXsgvGUk9BuhCjnkgI81OBSyJ1Mk6/qcOSMoBSr7Da5vKqvy9cR0VOhGH/KKPU5mdH38Fjro+H/kStC4DBuMwOPCysdOpSRvFMgFDZASHCfc/xx5dh6YPyM8WOsNuoOwmAnQwac1kxEY9GFU2kwSM2zqwtiByXZQIf8tb4kR5wfFdtu6X9HyYktDC1+jYkktWuBfXetD7Llbhln8+iKEYcpTk9enIecJqiiRVVUY0TpAexU6s9wfQ1n69c7Nl39Cu5UmBmvry0rLfj7AuPs6fXPGI5WDbHqlgEkbM8rKLS6e4lXk1MfN6FhBS/Use47ObIEMWh2JBxWY5r0wkjoahyf5lR4/FDoYzIpyy2DsTECdve0pvxiJJENMNmevxKY1AU/RcySgW5hMVhCFxDJRlghp5iwoEo+GETTNUyBd22pWGjGSJLq1AZjeJfCLdPwRbCF29noRywhOuNOcC+VapB/kFyAbzbgL/PqyvyGrDQUjvaWy55x9uWIxTx+GP50hs8jbCoy2Hq4lWCdb3ISlGdzoaAUUFGzy7oc4CTiU5qBRG3YQNzmI+wy6l+ag4wZBR7lrJDJoWKUy+dp4janTjxqmOoTJzCt3kys3maGUOjR/j7Qi1AN1VD1SOPotRyxDO5xYEnamZqrwVb2kh1fFoZ1mseXBLRZ8LxjIzhzqgEmhLbrRG2Mfop0CrM5XWFZvTHI2qnvMwdVzBg/0zyS5vXf1jPt0qtF18saZm/1D/DUsoA7e+iOzUDrsxTf4fVBHvU7nUWm44yZkj4zC8LsNKBP8ZLwDo5PHaL0panmifX/xx2VotLMLrmG/NPtpX+q2B/TGD+ClKBpPQOySUF/z89nhoxWcYxgg5Z/mUQOAjkfcLkPPqsAyUdgX2DniA/RkuRDudhe9qL0YTO8p9z5x+k8M1YFiGH1rDS3u+f0HLFQh85nrcBW/TugmUqvXriWvtSeamrgiEzQtLw/XRadaN7myOrgLH2cKCEhtrPKyf6gWZPIIBX4nwdC4U8OdnYlCMlbytOO9Y/su+q3hkq+NwM5gc4RV4Vioh5BqZ+8I9yHVKR+qXNIT6gIGlzY4ZEFoYJg0ko3H7nBD07rZeoLr5QP2dfnm1V7wJX2Y1ez4e0xNbQ3k4wF0CCC5Q/i/12mpE5Uoh6i5fGG+AfrQwSUxX1n2SFZx62L/+Lh8oVb9RTi9kdv6WA7ziPDs24uJtKmXhas5gqixdCuaHtNzSUIdEBo1xtF8+ZGh9LrqRROIlZQSPT0g4t7GiyV2X9/kYenDEtYewSEsg4mDAVmg7Ulrz8uZikdAfW1tcs1HTb/Hy3xT4zeXbjlHEwt48laUW7Zw1C+YevM23Ft8gnFM0xhT7yGEjX2Az28goe/PujGFZ1ynIF8Oteeh9/bV+Ne+UCUXm9/k9eUQEAkEuf1lXCBiJLoDQN11NgEkZsFaOrZrQH0iBptxSGcb8Y0wCj+uWxyqUwHqsTVGfs5t3vk0hesCr/qVMq4p/hvgh2nBo08Z30K8bwv6DD5Yyoibl/kT7T2XaCk7h7lXYEWQu5FYh1fEfPEq91xaft9c1+ayU275yoRPZV/CQm6hfMHUKB4C9IOTwe0Hpiuxz2eIxEDWpi1CwmE01pSDWwXCMsk5rkaOP045oHh+kRa3y3loWu/gZ7SI50HHKawLWKc9gi5aUWQ+eHX3sXbp7g4+pOEyhvT0yl1AX9gAIpvExdgn65imsn5PCg20252XIIbt8lerLQ7mK3DXm7A8LVViQhbsr8BM6Yaun6oDkRIelsJPqDdULuQc0hdGDW3ygRf/AmEmhvsA8x1cXs12kSAmbeOo+DYKtEhUGUtnM7BeGTMFVyTMZ5VpGVGpAnBJOd5VFebzJ+kEMAOuO0WX6apquUQPCN1lg/7tp3VTWP7hzsElxfG6st+65GjDlcTrgdLO8f+q5kSvIsR5sQzn4Tanxur1eBDgdhMQBjOyzD+Yrz1kdL+gjUVRGJNRWK6zO5W33wDmxQ0iHjzgdvJh1ndGGvdgR2hIRpuDRkP6MlGZZdwVF+FgYlfBzJUa4pSQGa/Hk+JLBhv+bTzjExXW2H1pe90ghWb3vUQLS4b0hH/NgTztS5T2+qlqMkVohIUvvcqM4+wwBvRNPehikaFM4FffYv6W82OYPcsnXzN9BhYCFRMbrL4sSC2T3gk7g7gyTl7BTfH5yRaZ3uXu3UnDrrSwBLRIxJQwjFy5j9rlkhR87hS+6xm8MQ/xKdd1VOqW/vEG8deuByPmW9Y8nG/hyJISmeZsIFH1mY7JkjqtSu5egpI41/FglI3ZmkJD5LH8lGRsKIXA/tMBaCE/SRHw7/fzYpql7UZqUwufUvoF5QGTPUK8RuA7YxxHvicKOwnCcuPweHHpqS9FBBn8KtZ8S4fbpa5KZJzwBCYMBadlGByJI4IeimXpT2yRgqHEIwHX3ZQ4wkXLuc4ZSwAewUjbQtSDegi+IPSL6sm2ss0bRBdHhvKMh9muHtGLlihc+3CDV9QRj9X3VBb3Rh/QXqsEoSWUpHOnjaEDWXioEVaySbv0Pf5YLud3vLDBqeXzPkuFamHiiqgpAf0jND5V0l3/DL6W+skYqzclydzhEEF2hiSJNZiSjzMptR1C8mPkooP1c863Cxkbd/uXHNHxJhEylQFSspvW8y6tNWZnofO7IiSuIqiYw5//9dCIKEUVsKnLvmkl/BHemFuEjj+6MqumVH4aaftxgX1zarhW2EEcZqw8cpJHxtdX66wcRQUI+huardzR3COEbzn/YPMzg3yM2eItDFMpJuqJie4e3yDA7ZXDDKy7hIWhnKVBBT8hQvsAXQOD/BNhNIF10d+l0MIqRBp9ef7m1KwxV0HwtkUIQfUAZnv5brK99a6oIyH5EdGsoHV9YnMVS+UIPXGTjL5yFqC+6ZKd7SABvSEyIcaG9fozcDd4a9OA5fRzOLZVVlahHSGsfNkWHCbUz0BQ3mwLYU/HZjT6z7ILjfaMsHu45JsUCFQ4380EyKal7XPibdZEqqbkN5AYDcwQjvlRjqNnDk+k65iTEfhM3CLTfYqupqaGPOIydNvBdFSZjnNUMSrB5AlgoDFfXBsMAPJz4bSbRVjW5j715y1DldiHl1Npv9hFGqdKNDjqmGFfwyBxSQhrimiYM8LHeVcSRUbaR1WrPzwqx5sMSuEDL1mQF42VHjdlWTabgj80kE2OTQOCc9pmmJUwz4Cl1goL0H7kHpgGxq3loayW6Tg5FahCkpcVvXN1BM9KA8Q1Z/qDM4WeRtErEjwe+cZXn6PHLFY7WpDSbxnhyExYVjlJBFMVJo+X1kQ/p3brF3nMLInFjAjdJzKcO1u5G29b8AZgpZ+AzFlr3BLqI2HE7mrAq1UJ2CZ9XDkGRb1X+XshcShWT7MVIKlzgbCt1GBGAuk5ep3fdj1LYTgVcgYMZ1xq8BgRO5jhWYqS9RcnX8a9PCpPdXgli4hUM+YGbELwY7fEXGZlV6VwOvgV8BWbDcNid4bJlwatLoJxuWs9g2vdM1T6iq0/mhDmulI87mZQidtitOg3qhsQrQK1XLaVDitX6mMngdl/TnJ8gABTJgYLZhA7fCvrlS5G3pPbnjr8GD0OruMCrz6wsgO2gj55glLI3vlE8YT88V437UTtztpq9zIpJXsf9P9pet1Xkc+hkhc3xu1iBjA/yV8aQVGIpTYfbq6ui8U6Ba0XNYp525CwwQ2fjyn0oCSH8C/4zqFJ+KP/CmBlxo7qMzd9HUfmPe9u6P9SSesJbG1uR+xLgmu3Sw9w9Gz3yNo1vkl+bMhR6QRKaw5/qIHvyO4AV8rUCwfIncZVXNmm8OlEf5TBEYSAknd7Vho3BW5biV+BY9llugrFbNvosWkG3yIRGppLW3SsQgEABic9/VidJupWJrlM0wbDm/9e4v4WBvrs78Aymq4JPCEvSn5EaO0fR4xKDttYfLtcLb/eXjBtBhJ+aYh/8bqKAVeU64wCmZ5/CIgb7Sw8EFVFaIMn3QuWGyl1cUfoMt8d/v81NA8kjG8IKsSnDTLNJbsl7lT5qn7SNkCQ26DEEM4Yt1ULzGWw3br1OLRw1Np7QBgxbiLerXNetMaDkAsdje3nvhViIbVD7V2HRxQixAujAIPwF/zzihmaX0eBQ1nrEpsdIWD7dfhaoHVRIPlcRMYaW63t8dUGy5V/losaly1QUMxmuJ/41FXUldk1nxcvEjZkCN4CvzxmWBJVERPcIaTIPRb+6VdAbHEhFqOpdAR8EQOEzMvlFgh1cg5jcn6t3hzJpogg4Q32G9+S+Te3bU1H/o86BjArFn8NUoUOtTtZy9Zo62Mm+STIrWVs74R3kzHuXTO5Z0ldFY9tEDy6Db3e5hdMvM+7Uj3ft+MhrWjKrU8Bw+ol4rN6ZYiUMgC4M/S/F4D4Txa5/IhyrNP4hZesZBHvjrCok2WUxNuKAEtonV/krLMzshlirgKeuhCA/wMFsKFZ/IJuYuVpdck+0IWzIwdeyaP0ZAk5BN4kdh8iDdJ1k0g/Gm5oQjpQ7cVBFew0IWHWDNSceS/26MxZBjUoCOokrDPoJfFHiE77u2jk3O9sW1LDOMmSgmCoTuSHbLvWyc+cNFIHo4mNW7WN3pVMY5wH72BYR4yxYVjhNfaDjcFozkGksr1GbuWEcrE3qciWl2e5sg3bAo5+nVKQ9RiAbfeMoSrcKBKZiWOf0VhFmXqa1zu9vgHupeGZQR2EMi5i9II5nHWoshBn4RoySuIB62Nd2fzs8eH/zZ+EIwhY6PwcM34wXJvd5tB+vqjmstFoK50DeeHWHDlHoRQ/Zz98xgZ+/rp81eYLtXaiUZhTr9Ho4hxsvBogFAlD5mFGD24saSLPhmBeHwV3XUScSqwoYhA0E5ruK80yNlo+wQcLz0yGOw8aeLVzYWXIwjntuUgCYdLJGdJymXUdUDIZljVuHJmXA9LVI6OJE7vT7gZSI/WAgsbrphoZ43ZDQXiy79NIaMq1nHXWrsECrJdh+cWySpBMimESaWCgHn5/j07yujUZqHPcxZvp45MjtC2BsFNdG0ukWcDqK9mtqX1BP5z0epZ2wdg4DLT7CYX7Nlwf7O3jVjMrWLu0YPnrs2fjDmP0v2ul+hkmjOjiTpjxSVRIIwagLuVyjFjfesqY9vHYLqG74+zolodMocb8L3VZe33dyV1554CXuAUks38E0lI1NNmUZUwYFHl1sG10jjeO4DSiRQiN+y5z7zbwqI1A9jNJv5s0+Obghc3x6OSaiQEO63otk1lZScFtC9dCN3awLaGi+MOwR77k3mzw4kN/6IrODXfAdltvcQjQ04SAan+d6dFpNIOQh8Y5Czjdau5Elzkafn/FEuyl37eSCsrzaGjltikECDVGJA6qvL6eoGHPHO3xOYwOkXMzYEi955xlm+SGmcE5SDLGfkF+ZYLkbdeQFyH4UaS434XXAGmKZSVEJBjzdcbqzC40W/uguV/1sNAVWbayidJuP/g7KymgZIpYPO9ZroYby3FbFpnqebZQuItGUxDlCqxNsfjNdGoeKKzn1pGohvfARRs42S+Sj3HufCqKSvZp3IgmHYVEcLpd7gJJ/dLzYTo2dT7UwFNit62gy0doLqctiqEK7evfUDwUtSQgrF1zpldkImGPznMeAJfcJgqUOcgxpzrr/0+r6XR2CEP8EPFoH0L8Sn7pBBSyjfxX9WVgAEJkpuYLicLXkvgu1pArUi5D5lVF4g8lK1hBINjezoOAVPXAfNDTEfxaJBJLCszehzii5NeopLts1XbD3fM/LiQqhYC5BxDILlkaTBVuN2cizpej4MOelE1x/0DkV2kq340Y+Xq1w2FvcrxfYfC72OreaIspT1Xh09fnbSjPXDG0g7K7avQOZ5Kzq14Sgn7PHqMeCAKjVeVINvMrriUBsRCu6NRX9A/WVUz9hIIO4BPvqvC4oY6PA/kM05YhixGYeGGz+l5F+wS76/68J9N05AFANyjUod9KibrOtsgYpOX5KjB7jKpuZ/eubcvQfiaB5XBqBnJBtFgZJCUUwGi6bZvcSEjsARD7x3gAFMRiK8XqN+nInLanCEHd0cgnSNVTDZwtnDA16nELueksSjoNHMuktumpp27lZR59Yt4EBXfrXFV89DkEekFHnA84A87TvTWY84hc5y1/6Jaotc/gNCfuij+ivKwCz8ZNbSZdfibZlM6JrTCQsBglEgs7S+xZ7f6UhtbjlEnPiyxBN/Go4a7GF7f6GWD7rP+q3XFzBTOAamN+myi6nCrbBonORpMy7P/ledIhJygtqCosruapPdHgcXdH+YVb7cISMnDR70w9GPt5mr7FCsQqpNNzhJiqgrL/QfC/UcReneRqAPktJH6fmM5Hy+5Gp4EDAGqHG+/JvPfoBGeK4VonUY6+xZtJ8a82FgOumYEQsaY7ncORXpS0qHpE7aobbgGg0d5YTb6UApTglanX1i+EUMVAEt0dAsJRSr9gJtmyVKugEZ9hvVY2yDGaMEaQjaAY53dtO99EnoafbBc1c6mpq7FN7UCHZCsz4URuegParpwqq86L+rpORglYEfMBM5qL072FsDxjdpqBtimxwn99m0Sz2M79QuabgQkgOv57VUvLFBaDj2qihH8tSA5u2JOJptSIcB3dpo/+9Z/5HYm31dV88LIfLKp5QZo647J4Wbg/uXnYzN9vsbiZA0/9fvVKx816vjItEzNbLATEVX6/eOakCxymmCN+eIIPxeYopxddGIvXUObVJ+XggSmGoUbvrb8h7ng0fm1ljQ1zahEyQoaBGfQ1nz7q6Lf32VTYunWbBdJY0K+muGZY4t0ZRBO83lb0GtVSFZCK2ZivWwAlrpW+i8YqskItyQWi3lbsxVM/Kl/sD1WvBww/4KD2jI7l8gVqSB5ryPphDAd/LzbzkyDV0QRmz6ok0+PVPwieLBuc4douqsPgYX9K3meacMyrjXHcDe2N9lFIWEe/rpajJ+4bjFVMIiwCWoH8XyPHutoGaIsXcf7vRRKx7QS43hlRw3Wx/EnAWAYPsPJEVNaOTKd3m4U0LM/zxckRYa1lrLG8jgbb3iMPQrz8mPbjq+G0dOhdUHrcmhMTCu0R/eGc2jaI2zxnTsJFOfmgkEp+bUg9RbYNOVrr/rJ8KWkIr/zn1VxEnFrMBYacC3WjKm9Z01OB4A49vPnBZuUf5k3bWsB6hbU3FkN6xnwGIf8ea6CDNFn6sxl5sKpzQ0bd6SeFq3ugsaXvRjxtW2m8UVRNvLWjhso6Jq6zMioIlsJ3vqLQyxbwVSSK3aN3LCPZMYl2Bm/Fh9doI1vXD+0wbFI1za0bVwknVon2720zC8TY6GIlQ8C6I5bliqF8+NLE45RBA231qm9Wiof8ndt9wqeQxneY0tMVXe1xFdx5gNLV6Go++WRvm8/UnpLiqm2Meaot0pB4qlLt2fIunxZX0RhPsc4oiwKYRdTPcj0P8tMcFU1piYBFECgdefqpZ/YdsTR5cmA0/0zKTw4AXERY7PpvnWJje7ClU7rTwSp9RDPfmpAgyERc/lehJuaBmA2lC6u7upol4m8B0mLAWr4gaRpH1jDM/856ip93jVy9HvM+ibMCPNYQz87c7jZEDdhcB1HeOzjQZrCGgXZXNBTJQwdFeaB9HsUtIw0lMciNKMFQp/8O+zhY4+WKg11r5J4wgnqqgI2oRviyEZ3j6BDlhUWm4Q6DjISXdYp3tw+2Z6k3umnTqoqDKK/Gam9HVf8IqjgqLtcVJqzfJXgY0CGmlouXX7FS2gblq8AeljgDEHt63RPyps+4prJfijc+o+n6Mn59hZriQthOrNm0PqtaZ1pQaOWq06JY5e1Y6d+tCIt7/R5mj8xNBMyPAZZblBMHYwbVQFWWC+gcr5G5sW4ygQ/XsalI7sAyLQSFc0dQlXXP1GXGJxhqiTBIULUcu2N3yvyjK2sFIE7XKC6SEzr+KrOwRHMjBHFfyxqY/BAq7dqWVIiEJ/gFyWq8Xcv6yFvhJ9lsCvkp+rj1nJFLZvOoI+GhhJKlBgTqiEktCT/ZY/dEwdRZJ5sH6EzsE6dXHfuaJJyCwto3SSd+U0/omAq5mmxcPcdyW8LucLayCz/fbwJH88wn+dHm23vOokXrnRs71pzMcWWF8NkiLuAfSw/jcEP9+wdBwqb9Npbq05LsBcTfd1K9ZVWYGSlRphE+9cMroBPBIChUkRdt3xdvz2TYoUfsExJ6yvtra7nBlHw920goJyWLr05m6wRf/dueotGFaiR5TWKGyF2mFol7sz+odqBjSX7RvMnm3hCCCesdDvCS/taeVivMEsrY0dxBtmpyHDSleinH8+pmm1i4I5vD/UixjoqwKmBKhHEFMrISUrgVd4PkkVOnpv/ovA1WfQU1HzI0IHE3hi7JN20knBxBGQcFo3YHBdT+5E2prg2HhXt1iwElKTf19v/1g4uFTRnI3RK2gwiDOHVlKuPRw5W7OV09DJ0e4NfNWdxKBb/G7odtP+vhQbh0qajKLS70WOkfiB2tYHq4QV6bu2Nj2Bj7D08YaOo2g0XBm5/awHAyCh3dGwMK8p0qfEak18LMKIecgOkYSrGcpgX+jpWe21DW/5C6Zz/ojpmhWy2kFfDMmAYnM5yo/DiUlXfZlQ2vzH2F/XMarW+jH+KWpmB/zpwuKN82suXDe4FP3BOo9K5UAlMAf1pgAUEPbQe+OSdGRULYQidaM9P+QXgswuLZKg7r2KztCm0pwaqks/TSN3SkEFexJ87HDWfbYrZVJa0WTBO846x8KDGh/s4ox1I1TzAb15UDw+DMH74In7eMHyOVAXMzY9R9jciAyl/IKF47a4AaZmHFZemJ4cpXG5IcykwgtlmNJ6hJwfO7ipiKET57sUE7UQl+TmMTg/MTxJIDPspoPqgGSWC7GxfkjgljL6JgXGX89bU7/KJ1/VfFLQrQn5f7FoEVRp4TMBlW6J/uAm7QLkhacrlPzGUwkuG5EYZ4FFFnryEnzGXCPfZsAaRcw6DcBUa4eYhfjiulml4rOwqA3f7G8nuVssIHsBw6265uGJZr8p7XbP14N7VmjKfHXW5w7eo9aqH/qgCA++k+sx1ZLfYtQJ6bHtV/vc9mfoWoKbyxn3x6qJX8t5FKZ3UdluX+9ZM5qbmIXDP1COaqs26PsJ08Igixy5Vf2aJJjPNyZl/ZXWMxQRnqAymTAgt+K7KQxipfoUNKC8kz6kWnEsAATCiPqWFZRCke2yjxhooQRdoVCaG8gVAq54Z/Wj3H7ZEu3KG8C1pHgDBDIYMWH1AuSxzTh2lsD9vh7c2Lo054moupHECNJxQya+BXTWfRQ7VGs5B4TTfzvyAhCTEHotxO9+XLPMGgutjGfm3RLiVVvqjT52LLXfApycP6H7/M3aSqY/82nqnTr9M+NYuOwhWBSx2QdLJ0zK0euvnFdsKfZN+bdFxIEdIWpxdgc/Plo6wIQrH0RS17LdYVtMNgq5PH3V2eUlCerQ9tuQCOkeHipdD6AQd1Z0yqbVmwEti+BEXvpKotxF/5J3ZnsUTa0cyGP+B72p73bq9vKUqz5jrbH32kp/WqmYpmHTcz+XhVSHoMbeKgVooTFs9a1ZiJx3QMRFmwlbkj3FDB5G8Nv3tEkX3psb7zcaFLxf8yR1BdORJkn7+3LkHHUGddF4I0AKAA8OrOFvV+36sont8vvzNav4Y/n63GxO8APj/huSH/6fiP7gRLEui2uQtxxDgTGv5/yxLKLn4Mz9o1sh5WerRtSKyQ0HhaXdag0dOxuoQPEPQH6lrbZYZZQus82WppQbuIExZW40U1t/bzzw/6m7kNb1JPebrvmRWHBfofqlIy0eLtJ+6fspWhnTMOGcBSbYTQotMsW0MwBjPs6tePFIh92m5JSQWO2jS4t4PTql92+4ecsg+8/2caQX0zoPLOgbN7G4UyuFtSR4TDMoUQJYx/o+nnO1Y9QykiHTPRCPIanNLDaG8P2dtmNCDnVY0YCv7YHdJ3Lq8U7KsP1u/XRbN6RsVziGibKb8mzMo7T1ySyUUc04p1Oxj7NEpzOwAmOmeAS7X9aEF3hugDfZEdXWCvQbnr1GcsgIave06NZS7/TsucwBuvaA0V8hVpS1Vwq9cUq+UvEoSeL5rv+4k73RUbX2AQLg7xt97IpKGqW32Y5T15AiqqZJVnCiQ7PT/GAMh4fdtsTU9jvhI2DHY+9xj651/Wyejd0jCR0VwG7Z6gMIDqvQ4D7uN9zW9vkdY/7PfdI2y4zZ1KEKAdsXk8eErtnBQfOpjj8kn32cr7KR4E1p0dq3U7T6PeEvOC+QrOAYJhS7VlSsBVO9I2tDIsmTMgHfTlXhq4ESiz3wOUSAmLVAYNMtM1gIi+C5KxckA/n/XAclCOk1M3ccKLLxFaghblYT9/060xUc6UxNlM4DH6HFLPOy6siAmXwC029PQdJbQ41pYNd581JOqn8FBMVZixPomnjIf6lUdF3RiCaCxvnVyWu+es5ZnvSqce5bGJVz14/T2CC3GJmlK/ILwz3tkLbBCxq4AB2bCCHWHN8BK/4cMTJXIOwI7Zss83yyQSIGvvIVMyrDgYHJkvR35hzBIlpuPQW68iVvrmqAy1JmwSLTcn7oWY/Z8+wMW433AsEhLqdi7CyqYxsN2j7lnd6vq9sVUSag9BioJ6OBpRkIIm6rerQd6rXqY5CiyiBRk8IBjA30PTnHzyjLr3HZPytGRF/mNcVKxSMqeH/iaeSW+j750ldFQyTeLbIk3PcetcNlDPtcilTnhaCaSA/39A/TncTiUN8FtvGoQ5HG8hpxvaAAzxRXhtNGx5Pj9SwsjDaq+SQwcJZEsdE3gaUhKp8UlHio0haTpr9mpoumzN2MpWp/CdRvPGeX28wAl7EfsJiBcPhsdgo/YR43Xk8Zy5Ub6wse2XS/0rl1TXItpfMRaYyip3Dcm8RKm4g2N64djN14xAQSR+3B1N7xtysxhhSlbS/vV78Hjt83XsuZyUwELEyvACdVsCb9oWZw+TNtlMggTS5x+bc2LDBnp8g/GgKJb35AVZiAzBngqTd7YYLHBVTknTQKqyo4DZHmRHd4/m+87VK0ZvMBEt/UMIRAZdbPlyIFz/+JJ7t1zxio27JKXj0RgYoCAhJHJXLqQP+1yKALgdgvk8tqbdBvCunt18y4HWit60pwLU7HSHx/xvnGRZile6ZGZ+kQDmUK7iLNCKPpUX/losEIfqI/tDPCFG95SS3hmBvyjpNIe0HJ6zqmjPp5dlCHhYUoaq9DcdTMOTYp2+m/i+GExNPif2iIohsKmGQUGgTVQkidFCd+NhjrJ7bq9ySZCPJ14I4bNaRXLGqxs/JTM0NXWq6TZCwSQazFK4dXOp8+crAKnRvb7gjU7hZ0PWNRa45ScS6YFlocizQTAqKTPzN0vLuE1hkJI5JGCaxeRczWvL7RHtr/B6sgYMRE/zDjFAo3afJ3xQNSmbg6Rr/Sc+uisBz6j298vFanZmDxTYyOu722TExkC6SEQYC9ZfocRQ85cDkjcwl817Op6GQ5ex0xZovWc3NPyooj6ga7LbQX/YDzsVxbn7wfOQKPWloXPsQ1OM6gkkd7hcRfFq85XNN4YSc6rGq9DjlKGsMcTl7IWQ20rukBPOS9+QtbPC3IyLdLco3erwmDS312o2E1Bycnwq2JP60lyFOcx7YQAaKIvCLHunQc2imytNBHJt+RCPXMIjKqGpCdq/sQkJclDtckpRQRzBaHHvwIXlBAWMoQS/y7iElqXgfdhIvJDJtvleZtgVK+LbmtXRvddeY8KKFBiKhrk0clFIOyG6qigSWSPFvmxlV2tYlpPWaZFyro5/mFiVMQDrVVanm2cHZWx4Er+cTOxo/QKem5x+YedvUU14EN41tJksZiCkdcaZHUrjkARlFjyjT70Ow+ZiIcW6VV5+Xw/c2lkL+q4MmQ0bzrBKw1NyLgkvzmB3SRpQNINtfpVLL4SiK9L3uHeVyjOhc6amH4R+h89dn8MMH3yCIAtotooeoUeO0hps1xlPswzyptcH/RlJpdc2tpzRedhQRbSABPsM9/qY/jYmRPHmCj4avCzt0NQbssR/qENJZ1pwWfrgz38sOiuVPLgZl7fChktD69xkktQ5YVRG5KrYmx4KyPrKSbJNqqF7FRHYs8OjSfK6dQXu9p626soPDpjoczdIyfMu5G/szo53pZZ17jAaEoEok5TB6XNqK+4dzjRr927pvi7s5PExo8TqeyfVdNwh8NbRU/VJ9AxnQIEJYieq5AGcmYvjxqLd+lZajwA1eCnHgTSD+KQ66d9NETZUy0k98r1ZbvzMFqphqrZzCLayxFVdwvcwaVQtcdJmlLw2FyEdKn3dtR2tdTGgXyAyJilIKLpJSyaEkD1/mr5XalSoOe/L/g/V1KDko+HuR2ACFiTlghovNzWF3cwbNurIT62HgrqsEVdXlU/XjiWm6niMqqhqy8T1wV+eLOX6hYpzpWXU4Z+rGqwqrcG02qStr7QPJue+Aqef8Nbaz3h2jYQ1rWX7CwUy3fNoyRpjJqmgq3lH92i9h7ojK6NR/epTTYaiZBum1T40Brv99zScv+r5/EDJP0PbdLY+EfM7mqENZPFNgWyM5IxCsBd+T/28j1wyLL7JdLbL0Dr4uLtiUjMzDC3Wbgv7mhB7QV31UMLjHFtmm9phf9Ir0+XeURhRSrkxk5pZk3dqQf5NbMrugBQbKfbcY1ZQ/jbjn9CmeumnFijYTpKCGOKzKs2j7DWC5W7MBCt9CYU9eid62kRtXC82PFNAocZIDwfWY5NIeynRjyWpnDGfCTZB6NCiOr98N5Nrxg7bwKTXd8CmQKHrMy4SloSmJBING9tNcfpstq/RyYSfd8hUDWx6GU9X7Mnvk3RloatH7UuIyqO5M8PmvYZ8jVyfbPBUreY/hozdE/HCJ4vSKSzE20ler6JlrTNOPk/tH14WHiTYOJjKZXVnvFDt5mIkrPo3S+bm+k5Fb9gPLRag9T0OpQpSw+HtIYhHAyijq5KUpVDqfAiIQuzpfX2/hyEMeMmE0nbGN8j5VuHd/dKN7YUHzxqTYQ/yHoyrsvFCQaXTUqmiGkc77XtDP58vcu2KbkxdAVMjMXE76PtoRg2x6gWd7MQJxbUDTCLQF58AzpJj+CtezBPRsi3NoscFzlmk5yL97h7l2IqzeQU5ApDF/kcaoi+FiZEa98Gb6uinv6CIdt6g+F3XS4kBLX+c+lkQMoJfO+L49IDo1MURog4oN2rsVbmNoLZEGklJQGJyUQ34vo8Cc4uT6Qo9g9tGuOzvGrVmjodJaNiq1qXPaIEzZ8DKlsLEnGUqFyN7JIx7+RS2FdsTIMAR/s5QO6+iQAO1jPqo4bg9F5mqPGHHweg58rBoCqHMDkB/JbkdpHXbGc4yMJh39rlR1/a2VQ94Z5z7Xi5ENqDB+HY9ULxzHpTrfsSJSI/eM1Qb/wVjyiMUkOvXSZL1YH/S+1XDY0cgsarOzEHCZDoAPp4gOYZyXa0eOIZlT5sopO1S34Jj6CuFfY6uk0+f2gYuXWbRlLl84vxnTV9v8zu99sc/GJdpAUU9dEBjyDTD/3XlHEWwqk1WF7kgegux34NgoVU72cJm+oA/nmrwGUFzp96llKu0zz/WY6/WDuebk9f/1ccJAbJLiACHEMSq//9WLm+/I8y5ftHMYqWTiibyEoxJ9ShLEkIG9C46zO3ZESyHTQk3n3ELGJ2mC9EK87hzXWX1be6+2fiE+fpaMK47pDN703KWf7dzvF1ey6T76+8YEgrhs5MrLKKDSykJKLD+/Tw6sKZBf1NKVxuYqqaUNQSz7md7BXxb7G7IY7XnRog1tw0GPjP36A+OI257Td++aos1bv6fX9zkdgPw0PL9Xf5/dnwiXuf/NTTgdETaMb2EWwlbBGxHZxmVaWFGW0RgYgwQxi2XokhX5lZHi6oE0e1mW0BKgNvesdTAzKaFpSw2vykRtsJeOXG5iZRi/igkGi9zvdApwl7JFi9btJEfdG0Tshvdkyrm+ua34SGCZ9aohgaHeieHL8QIIpDqDV8fVP8U06r/Xi9bFMyM4Q4Fx3gaJbX5LAzUKtBioZMX+LrumjzCoW709J+0PAEfI4ZA3QpU+rNJgHB7yfeKvC0E0oBSPaZyFJxImLyo5Xfcnh+ShWv8ehI0KLAUOF04CsvffRNeWsd1v5UjhYDS/Q0EryP4WSbhu6KHeE9pgjKCbBhQPT6o9l6hHaOIiIh2ODuK2pbkq0RJXpleQLoVhdEZoYckIa6dOTs6kL3b10w01Khz8a5UbFZZimQPg95oYZAfED5DAvmzKQM/5RCfZJZKqeH9nXbeTlZZc7BMoskQoZbiUgp1zMq1yK7wNM/6+/S328T9/jUSph9h03bIErV9Zo2KE9KTonYZRqz0MZ4GlrbrQ1IEgTT/UlbB6FFgcozo1/oXVVuCh786pxGlV2LkmQMsgP1oKohhDw5apoBFnZwFFvc49sJBiztC00wOFp7iZjEzOiaUvZL/9V3peZ2bUTTTdge+ymnv2uJB+V9a5xARvGvCaoSNfz+w6Dr04wirpW0aYGOWl+xaKIfg5SLDLXO/sKld0l3wSLQd9QPr3g+k/5S+OA71RV0Di/ZVGbSbLKEcXHkWQIFh95oVOVc2JK9/fh5oD519Sd2fZW75FC+1q6+i8+OghI17fk/N6Mhbj/xa/h3GSWnl00nf0B3HcxcmDJOgGyjJ4gGCOk1FNFSwkMAlND7IHgRcg2b+8lWYhKUUfAc4CmGTSWSFE0qhhjPdVLSRAyG1nMHvaTNXJu/buUfBdnFwfKZCw/RSum2kM9+OVtiI8bwBJYN/KcglucVEt7BQrLTZKiRzz+MARb4WfmVfjZHApPVF6Hiy9Dx+T+KO2G2KwbPa7wqOfOY6rucoH2zjvwI5hzEnMx3OYntE2pBKugQIbTqc9QubJMrU5RkFtewSCcTeg+cPrCF+XokqgK/UhS+HQOkaExKawliDcFXw+MqCMr8+YW2ZoHDueCiaj9pYF/LsRvCXZDRuafZuaizbsJK1S15b9orq8WpENmPBeFtXHhcjeJXuH0UuTc+wAxvb6y6kXMdyYR+P/v5+ltwexnCvPlA8YIpFA6tNIv/753u6yK0/WeRhf38FKcUKF4bNMKZik9UER9nVMzJxxByfBOgaOE2GvN9vRWtIBNWxV9oqmtHroqKLyAJDQY1DzmmH9HkSi+ZAgTfV+QDe1JNO2p8JWKKYnR6d2fpAXegyQk4+O+6jdyNuNWXdJJemYaolARSkvEQVfkwK4vc9PZI+xAlTHOmQDAiMZfevLJiQpWyBthbUSJkP7j98AtzMMSXPaliOiloaPnLeDDkHxRqniy7h+iKWTG3n3rAKj4GuvbbOBoUq+YuyFmKSIGr7jmGqJtZlzmLBX8vQnrOCc6dh4zVZ5mSSmrjsiu0wHyruaKTpsHxcMhr9jDxbXhzHKWnBgC2jSyEZ8WO6i3kIO7FrrJc+q1Ui0CBhW14ttfs1xAb2gwunm2YqEQ7la7blCkF+N9sXL0hctTzo82tKZGlbVdhgPd5KeSYwR/GfO/xnaITlQvAlYOFB4caLC7leM5Sg4q6aFGDE1pTWdoatAzPM4mB0gCw15g3pMHO9yqBJRqmUs3Zs4n8673q1GMAqwsjyJiFWCGfaSRFhBnjoaT5R+GpR/qV6tMCf3UnAjmC+XvtTkRGTodmrlJtmvf0za9+CIs842dEyEpNVy6P/E/WjW6+58qCisiwz2zoUxpGUc3xDoPYu4Y/Gm0Dw2Iwh00h1QfqY4f8t6W0tNYDjwitkaq4MUWoc+WjaMQA8gC7ei+CX/zznNpO21lB0O3n5otO5U5VRIBrol12tUt7APhHgLnH6SYIq2D3EylSn1dSfji/GPhVymVoCJOvv5rO7HHlW4pD7dXyPwhC1edt9h/zUhqiYmxrKx9BSXRgJvncE39XBcuRvVwurMoDfkIQPC6w5Mm0ZKuO2YqEE87cuL/E2p/m4Z37rb4oqk/PjyuvN4iF3aNx/J+wXEBl/uVAqueZ3vlapvdolZP9HPNBySHAmRRsgSf72tvNUdnHxQzAVG1LcIvCn2pvFzPJ2gnjrs9841s/6EoaPovEkX0thA3KSXxrfhxaSdNtm+TVKwAknP41XMsA9hCtGWDWSI3Ud5kk7j1BLixQLo7kmbYwkX5pE6k6NPaFoJDLFrOSDDo3zxOFuoFmMqIJujjvZlHPqD4iLgf1qX4L76OxH4b5r55Dv1amV49Lwj/K2i5S1NnI68FRGAzyIrWW/u1Fp+mDvdGqfu0ZuS5TeOg5cscBv4tBod321mAYl714Sw2u6CWqNuPjOKuBAF1fOvKK4qZingcrrezM7bTUAMnh/BurqY8LkpiMBYk8g4Bd93pC3ZyfU4RApwfCxyRTVnY3pXzg2Jb07+JIzketvJ9KmaVYHaT3P8JwvP1spLDLFZ/OWtVLii4Hui6B2S+Xt3E/Vo3xJ7csLyUYSmy8HYiIRqZlQo5fNdI2UgXuMMoCkrO3MtEbvUOme8yY28NW7aTKURMNffwHENndyDbMw4YnnGkVsugORtpdyA2ANSCjHQS54F64cf5zlid5BegkI4UmEaGPUpW6hqj1E6nfOSmdgsr8hAgpK852F3kW8Yy5o43cKW1pGxnTndBe8LzWhVeDprQX+HTgPDRMPdKmk11rAoJGtDbXIeoVYV+o9ci1PZcO4y4mpAFHRTwQKM7y2LQSpdX0EXgnerUsSLDL1uJNh+ZoIwsRsIIgwGXa564hInhsQirCznJ3Ie/sd8LHsC+a4NCivv22ABzFwMXGwc/mll00NJcH86u5BE/H/jwZAhHgJ3PAMZtAkf3ry8TRKl+K5ZNwC4aW4vC17OkJu6w/R16FPw+nII+SUQfYVqCrOycWWaRcgyPXeFk7T1ydA+DcC919L1RJUYkHWxip+C3wISO2CFeBQgZWUOcFrt0ufAxXXl5mMCnmKvnYjY+zhPbKxhusgcAVdmjc3HdJS1OKSzryuAxGCBezliQnUUKSVk23FSjiNDNWt5/uRPv6j6AbK4SJRr9Fqwuc99QEdIAAvN6cDqASwqAGOYVpP1piuRvk98bzuhxo2uDBeIVWjCV7vLGEJjhCCV2AHA3t2WDwM7hmjLIjxqVgFeRzCbCRJRq633kCPwI3ojJhDW3QjqnmqbhJPsF+hxx/2bC9pCil7RafW/M/oolPjmmhwLzZ1JHUl4DnlwrbFQS6N5xiBZ76E+cdOgnJzLN0jYh3uD8iHPXNxXy8qIPmWh9qdiZIvz7cyNsgnvhsWXp5ez5iSv6hZyfTg2rAWcy1B6EoOL6GB2hIiPLd+sIMMXwsezO4gFzlCGMguwK7imHR5//Uuat0NulDSb6ieXlS+qviM+kTvc5PziU/NS/i3S5tSF66UpL2/Byru/yJlrAka/5CpFuz9czzUyYfBzRzGj13HrcFfWWE3+Y5bFrXHHxjPT+bkwQx8eNIJNU9UlL3Na+4j/uBk1+NEe7oRJmXp3pwNATKly8GaURgS40Z8T0deupODd7LGjsZ7Otpo+YaMqoqFZJyJxM9Dg5wbeyn+OAzpv4NiNeBuqGb2eAc2ZZpQzfzppU/Io/oJtA9Mia+J+Ky35p1SJCV0T80yjJyyEjIvh0UvEa+rFt2DLnPg3fpzTqlYowPWJx/r1kfh9lBAKhOSuVR1+oUAvx1c9dAwQWx4dPV4dkCddSxvAMn0Oav1NeSCw9G7Ifl3DJJWOfFtlbOv4gCLIICFKNDx1zA4JfZVGl9vFQY8B3fES3S3efgZ7TtVw0Ki2CILJc35RR+D9kht8y9+vhr8Q6UDVX4XjgEIcc7+OvnlJzHBhL5fDiHFj7UqkKhR2Ofk6ycMfRlTlt6ZmFcDE29fAF3dS5Idop2iIgkysUyb2Dui/h91fzOpKQupuSUa4RT0CvabredjRwLzQuCvRHHfx9EOM+P2qNMzPlXVQI0RmYBvwrWKoeKIBZtWEyRWH2xeZELgyTbS77/tmrmbPHUCtQ+aIVS44nEXAf6PeKGMtuwK3vPJ9R5yqbss0ZfO19YDowY4uK0VWk+jNenzLqDjd5WUWnX8WriN3prA1BLXsZOTa6l0DBih9T4UgLe47qJsBTLT1oyKsrz9+eRZg7GqaXxfv5qyS8GJPko3JlvIoNWK7No/YxISnZFiJy2QJmnA0oYaJcjxdFzLKJAboow31qtcwEegoq0U+sjg+gy3PwPjoX7cwcVaAWTlG/o5R1cfdTp6JVExqUENpYrqM1wYcNUtsGIO8X9umLJVT1OiH1feBaVInkZeJv8guRs08UzS+h/U64uv3GqlSdW+iS6zENkvqrEwFwQlTV1ib78yOcczriRzfoLpXWWwAe9Aov48ZZ8PyrcX3Xlj84XS6wPhFukmrS3utqenS+QzKDbGiWbKzIyYVEKozgQxC+OiEF1nTrIBZJo/aSRp7bC/BMpfWXcWlwk3P2ySzCBnsiQx9iS+2AQBgMY+aOzpI45pcTWtQe9KWU/2cb3B8JoRin4AFfwq88bT7/f7406q0sZ6Q5aOKOExONYxVyeW/l/mUXFaiBizoiz770Wxqt3QPRC1eycaumrhlq1OFM1DJEZ4jK1XUM+Uq+sdRlkNsLEaP2DnNtB6Zs9dAdeX563nWN8WxgJGXF9LjijrEAGvMgbLpxoZi1xU3tOaq8PFx3klwpymbTCfMNnP8VGp2lRx9QHp0KLLiiopPEOGAYg1CwaYVKmyqpJFeLkF2LJOy9sstmGARc/thlMvGmWqLVngx5EJ9/OnhFa7BuMIIYoKSqKo4QGLFtYOmXzl1bOhRItcoJ+3JYSoYw8lJLZ61Olx/qbSjWo7gkt+WbL2zCQ74CZXZ/6Wu37Q07L6p9ftD7SliPQ9Y+9eLo7rjCsYzDKAncfCWbYM5VeR9V1oihsVJ6aRY6YJRyv2EWQLfmkZtAhUYGC4GmEvJMjkusqH7PKQNfAZfyVEcAt2UYywfc1S2hAfJWvS9vlF44MhYLjzhswo2dVXwPy8JpKVEPTZFjEP782lRlxZ8rzVG2GhzdbFgGgFWyjMhUXfZef8Axs8S0nh8i3gOe35+pFU2Ls0Iry2IBNeloMCFLuFCfDZyJSRxOT4mR4H9+zyhBtIAaCZhHV8wHoiSMR3VGufHKVmL26I05fZ5Z5HfoLbxt+bFyk+op3JQopkGCTQJ9Pn+1PmzzHMM0zBdDMxwSkGiroXUP16ujs6zx+pav6VOU+Sdz9Er9ejcFGuGEnUk0gXTOUNpuV0sP7hmsazRdGUCq0yMPxmqY46bfnAgFZZzCO/jz89r08V40YppY9k6Cu6YaDmKhEN6a6qYcRQf0PBjnoYRsxQCP8+RFcOHx5G0SN0fJvFf7mxUJVJj3k54HllPlEvTsZTG+ybUM6sYE+xLHvekGy8SCjbSTlqOlz5mauaRn1WJwDvLWO9XWY/3YNvhnU79qqwezIFOJtQbp2GTKLgQupNt11AgQk+hn4qOVxk3h+86QwoO/H4LPUoEvfXCFmTba0tZDCIZSz0Ihh61d6W44HWeuxnBHSSG1rTNOVIXjxw2/U7+sqQOYidAGeS6rkZ6ZoqV93TnO82agL0dRedhmK+tU59gAiilm+qanmBZcndlMHTKyHST2QK9vJmiNLSeghkiaRPDPXddUuFv3OxWAs+60DeXEcQ0w6m+nGfIRtLWqsR2RUYy4P44gjGPHxbRZI6hpF+xOamh8pk8dTo2z5CQwpAlOpBMPBXmu25ruuhCemziTspdpWSSHAzrkduKImnDKkmaRETXl6/iGBgThI//XVYMP5RGwUjq2HDpNZy/chWQPmv7Y849U7yIv8yyj4Kp0i+dP1xHgDwef+6HZTyL0u9LOWv+7Jjm1CuLaG465GLGuffzW14vxks7Izh9uLD/hHEGUEEJvXAl3mr3/D/yUPenb8gpli4mjhJAKCE2ccdFhHegH39IYOiwTZda8m3zsafxZqq+2C37e1aQvQYmxE67AtZ+947lV/bKtlH97vUYh8FOwCkDe4ePvdzia5vf0qsAJjrYZzkx279fzeHsE1tFyzYRWFAkTqeeEIyqZSIJl/Rfg0oaAqX7gZzM8HeYbLN67LSxsEiKp/BN1KBLMpZhDs+5eG5aUKIVceKeq9WtZaVLcSTEwN7JHdmJ4iAGKfQMMHk/rES3e306+JG5Z08cHVks63jC0ZGfl6rpNXn/7lkXtGxj/xrR709t6uZlX/CpQrEK78oq5PNhayCKbbAaDwaPgZyNNbrHmacq8MNzBEq0ehh/dinPBS6P6CxHLqBNgVsp6TEKd7pF3TKx8Dd/3ii52dqQ9bQwcM8GjubfOBuhrKGjZogneAlT94mjZkmXArQYm45WmxCrfQf6RNoEvNDD7d65AhM1QyGbBjZwnc7/3xQHrA2bCW9/zct038kNBOsRU3ivgFLQt7SXaiDJOsB2scoCUakvu8OPCYhgYvQuA9LsX1E7ZS8IUuph1zlDRQe/EfDGOld517wgwsNxqHoIXxH/Dpqaf9j2fN8YY2JVrWsWrnaR0qkS9VHyK3UBIHYAc9VgsjnVF+21IcMFb6QMFpGomK0ieK7+/7HwMH1iWDcVJDOyyLPKdqak1HQvljU0LUcIVxXgsy0brgk9JmUCJ3k56xMAcAH0yIB+DzrWnz1KMX/07/pGBxXWJtUDVHu72yp/hT9gLXwSs2662ofD0azSbdlIO7KDsPljoyLPf4QpJhYCZVteJJU5WQGu63O756/+R+pGLL4V9h42OfmWlhVVA7qK5vbdqsnCBSnIT9Lwhvbd2ozFoxf+y3aqqRYFWICtHDIQrAmrfkJ2f2H/14Yz77MRbrqEJWpXHQVUwgf8D+MdxcBCK5d/HYgKFhX3ElJ+n1nZsW+h9YN8Glr4VImLI429Z8B2zfT6B4+f82DqgCRqtlVQ0Wcg+XZRvULu/UqdrcI013lInSt2CNBjgKHpiNrIhBAlCcvrisUn2Ea6nILuBz3vfcnxqJDGHA5xLV1Q17CUP+yOhLOvZnhCyjT9HxOeZ6zKAi4kvGRK+KWO+UwF91HhpZfUZRlvWP+mp7P5T84fEG4+zjit9zQU5aUaEF+NdV4aZ3KEzl2DWCusedTh7DcpXvRLvttvQCCSGSfSnO8RPkJpVmmDc3I2pvA8D4ScRItwwTMQfEjUkQN5kq9gqKnC9cgSblbbSTGuUdmH6AgI55tWQZFyBVns0lp6e2XypYo+u2IxfbtIxb2xHs0ftgv6xSoL3s+zq1G5fEsAQ0si991tTXVBQMu506pLG8WOI+mdNDwz39X9d0Bxh1FQZgO2D7wnxbbqNsNtgV9pCRJwoD1BcgimhD1kDLQ31/bwXBCCs3B49VQAX1na3cT5+RPUvYsdvRXhBUkbp+TcwHL8VBUyzQioxv4cr2IOOwouDEz0cC3RAkhbu8bnHYi7O5z4YMp0YAZaQoS6F/zU7Siv6IbXKOFMbxjhqJD725Bnq2MOhlBqbpS6ioxK9q9ye0l/G1TlXIYF2ug3VopDm/2JmIUYncZt+jYnktNT6mrkHvk1J0nduk5wCJidIK4wkia0a6m5Tu2MT+Ay1w39rOT13eqWwtzqT5tnHk3IXtIizw9iCMRVrNdVSMSEa3H+eiotY+SGyptSyZbU3f7UNvAXNfhli0HD93iYoDymo9DSBYAK2e6PFy1N67yhQRg3hS2qrQUObrEsIZ3oyNLQVOYr4sJ3EnCkfokTQCXuUuWV2bf/dyIT8j1AEyi2LsrjKINhZ31YWrICbxh+qxuofbY6Fuli2THqNi97xBFsPaKIUB9kTiHn0K7teJZ8YHEAmxS0r2wSR3geDoOq9Cf6VyOBGFvgJPVlh/TKDXRdHVHuzyanyiFQtjKZe7F8MCsJZPuc9m2nd/UO5VeNWhoXKSY7vH4ssD2fphan71b75YQIz6iQ52hSu4sh+J3IAFN8o5Z+1yXFDkYOm0HXQWv1XjYRuR40zZUtzVaPpwKPvRrAhjd3lTZKF1QY8edZknlIEqEwBDm7kVgmlPjyJY9kUDsd/4QGLSRzdPayUxYZOnUenqSzaweUtEBqfcLL54edr5V5BYhA2ihdDyo34gUVmmAnkMfv6mGbmuG5pQKLGE/OhiAHQrZ40hDOAbPxh9dQ+rVp4rZXHeVw4lkrjToaQA8JihwYrWWoMIdILQchX4oLh1qAd0xSULlxmBJuO4WK4MHfywOpO3UiYI7XsE5hVE6NYh93iEyaNUR6cPbhNxiwVfVcJf/MlQkDiwCNR9DecxUHX7f7cY1oc4yLu2VkUQPw+HAj/K1LwiQy8bSpXo3C30YTBO8cdp/0bSn9uk3DMBWW4Kn4CR5AQAEy3Mu6yVGrp790d2wGsA7aVQ2XZinPh/Cws55HAL9VPbDQtYudR+0L4gA+F547XsKUB/RNXd60LTv82xxZJpHxeioBh/21IOR7JtOds2jIewKtWqG+0Ar1szL4KKeyvFeatalBo2/OOHtpRp+d8h9WwpC408W3GUo7gc7T/r5h0Ziugz78mM1dNdzFFzFpFPCKz+I8ckWcof/34P9Em/Je/ZGnvTTyIaopZm+get2YOYx/Y9L4kd9RY52Rx9hLoTve99gZ8d0YUwtHojLl1/ej2gIyWARaywvpcfTyVVL4ozBnotaqmFDZyRUrFsfj9gEm/idyVJPXzLhzt1s0CGaKFcCYbWlqx+l8tLJI5tG7bqH8adZda6L3PL+QxjLN0Ugff2NNdJ1VzeD4VfKO7R1T80Fr1KVOKg59b4xStQQ08Y7J9+eJjFX+ZzTEBAUBFZeXIclhf533YnRzcrKjb8v5367vJwMtewt6Vy+VciBa8PFcpnBE/SB1p49Nlqu6bbj6E/sq/kSvxumJjoOA71CezPdMlTC30RLpUdXULfeghEU3Xg2rzXh3LIVyq+Ad8KrAZXqXnRaeBrmVvf/0wKfpAwjo6NORmh2KWOZoI97eKJBHHYbjcRWJ54jmRhIV8TNoHYA/wQz/hVd4NyfpIXsuLNkcaOTNjmGftSXMEEfaXnJjLtf2q/97bbxXiXypDJwuzCxwB4snPdKNEHaZbWGhCcKs6RHh/6yhYNpr7JAEQJrLidZUB/d6q1KrPFzlx3/WEPxeoF5U3/7C/lcpM35PRAnKqU2hJ2o4lWpdx80PCVXtVvphZZek+6ZlGtXfzAUWbn2HLuw/4wABxv5Ya2YGBcUudOv2gxigkiQaaO4isaGhKucSb+V+qoGRafD6tCTfa0klOh8N/XpIjV/kye5XXYL+IuT5wsgQQZT1Wt23sgMqlTevxfCckWF3W1SxEyoulozMMuWXP0LRz7diU6zH3As1s6rSI4cZVac5gqU6DTAppMBtg3pb/br+o4YKwOZepsk7AxYDynpN+mynhiZCOCfFPEn+yi+74dspBhEWrvGt7C5iQBqxws9MF720JGv2STCWazicydGRvEqPpKf39mzh2CUrREBjz2yIKSDaKd2fYNWoP7cc1yr1iQA0NM197fxrBLXCjvKkheqcF0Z9p2Y5RrWecTQY7bcl1KIexxxBFfSPDlIxDa6M/ndIVNfPzUouLI0xy4WylEDPopGbKkEYn5ql+os0j2bIEyOt0afV1+Yjv1t4LjaQ+XF1gd+zXD2mWamTwfu8kVyriIujjPkzJ2jv/vUNFEQTYWCSyi5LXwcZx39k2RMsCZ7hmbqziTbqt4AGg6dYvg3VJcAX0RmkYnmoqsI36y1yQgqnhOKo9YZI9BfdXFSCvla9G5PijNj3Zfn5kjqgIbBiw2jazdxnkfxCDMVcnESeh+YtBFWY7qLSqpmCHUmSOahja1XpQhRintmWe+UK6Xbk+FSRKkBYZFgV1XpJsX+S2EKkpaq6xyt7LH8kgsWGBnJu9tft3MY6BL2xoev0gaxmNjwu0lREdu6QmpnjWryOLK4PXcHrdwEOvWjGrCyqw4sq3EF5zOwL9NTThWsGTi/l+kF6D6L5CBN5gO9PhyBnepPolTHwE81iL4C4+BZTuO36b5w3AnqtyDE56cTj2yzqUAjrQR0sg+4QvSkcGTTrT+XnoM5q6sgFt2AtglhdWNIAccdPWGvv8gGIrKORO1AxFW75CTdc+aifblx0JhNqot8WUgJIuDbJrZr3Ymq6Zfa/q2SWnkV1eSkF5meTs7uSPKc7uAu3evGkGJSqLpglAojEueXyifKloazbJSqqYVAjw7kDuhe7g0MmVauqzAbMuDiPwkH8WoVuoC4GSEfAHOzxhzh5JbMU7faytAqMiz1z7JbrPfZVR0CUAiSga8Pd+E3DWI+YdDnuzHZq89Uz/H8Fog1C8NoiXaXLcg0ycHQkYU9dgrd8Vya5jESgVt7wspbafTHB0OAAPSpQH7wZY1/Uh3Tlw7iMXyTogUqJVNSSIGMP56EHxFaK0q/MVGDge6e6NnFkH9PAGg4qr7/YJDBeT01sT1sRNxU+Kj98Al7I7KVqO3dHwKI14hao9F6tT2NRvl6MbVJyewkt3zpbLpyMJix/1bLFizXYw6klEeEc34iIjx9eXSYV2SqSXSQcbmirdDm/ce78h7LN3I3aAvjZ0eFK/SmiEE5ko73BmlSxCZ86g/9M764iRLPNbj+9XOKaNNWWEr/LwQ8ngBiJ1iP2G5H+5Yki+u4PwHHSUoFc06PzfWyAgxHvelWrS2ZdT1nbxUopjTw5khqBRcy28pS1z2D8+5UBob102ApdHqilf8Tq/MQXZLxm9PM2WifsoiBRHwNaYAjo8ttC89EY8EVzTTeWzdKmlFYFs9wtV4HUSTJJE2FJgfMhe4nYyqn1SXefdISD1j2VBjKYtst/LGZIW2JFO69VFShRROOE/uatGgC1pauZ2lYBkuexYSEYKkyig2IcPfvmgiOi1qM/uO8djsc4amJYV52eFLBOH1xPQDYApOIAZm180thjV/Ama1Z9yOCrBbhSUjDlNZoPYNaRlso/8kDhxT9ji030lTqrMVn8GAvj4yzEzf+S+Y0f+B2H/hHil0DnTcBS8i5XB04w8tjyzljnGyENZaqL9OzfQ+nFZOCj3i6wGFdGT8UwfbT+/E8Y32sfZUXh3VwtFKRAXeDIu3FaYjB3VEE05dnrmdHjOeDv0b072rcXKDmUDi7jgRVodCeIRGnRKfzAMEX/X9a5mvMu9Zmm67jU8vVsP/IIRyXeT+ka/6uDaO6xyra9QBAVTaiGnYBHDW3/7vKSK+/VzLqzGHXbbz+kgcmU/5Gy8Qzu1KOI5WATECQXJnyFP55wosBdbZwWIfK+rYJ5o//cZq22h53jIy2n/MRAatvm06dPtofRzDA/rn4KeaPt7LtnCs+VpTmYXAXYi2S77m6CjkbJmVJe/anua/cGl5a0B+gT3VJtoL+eCfVkRkgO2GETTIBmW+rn3j6KAawPv90UT9qnsFGqAavrg3WlE1fu7yes/Sjy44OaJzMC5xVVNRxgsYzUfbdpllg2zAV+L8W9q8j8Zr39skzLfqGWzYg2ExhqXcclu3uW5z3jWI6DewWz+prk4vK8aU9svX309r/kok2K55DXLh2UZbMnSFaIzEq38uYotXYW9apnTJGkizkXEqZt727BX0/BlEjfOF9rVrekbf28j670wwAXzKMVGrM82w6KGlK2gTjEBzMOLIwyarwf1Gdl2lNLvbwCAoDw/kYjkbOMlHQV8vKKv/ZdoNrMOHlPbpQBIuBfSDtt81PGOCf5lUWZGZXnqAMzmcuiyEvNaNYB2hdnXPhZKikbXgD50F9+k50IUvECCgdod5nBBWvL/xsnxw1Bcjmoo7ZeJfga1IyqOlZs2c/4eAD/hAwOdZzf4EJdufegpjQoMjqJGGVnLnfs71mOhVPlw9z46sNMLBl9KEvO0Ixxfc8gHDwkVIhcfgtsuFU+ClYGXZnOt5vRyThzKUm/CzyC3Ph9anOjzdnrCnLMRwEn6I5DoIlOljIfRoPZbq8pD5mUYLeIxYYPexRRhwYXGbXaR+Hdk3vtZCEBHSfcAzAod6IhZssmKx9Mpt4+nino8ipFm+zzwEsqoTGkYMN+QQJy1FMQzpkw7SsxmMCmxYdx9L99jK2LZXPTJULw9WewERCQDNeMuxiD6oA+rqtydfD//Iv2rSmfw0Km86Qv77Pq/nJiI+If+58oKcWua294RR6gdMTxl5Snf7Ws7wxaVmy/qKa2FCYcL7Jg6STGK4DSvhbwDqniT3AbOL5/E8mbiZPpylIPG6mYf5yqfXJj3jYJL2Fmsl9vWm5frJYUE72hKrOFt8a/RNjPG9YhpjRwxl7bZCDe53bqc2AWFj8euPWirK7Jlqjc3UTPNb0OaQvEJgp/F0A0fLa9uARoOyldB6NGO61PdavlodkV3IDIZXNI9/087SDm4wVAqFc1I/mEs1gYpJ0NE4ndQZfA07UttNlODFy7MCIhtZ1nVRE4M5n1dad3ayWUINKc/M3gTPKksoLYSRW3bEil3F7Vdt0u9w7SdMtHbZ4ETzWbbln148V+eW95lgc7T6diX3CUnIOraN+6JdjRRp9KHZHZY5U3GKhSu1tcUhBuePJVSVzVHR2pM9/Up0du8QKP74A+COzB56Fu4a/xs5f8eUO2GnwJLoAFNLVj/wc5xZXHIVBf6XOPCXNYlRUEqYWAKcUUukbl/TOq0dQ2YL7XmGuUJZNrcXHFRtzEOeA8nlFGSRXlSIAdER3xSq7/wlIhubYmK+Uk2lmQfNAsDziwb7LFscnKASUxSfBSv72pRrYErm75O0wHMm5mBJZoMuMCdNumKDzTyF1bOWSTFaN+8q3HLppjzKyXnSxAoqNsr6s7ga0r1HZMA4ntRh+bjX8S/offTnO1e/Hzmu5y/QypeOHG46lI/kM+RWmxl1nQ2DO1q3PVG1meFh9HOwd7zKr1qp9kq6rj4ZsYfgDM3hr4XHaop8UYD1uPQA66wrNT6oQ3G3BmM4iiM+/EiPcXW5Y9KOAdRqOoXUPRi/iEce99fNh3cAraibuvvau90+IKtSmzH0febXxxSVSZQu8cxdm2mqIS9O2HOe7fOhnr1AQyWRJ7rzmkyUf3k8P3ILsWR7ASMDXzoGR3ESqFvb29dX343nAvDnEjeF+S7577rG2rNfL33PgtND4ZTzUUL9pGipipMGvA9HBmJ6vQh6Zpyc/HIHCcf2zjmYWPpmp3U15ZKIx7qX507AcURlF4xzBkPrIp0zlmgwq/MbvbjE9C8g5cBNWe9OyJRzcr3riYfIgke3z9QZarlaznOfv3OIqZGTBL5kA+u2KRuksEI09sLksUcvQfkHP6ne6gTL6XfZU/Ak97rqz67Vl/Ge/xutcR8JQOT3hloF5ScC/0PsaoIFAYKsGtSEDVc9afX/bdqoVyRkDCUdRPq4uft5Bx8tCeg/xb6yu7LeT2sr3gRS7UWy7cEZwwrWqm5a/R6BJbWAgniWTz67A2Fs8QZf0OVFTdoqjL3dhEulJ91G33K3TT6e6ENvPp6/nWCuI3/i5YcEi51jPXqICeUMY5lrM6fkZttKye9leeVP0vw7Le1YPSkXJH5QPpWXdJobbToC13cEVQQU2EqA+UrJojG0ljo1pQIu1xSesV61Ts2Zpepvq4BvIoZqfhUoj+el7zTOqT8+9fieOhNhQe0NBUxu0rUoV1soMF5wpgiPK+j96qBYm1uTofAdTapnjl8LRLs9/xGuhf3gdZy8BwcA2/xpC8I1R8OkGZxb3bvEaUmdTITVID2GWoDWPrivkS/Vm5NJPbTAteObZ0YCPHr6+Fk18nsFaBzDVNYLbRMvkDkdTcpEJF9U39miv5/Umvi6pohTJE3FFqqHzf28RICvq//Pym2FPrtfsegNeD9EzdjJ/6ASKMQiCwDjK+oDKM4Ju8g+ZvA6mtYBQoX26A+YB2hPZcsC+Sw7kjTPxye4cZwWHkrmp0FyBO1zx8M3FCWfyMFm/fNuHvjEy56zj6+wrCBG2/w6APpGOIx2aMgLFnNnGtFbV9n2xkl04Hy3HA2zymjo7GKjuBSEXAG7MY0c8/tzw0K2nOJu2IpAQfq7y5lK5Ybzx9+0KnbAtbnmkE3RsUn7E2d4Q9DZWkUpl/lpU7Z/aNcudoVNYPifnTGIp76K6M+XnFeYtfvf16e3vNSaNbUzK5jzM1lsS12Ud5Ks5Z+D+WFbU0PV9WjwelMZKRWcdj2nFaqRzkErbsHX4l9iB8MJg/LBlNaz4TtY4WDPU4ypiO8apoH46dm+LpI008Mxq0LveusDSrXErV7v+MZZeGcmWQF7/zZkpCobZJMr8hdlDyfv5bE/uCSXdqYhQOjUJsSp4Q4zCYRAPohtZufUGQ1aJ+8qvcaAK9mihz91kQLS8ccdYCDZMD9nPaKUcjOpdD4hoGIAc58FXKge9Z0JJSxc/fvgQZmCdV4iMksSPiINYAVc+7yFi1fledb8rfrzwEFTsRFH6OCL9Sn9vqgHZetzJpHl/D8spCJ4ZZC+wyCZ3PYEG6blLbpG3j4h2qb1l1UxF03js8od5yRisU5IJgPIOb4hUz95t77LuzxAknJNfjExPCTyaM9RWfoXr8jVshIsZLkbG7D6kfKdAtXPKgdehiJrg++n+6Bu+q4DU1VAPauqlLTSzBEMeJnksG3N21kEiRMNFVzoSTdEtJwyQPxCcbuLIbrbwoix1mrwUKaYx68frLfF9hkttre1/pcMBoYeQdK120XuW/Z0izGXN0xIB0jCcV84XE8yVSrXLvf4wyZZAFAFFuNvuQJKX0Wuj26IfMPXMyJ44mMb1w1GZEXc3stezmILA2NM0lLKNp2G7fKAQX3TId4+FbXm+n9Yg5VWpbFQeNaAcFi+M+zV+tLI23EHzDjDaitvwzfU8hABTNW3p7QKstMUU5J1mANLw0jr6SEHA9sILMPiwzCSsP/BrCO6THW4+d+4vJP/Zl1qncWoNU7lu2okriGQzai2OXH6KA9qeQxS0ZJV5wk6Spg8CH04KvMlaU6nhoINdDWvMJo5nlowVJKv9Q+/eHSAdulKWZejQ+aeml4IF8vAE6EH3a1rI60tvGY46ZIVcUnXeJCKvRCTBGkaSQ7bhF7jD7L1yZ4chaFORMwzlbCeQeVAyndGzCSnOM7i1T/FQrK3QAxAmXcvqzpAZ10Y7O1AXWWN0W3BStlPY256QMHWYuc3jsa6jV+MeAzr6pQIH12BYAITsJvL+wAB2ZfD1ivGdAQduHoPMh7B3IqRz+KB6a5seus+ZvWwc3yYiqekaFlUwB5xCvolrDhI7wTvZ5opoAh8qCEjRGunBnyc05gPkk4hDDrc8GLjlHjW8OYtD1yINvKWk1OZ/+LNGmDQThIAw0dcnNdvUCsJIzm2CvkmDkyP5rhakxPx+406WHXKgbJ7fb89HO+p/BAst1hMI+BTlMUd9sY5THfXFx5vrwtrfzgLVSwylxq5udkxt4zlc7x0ETKzdpAeyW+qB/pnGT0ytgduV3NQ/K//6KqIHVItaQd6Y0iHBfu/xLi9Ihd0c1waokKZovfl+Y/vG88UZWotiM0m0TXuf1Kd2wE3ZoCkFBwPCIARUILoyx9udIbUzvQfxA8tsr9Ad3sY5/snl2UKa6/dQqWtBSBwXXYH5Sq6Du/tWQOVgwCvOYM7a8VjrIjR6rJ26LoJRfpjVvRingFRhIX0LZ+bz+cpMaLcRQvfljCEszx0uASnR+XGnKe9TZKb0FGohKiAUVbSSdt3FWZgQbeidfvwnAgtIeajVIiwTaOPd1NpVHuO7Czm9ScqZrKqGmkiu/7X2ZmuoImQKdxcbGl6dnQMWtG/1BzbTNN4/8aQ/Sl6443f1bUwXG9ou9tKh3eGAo84FMwSiWyeAbph6s0myBrgbZh7Zkg146TxLq/C7sILLxxSC37zeqRvdC96M7fj9ECXN5nYuUjSaWz0kBSWVkELzEg4LtlMepoa0SyUdjo66ZC9RHA3EBztrBFLuX9EcWyd1I2Vy1RsSV3hLNwGGOaWAZTBgzknvpW+lYsJqVbt9nl5sGSfbA==">
            <a:extLst>
              <a:ext uri="{FF2B5EF4-FFF2-40B4-BE49-F238E27FC236}">
                <a16:creationId xmlns:a16="http://schemas.microsoft.com/office/drawing/2014/main" id="{5BD4C3D5-E431-4161-9258-ED8E351D170C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251324" y="1533771"/>
            <a:ext cx="11591637" cy="5015345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28B0D1D-B708-4E5C-8946-4623220530F2}"/>
              </a:ext>
            </a:extLst>
          </p:cNvPr>
          <p:cNvSpPr/>
          <p:nvPr/>
        </p:nvSpPr>
        <p:spPr>
          <a:xfrm>
            <a:off x="710255" y="5209953"/>
            <a:ext cx="11210968" cy="11463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2D227E7-C960-44E6-8405-949A4EE87C69}"/>
              </a:ext>
            </a:extLst>
          </p:cNvPr>
          <p:cNvSpPr/>
          <p:nvPr/>
        </p:nvSpPr>
        <p:spPr>
          <a:xfrm>
            <a:off x="7513783" y="3541170"/>
            <a:ext cx="4418386" cy="178305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b="1" i="1" dirty="0">
                <a:solidFill>
                  <a:schemeClr val="tx1"/>
                </a:solidFill>
              </a:rPr>
              <a:t>20 field/NA reps generated &lt;20% of YTD RMR from accts</a:t>
            </a:r>
            <a:br>
              <a:rPr lang="en-US" sz="1400" b="1" i="1" dirty="0">
                <a:solidFill>
                  <a:schemeClr val="tx1"/>
                </a:solidFill>
              </a:rPr>
            </a:br>
            <a:r>
              <a:rPr lang="en-US" sz="1400" b="1" i="1" dirty="0">
                <a:solidFill>
                  <a:schemeClr val="tx1"/>
                </a:solidFill>
              </a:rPr>
              <a:t>with &lt;$250 in Parent RM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6C849EF-B8FC-4A03-9497-FC2DFDF4B708}"/>
              </a:ext>
            </a:extLst>
          </p:cNvPr>
          <p:cNvSpPr/>
          <p:nvPr/>
        </p:nvSpPr>
        <p:spPr>
          <a:xfrm>
            <a:off x="737740" y="5526001"/>
            <a:ext cx="11155997" cy="1146396"/>
          </a:xfrm>
          <a:prstGeom prst="rect">
            <a:avLst/>
          </a:prstGeom>
          <a:solidFill>
            <a:srgbClr val="0075A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44 of 46 reps get more than 50% of their value from major accounts ($250+ in RMR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Higher ROI = multi-location and more complex and valuable solution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67EEB92-0DC5-4A6E-BC7F-AA7F0EEA2D5C}"/>
              </a:ext>
            </a:extLst>
          </p:cNvPr>
          <p:cNvSpPr/>
          <p:nvPr/>
        </p:nvSpPr>
        <p:spPr>
          <a:xfrm>
            <a:off x="6677816" y="2588675"/>
            <a:ext cx="2373187" cy="7485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‘21 Avg total comp $142k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16A9CD3C-C5AC-40E8-BACF-6CB52B64F314}"/>
              </a:ext>
            </a:extLst>
          </p:cNvPr>
          <p:cNvCxnSpPr>
            <a:cxnSpLocks/>
          </p:cNvCxnSpPr>
          <p:nvPr/>
        </p:nvCxnSpPr>
        <p:spPr>
          <a:xfrm>
            <a:off x="8739963" y="3078678"/>
            <a:ext cx="501857" cy="3832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619AC5A9-E88F-4D9A-A21E-39AAE186384A}"/>
              </a:ext>
            </a:extLst>
          </p:cNvPr>
          <p:cNvSpPr txBox="1"/>
          <p:nvPr/>
        </p:nvSpPr>
        <p:spPr>
          <a:xfrm>
            <a:off x="2314070" y="687934"/>
            <a:ext cx="61910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180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cus Direct sales on low touch/higher ROI relationships</a:t>
            </a:r>
            <a:endParaRPr lang="en-US" i="1" dirty="0">
              <a:solidFill>
                <a:schemeClr val="bg1"/>
              </a:solidFill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31DCC38A-6707-422E-B0EC-3E8DCC21C984}"/>
              </a:ext>
            </a:extLst>
          </p:cNvPr>
          <p:cNvSpPr txBox="1">
            <a:spLocks/>
          </p:cNvSpPr>
          <p:nvPr/>
        </p:nvSpPr>
        <p:spPr>
          <a:xfrm>
            <a:off x="251324" y="74313"/>
            <a:ext cx="9042541" cy="691947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bg1"/>
                </a:solidFill>
                <a:latin typeface="Gilroy" pitchFamily="2" charset="77"/>
                <a:ea typeface="+mj-ea"/>
                <a:cs typeface="+mj-cs"/>
              </a:defRPr>
            </a:lvl1pPr>
          </a:lstStyle>
          <a:p>
            <a:r>
              <a:rPr lang="en-US" sz="2800" dirty="0"/>
              <a:t>2022 Plan: How we execute on our sales strategy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16B52FD-F603-4388-AF2E-60321D46AF7F}"/>
              </a:ext>
            </a:extLst>
          </p:cNvPr>
          <p:cNvGrpSpPr/>
          <p:nvPr/>
        </p:nvGrpSpPr>
        <p:grpSpPr>
          <a:xfrm>
            <a:off x="281074" y="1206857"/>
            <a:ext cx="2928786" cy="564193"/>
            <a:chOff x="281074" y="1206857"/>
            <a:chExt cx="2928786" cy="564193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E39295C-3C7D-4371-B2FB-311ECA67ECE4}"/>
                </a:ext>
              </a:extLst>
            </p:cNvPr>
            <p:cNvSpPr/>
            <p:nvPr/>
          </p:nvSpPr>
          <p:spPr>
            <a:xfrm>
              <a:off x="1026771" y="1272472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mployee Experience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396BAFA-89BC-45D2-8549-E17CF1DB9D50}"/>
                </a:ext>
              </a:extLst>
            </p:cNvPr>
            <p:cNvSpPr/>
            <p:nvPr/>
          </p:nvSpPr>
          <p:spPr>
            <a:xfrm>
              <a:off x="2514941" y="1272472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&amp;A, including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aterlogic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6DB3B138-593F-4BE7-BA6A-ABB03D00F693}"/>
                </a:ext>
              </a:extLst>
            </p:cNvPr>
            <p:cNvSpPr/>
            <p:nvPr/>
          </p:nvSpPr>
          <p:spPr>
            <a:xfrm>
              <a:off x="1776028" y="1272472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o-to-market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620B6419-CDC0-4976-9F7B-FBB4CD2C1812}"/>
                </a:ext>
              </a:extLst>
            </p:cNvPr>
            <p:cNvSpPr/>
            <p:nvPr/>
          </p:nvSpPr>
          <p:spPr>
            <a:xfrm>
              <a:off x="281074" y="1272472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ustomer Experience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7D73305-58BF-455B-A0B8-0CA6B6B2FB22}"/>
                </a:ext>
              </a:extLst>
            </p:cNvPr>
            <p:cNvSpPr/>
            <p:nvPr/>
          </p:nvSpPr>
          <p:spPr>
            <a:xfrm>
              <a:off x="1703058" y="1206857"/>
              <a:ext cx="823521" cy="564193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rgbClr val="C00000"/>
                  </a:solidFill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8047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9B908FE9-AFD1-4487-94C9-F8059857CCF5}"/>
              </a:ext>
            </a:extLst>
          </p:cNvPr>
          <p:cNvSpPr/>
          <p:nvPr/>
        </p:nvSpPr>
        <p:spPr>
          <a:xfrm>
            <a:off x="9919252" y="198782"/>
            <a:ext cx="2078432" cy="2266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7DAE13-D2C3-4EF3-A2B4-E736A47AEE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D11E28-60AF-B543-AA61-E2BD0459882F}" type="slidenum">
              <a:rPr lang="en-US" smtClean="0"/>
              <a:t>16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82A176E-4E1E-4608-83B4-22AADC449E92}"/>
              </a:ext>
            </a:extLst>
          </p:cNvPr>
          <p:cNvSpPr/>
          <p:nvPr/>
        </p:nvSpPr>
        <p:spPr>
          <a:xfrm>
            <a:off x="8659090" y="1334655"/>
            <a:ext cx="3080327" cy="91901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b="1" i="1" dirty="0">
                <a:solidFill>
                  <a:schemeClr val="tx1"/>
                </a:solidFill>
              </a:rPr>
              <a:t>Sales Director / Territor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B689013-5683-480F-AECB-B5BB1CE30505}"/>
              </a:ext>
            </a:extLst>
          </p:cNvPr>
          <p:cNvSpPr txBox="1"/>
          <p:nvPr/>
        </p:nvSpPr>
        <p:spPr>
          <a:xfrm>
            <a:off x="319373" y="6548546"/>
            <a:ext cx="746997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/>
              <a:t>Note: Based on RMR of bookings by Opportunity Owner, Jan 1 – July 15</a:t>
            </a:r>
            <a:r>
              <a:rPr lang="en-US" sz="800" i="1" baseline="30000" dirty="0"/>
              <a:t>th</a:t>
            </a:r>
            <a:r>
              <a:rPr lang="en-US" sz="800" i="1" dirty="0"/>
              <a:t>, 2021; Parent account RMR based on Core Metrics as of 7/15/2021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D69ED9A-F8AF-4A90-8640-2F7918B12D99}"/>
              </a:ext>
            </a:extLst>
          </p:cNvPr>
          <p:cNvGrpSpPr/>
          <p:nvPr/>
        </p:nvGrpSpPr>
        <p:grpSpPr>
          <a:xfrm>
            <a:off x="319373" y="1419069"/>
            <a:ext cx="11711448" cy="4818487"/>
            <a:chOff x="259831" y="1423003"/>
            <a:chExt cx="11711448" cy="4818487"/>
          </a:xfrm>
        </p:grpSpPr>
        <p:sp>
          <p:nvSpPr>
            <p:cNvPr id="8" name="Rectangle 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sQGbZh6JTXlJsvjRdsJ69evslQMfy1ZtjV8VakvpttFLpl/3iuXMA2X5swWxR8qrjVF/wlRcd1scns67R77q+E6m/uHQG/F7b7cJJ7DAYjlNpHnJL8bMh4prJ2OkYVZ2QeLj39ibszmzNjuz139p81qiteYh9/KNOvt+oM52zYPLGCoNMMocFdmQN2YpbYODueL/X/Mne2HbxsHTdBXgT6jWWp+xkWJOCymubC/Bs7017iX87NgrBaaEB03+R9S7GHH3f0jqDpa7HtOFhUKeI3zNmP4ufu4jqETvMUqtcCV4xZcWCfgu5iu/uF59LHPyAdySkpOSHtgKzhVg9NAe941/aQvcZlTjUn6LbPvpoQzGY0N4eF1nu90/o2xR4md2Ait4S98gGLnGbrQIl8Ao9oStlaornAipnDjwSZ04x6F5b4RKF12NU6+HOo5sMnSJBemkGAB9y1CwE106Xw7PaJlUCf84OaG2t34bNUeakzYngTIjHB4am1vr/W05pDvtEmU4JbIBN1uZ6PFE6LPxKC1+WiCNjc16TI3Ft3DTYmVmS83LzzcFl64v0H3qDrCqcbruyBbmxbrcyS7ASCM/264V/lZ2GUoOdxTCW/YOEYgbeIZ/zBuU4ZJKIavbO5mUPp5Mw8kiNJOLUaelJDxyUKHku452WFUCbcV3ocgTmPY5Ld2XBkD1aQKzdut7EZSBBvWG1lfoKFP9GIo9P+V3MXm3IzqM+GBnCsPsTs9WOkNmEsLaQmjXbP8nZap3bGY4WZGc9vN6qI9P+D9sAN4acyS3kYLbJupiJXmZ50I38bHlNxNnL0T2fMIeHelBbE+FioeLa44N/lphKdX1u9GFsNlsK8e/p6TIM9/ZeeauOhvzUofRrVkolLCuoYndlSKQMVQNLmNqBI8NbeKAkGspctt7myektSJi76D8vC61146ic0uPgWwjpgxPWTeOU/oPU/Yi/go+XQw2xTBT+1HwODcfMNLRnN64QN/urCh1mi+FQJbatNXMbsP6jncljZ2p7Wjvfh9bEovUhC0DJcZnZoV9xL04fWpzqglyrv+jrlBH6rAtRpqi9ZmTGMTYZMvzcJiqNdTU7c21+34gBFPwoGr7u2RXOJ0YTjVfqw4gw6xFPQsw0AIaSMR1snEohIwrZeTF/4Rv3oFKS0YjemGfnCSTPMUau3YpI/ZQd2SRCb5m8LavE5e1gZdrbb9oQ9L4tb4g24KLRKEkqn5FMDfwpv772+RFGK9XRvXa9Le/d9AY65NF99Cam14Fl7Z3Qtzo9roL0DCubWQ3g2/5qgr73qWr0ks2ulPMGLyEd1Vf+oXgHiyfJSKZgVQ6xIyKr3BkzHls8kGqGhYfsLhuUQjm0Kd01FqhVMFXxizoDlEcXgmXajXFf3wQiuhc82cJYU5Cf1xhJly6AwVg2Uam9HGzXr7KPsN0OD/qm1ZOI41Ni+frjK++kv3LkM0J/x/OfbPnAW6jPKBTd9j10PAh633DdGGRKE1nL77up5M3OR0DEeXLeiF19okq27Yp4Ij/HDPU7Uk6XpaUZN4V15C3T+WN67IPtOVMSydKaYGhRVnWbJ/ixwJTX9Vj80U+TXn/J+h4OaEoTe/mDyvPKZE3s45gXRkcI2T5Pstu2QZQeNbY5YAKNXd437uW0N9zzaEWDmiNhGCq6Xjom0i+K9AI1LYLdTQ2G8VrCvi3lD4jT+M1vNae9zcbkTBmbeyT1HauGFthZdqNTDx5rZ0s++GdDba+RusMkTO4jnVsTNcesRPtbU0kFjNwPEp46xeemIu7+10Ai+i7XVcU3/H970FZQFAy4KZwt5OlI6SiJ/D+Gl2iYDiolwVJM3aLN2oO/Gu+UfC2X7CVJgHrT8xJsr5NfIM/0uRom96OtCIv5Vxsuzce8lmGmYXHcioh/4mQdMYSEWtUDQfL3RN3IT6OdIwqXunxVQLH9t5X1sH3WUrl4272xUo40erqhR0aunwnKMw3CVOwon/+vbwKpQH5hL9Jmd3f+ly7qibImMBfK7fw91lmu0H/3CrnG/EK9Iau6/2GT5PISvZTYQaZAE48KswYANY2LFDhTQy8xv2VX4tywr26iGYSHqKL/aRVpZvg4AxW97KrzLclJnGHSpUeoZ+Xm0talzhEy9VakzMXmBPrwI802f9qTeUpCuuxLDTm/Y0rVmGcSziB0QVbbpX2+S9JiWHXRPCuEWsDl1vOfeqs0VFKpKdejrH9sdNnHlVXWbq2J78+Yxe575Xkzldup3rb4WfE0/wZQoxGtnSgymuJHL6RSQRN3jkDd3dcLm9UWakRoRVd2IMPsN3YwK6XRwcSulxVeQVLgRo7CZKcaD8gRj1s1O+SxRMMQSmC1IXoa/cs6EtnpZq7WoBgTMc8SpEyKFpFVSx7ixsrpTNaWGhMf74dx8ZiA93/K74wzSt7sFAcHXmdwboS+uv+octu6++axqJUcUyT18YIofZc13JthvLFev2gDvV2VpmLw5y0bYTmVkMDUwcej2ehxkXKDCp1axGlfjjPiWrRUh6K+bP6wn4mOVP9MFf1jIuXJDRyB10PsV62J9w1/NbbtLxSfF9pGqyIdT318sX7izwML8Gv8ouXI5rsu6IM2HEDC9gDjc3lgGyeraJdSbNinrtS8gZwO5EDdoi23bWP41XP4ase25tHW8oewelMOwy1Hj5NozdIwWFUr6kJx0RDcFFpqnlcKWuTAj217OePPRrCgew+1erK1hECiUEBXiblWtwEpYYhTkwbFJkUnTjHeqGHnmK/w8TrVTjM4d5V2g+eUnp0LzCf14vz117gzpYM++lsCxUDsQUqeI+R/QXhsIYS0nT3VSw/GI5wcD3CH1TNLuIluekNfUy+Je/l+tELkacPT4EGjp80sqsU9ZZ9vvKdIXxJfmgUEpPEBx39UUjLhMzhHF4lKJ8G7sfqvJje6sbYjpHMEJbpgAK4HronLUM0PfX7bpzroT+lyGnI9/uauPMu5DTFBNhvZxAxYm0Mly1eJL1kr2g2TySyfm0BQf7ROmKfRvdTqyETVjoOr2xCrfkzcnS3UOfaa7CNOeLcXTUIvuFHRMvD1qbdyt7br915dGAuIZUCW+a/FP+QnYM6psmka4T1a0XEgIQSuTxYs1lyj1smJcbkHwM9jraPQvwsQ9jSyLD68CrEpJVumBiJuVigX7SlXlFXlJ5DVNrNCyVdLoxkF5pEEuHq1AYxbuZVLSui9cJtcvwRW2spxaV9ZRfuU2ujobYxJZjD5qmqszdA9Gl54SRRQsXYHDMAJlcEArwDovpBsz4mTkJMkg+Tjw8UTbsJWgDm40B4C5KRhgewLYTG71exTs6pqqGNZVtbs/7Vo06P3wmwKhccFinlcFixG1L6M1eS1lAohTh+TKd0RbS9ODWPk+pvZnzLnO1keQAPV9hWtf6mE4jjqHJTRqw+RFyE4auLiSrCcea82JEXYqPwhLgeoF4LuzlGr/B0LAKBRENsZQgolexlmHQD7/+tf+mOwDV+HP+GiRYUHcE7+YsuGkL3AOab6nXwiVNMkpWu0XclnUg7QrWEuqp24pt5vEM9ytSOqGLOUyjJ6KSHvDWcxkteUHhD351HiLHtQKik3vqI13G8fXJ3C5rmGZh87uE0ybs0e0b2mEl4xXkVZ0QiomF2GL2NiEMKBFmnmq/1qIkmSA+XkvZD1NMNbbTYk6UUQ7scJDXhC6yEBkBg2OpFiJNz0QHlgOhhTSPJJPbd298+F9k5x+RzGW6xyKw7Ne3djq0w+zuGpWdy2Na8lTY6VxM1TPbrV4SlU+/PwWaF2oyJmqA9GOIw8rpVYVVDUpvLyTDyc+euZj67/22/ekhHoK/Ymu8KGLVAQ6U48rvi3PTogI1ZpoaRSf7U5l2Hw1WxI35b4GuN9vaHk/m4GQXvCrlOJzhr9g35ZK2MdTFbUCQlhBdE2Kev+Pmy60nLvRT+1dHwGVeIW2Sz+z1VwZOBIfgID0qTsJMYVHDvjIqj4NlhYILKRWmCEI7GU6cBf3DlvCtvtypz4lM+Ck/Wsj5HROFjVLz21rroldY8BzXAA6O4Ig2tiH9SeNAGkRRFxXJ2Cv/kPsogbBevaAiI1OsOcLvuyK0CoObvZynTLvQipU9zfV6sGgqajJ6SsZtnMdkCmOLazTDCR/fnanTJqmDfPOErWWEJ35v+NI1aOgSETsN27M+U4kFLcLyZz2koXRkExdKylrkTN9//skrSPmxRLQKOasq3iya7ZlNhJiF96wTo8nnF4ocwXZxK/6jFfk89EWCK9z5NTK5am3s+FB/5D3efeCQg1jM1wNosOrXbh1AOiKH5NswrmBGh3cnN8CXfSPKdUgfUCmIbWlelqxOUe1Kn4qPH9Ok61jVpNUcOxSzPVL61oFu/64/Z9btQef6fXMgg4CUGm5NaQurezc7IzlwU8Q3gmANzvom6lbYfF6Z5AlvNnm9eccHTRsdiYGCR20elD6+rSoXpMsk1cnqdQpc1ZYdVbplIapwBTycOeFoVeVWqpT6W+30OjXqNvx5cztwG4KzYaKBaq8DY+pZLciMLmVtNTwdeiX7JSF6sgsxTaJ0I3503zSe7M5Ikmu1amBbfEpRSvPmZ722fMWSt3u281PXqfMtLI4VWUhCbpGteUnUOkWIJahOfQtN/bRvsArDxOllmbY4F38XHYSB2gX/LMeQVcqdUzTy+Hr4nAMVu80LpnbViC4tt+7/+UsZnRpgbEqg3KPQIq+SFQiHFtg1cYxQh53c2lW9Ij1pF8hBLIFJqFhBYn+9e8YcKN3FXyEM8dqdmS7nm4vXZk9tV4A5nHox5ddX3xVM50v0esOwV/w6QNQUVxyayRmGF4bgM63SA8jZvKM5caqIuvsTzek/nPY2bxq7xMEYIsOIk6dupJYe/K+jVZSoCF5ZfkAvziFYbxb31FBDw7RNLAFoy3Yoj2ZUZVSCHkQotiRTKbQh/ATHdBzjkBPAc0q4JrRytaU57Nkm4hMVSawU6OOTYvZWCCG0TK75UiZvl9p1OBk3ei5cYuvYwQ7WuavefMvIA8hweqQlBpbg2aYo0bOaJfoZjK5D2coyr7aec+yfIQ5TfZW4AeOGG40deXHkXWNRsDQ1pu7ZtWPx43MaZ83jwNQdBE+6jBQdpXdqavTzqwYcSeyf16kDDsTnTColyFek5uOTjdukJTxsGmGc8W12LJ3Szij/A8577cfzD7MmHuC6uznouEWcBbH62p1WC2UlT2mWjwQzTy6c10mLKNJ1BCyhTUkuHPv7rSdMQsqAy0W1Z6HWh2KImVgufDOCgn4CncJViw1wY+Guc7gAFfkNPrQFEcqi8Nmbgru0oYadBjU7BK4gZ31NjAO6U4h0SjXelvElyPXiDjaVUaRZRaqySvk1Mvk86zNmNeF8ti/cPEDMfHdG+75CCMNl08+RxMLA7bQnt9iKZdN7g7ZFHrg0U+/4UQ6IFL2+7CpcB/M4YXcTQcOz5Non0ZhXZKS85/gnkqccARfOEi0C7jsE5L3H4TUN1vNsRkmryzBweP0DYqcYLXK39MsTGDg7DyNwBaTDAHc/CyW9eSZuqlYjO96TjSI920yQjjuXZN+V9THSMZ2zYh8BnBMeAzu43N16fz9CBLW/QGpO87qlTJGNlfdZ9+aAeTLyWyI8JfbSHUMXS9Bx4au8ZiWR+90aRcwCO7pqY8z3rlxgKQubS6IL2SVPhdlubrM+7WKzun8VjbZAA1MW6vaFcV/6BIMqpK8Jyjj1GxxS+vjmIspz6Q1HsB04bNfGFT0JocZAeH/OHdsmz90NfcY6PN88KCOIAA83484LJX+icsImz+Q2y0TMRRKlvJI07dsalvcY4bKE2CUHMF8oWLfQVi6vjvTyF1ExdUpvDf7ETKZqU4mHAhxlgbnfMsSvqdnbAVsT+ArxyP7lXj+QMoRYM2Lh86R+mB7dUdMw1qKCSA7CKob7cU+QNct4VqfEHUtl7WimmOdE02U4+/uCQ/VxAYivMUGqpnB64Ct+PNQxhbHQSjUi/Za9sH7qsWQ78D61gDZQegd4yx3NRKsXUGRhA4H2rc/aNV9BylOI2Q22ZaSmki3lIJ9lJ7xvYB5icFgJBefrlawQ/V/EodCG1BT6dfhePT81vbOmniQgRiGKteYV42tWsQb5+MiXXzIGvZm5MHpmem/vEQlmqOtNgzmhhl+/8p25tbQZLvgCb5e6MvP4czZLsuC5hUaBfp5Riijs5XWHp3gx+LKJc33ZdUTbI9VifXEBeTf8XzAqXpdobUmnOshOGpqoLwVUv9Dm4Pl/9kWwGc3lSBLcmeUAk+eXSNgCJ5dZv51XAoY5Si1+Vo0fLZRdcg+YRGa8HhK0QDVDV6OBpzpME0pm+ePQnt2GLTz4+YEm2jBOce9BfYDtkm4FmD/hI7ldW8zTuwHCOmCbftyG2GoBC6CrFI/AzGqSkxi7iwRsSSIFcuxRoPsaE6tc7ONjweCR03ceycZX6AfOvtzyomhFPCB89Ccw5MixavrxT/+ypGbNXLhcFX8z5+AiFwM12M0qOV6c3vikI//5o67O1B3BCin5KektGoFiMSRAlcrICtxQuK1YEofrBzhOu0B6SypoVI3adqdbar7ja5uCd2KJOWE5BZcZ+5PmcRilldxTtd/SmT7jRvDPVaiLTmFW7XNiQbBslXHKqMFn7/oYvDrnzWTTOHTU3nXcs/83G79tmWyeoQ/Cxsiuoc6/XUzHiYsZjHob41GtxT5cfWVAEzyNl1iw9fk2dl9ySJDnr+s+fuPYepg1P6gMurgw8PK7SABuQ1BjNA8VzYbWKtD7sM8yKv1D56TS3+jOrMorPCZaQukb6udn9NS0okanQuyVwW3IQ4HfH34Ku9Ho0X1/Zn5efmlZft6o0i11yz7CZnRSSWZ1vuB6Ko0YF3vG2yl2xzI2m/+K4s01jgHoHIjCGHvDD9YsvZozgW2OR1y8kz4fA5XY8zEeERducm/Ip4XXwxACj0/vVLJNnX6gJMaA/6nbgiKuHDIKJIMMHMse3H+EAZv5kmTkEdAsEtidqtusHHHbTmtT6mLJ4RZchzipIczPCpLkDuourPuOHhWRwyw2RIKIYyPJtmM/8Nd+Vr55zOpX6UE14ZrRKXkShs87r4WbndlF2N5a+xFeqKxkk7epHluotFByuqpNq3PaGB+EWChOzYhx7rrmKHRAormxTJvQ2CYjXxFDRGk0U4qiw5KQkM5YN1L3qdLKDMC50+vP6+UW4w/3FvGdwR+5D/c0rPCL2st3UT+oh75bxFkqYaC+iHAls19CpouNDhqkfJ1GPuzfdYrF7plhAbvcVMf5J1A74pXdl0xwXFXDjynLDuIE9BbI1esV9Jd7OXfFIsSo/DQsLliOskwpdtoZ+zVfvO/XDYpLDEAf9nO/73t2cdGwZ+zDXZkwNWpsu2Ou31FlO4K9AKhtuoWgGfP+NQnU3X2Ur+20f9z9KwIQAYDXKabwg6UqH4ML9gVRn1xI7Yi5Awvqof/iKTGzEN78OfBEZVuKIgytwxQH1MkY+ng2mFcMKgx0GVJ6+5pK8vY855VF2kuNxjhIrewtWrn7zXr8ttiNOynoxsotOTOGju3Z1IL0ZoViZ2a71lNyCq93KM7LABUq11Ua2rpksWHyYgvMbCy11T6EqVcsBaDCLGwa7OAkKUyvA4y2RuvKczoaYgJdJVdBS2gGOX52O9mCqHUuhjUp5mM49jOXS/uBspUNeATZxczCsAOqyokQ+WSU6DTSqtaXHvRaX7CBgbfecQTSWhubRT3dQLki8dGXtzHEvdi+32nRM3RD+8rgkSIRae7wfgdjgJ/johTW2FpDD9E53RcW7v42OkgqLmXAXZLzSAVUnlyCCUVP0LGYfSjAHoJ9W8XTBHNrfVh1HLWtEMkwINUoSMNM2B2pyJt5afB5VgXDkEExrqQf+dNMWlG/2g1pFdnOmWmdImzTXm27Sn0XT9h9onFFLKVLV98DrRyvlKd2YCSp3yOg9+xMAVLaXikvaehXGFeEwWpGyFaQSdqMyQLYNQgky0Pg2/CZb/LElPaIGk/unQu9PYsuzUZH+v1SCVhk1Wqfwrp+IW5uD8V4pQ1p5Bizg+trBEsZH0pnMC0tVI/YZHGjXW6hS+H1zMMPktcLqj97Yj24iMyVLI3RJ4L4Dn9NUp5YBH6SUBJSkAio9jqpkMsBEwu9nfpU1uCiLdxat7IXrHwwtjO7XMVGM5Qh3FsIWUeFY+5J3me8WhLfLpYFXpIUuqabapM4kKV/TaGgrZMiS8ABxZ5euKwZRkOVOTE+FftIvQ7NBTPRegNpF8g38olrL8gdUK9XJBplg0XCq7SgQFVTfe9qZ1gh8NqQ2DAZtA2RM3MI2mVaBGuw49dR2lIlKnXbj1eVUfFn38MijbdjMtdutQpcgzXCBRzbdwy7CjHHPqlEwWPGD9FB5Y6vsrwHFdXxjNeA8+XXUebdpxvK+YIqxAyqG3ZnYAatUaluqbRvjCGxyoplH0z5bW9hvFAjdutHh00hfj65fm1dyr0hf1NeuzUuMiltMhTdZfj0eN2AX50+QAQatXhRYKMCvo2TNaEKkjp68JQUOBcxr4qUtrrNjnk6UAxGBk0rBPoi8wU7g1FgPwMt7qRvbLQWS0Xxxzv1uqTI5QCWixTQhXvKe6rlIotVJohXI4bR/EYRgcGVisksQROQMkhlTfv2No3fJ3q0nOzMdTOzap0a/M1KHVvkdoatTreq+XOcW9J4nttko6rWCi92fnFA6Jznc0+XV4XZPym/HX4eEERlShsiKfa9rGfKQ926n46GEOGyfYkR7ZfWNuZmULR9I5Ze2ntx/QrEX6zF6rgmfYwz+B9oj6pUY9o7Hs3cKmE3AbNED7zl6Q6/NnNkobwu3XiFKs7K/g+o5QnUZwYp7a47fSa4kkuiFGW61r3+TPRqwETMeBLXWOlr0mCcksF0OPFxV/EW27JHpSV+Xg6/JTUzeOjLlayDewLzRW/163BgIZfFNZRmgedRr7ECXwgtfsNQU/gj4CAncWP/atNVova0dLygWkd+1Oz3ovFtNyiYZt5QETV7eqUjRbz/3vqLB00MkGYpoHZm/AD38B74cguO8D4vA80g8L8u4igmUK21o4NPLuwJ/LSjqKKaX3gq2qnh3B1ohJlZROHbWKQLmwzmkfrFia//lmq1sjnOXmFJXop3IOrLs3Wvxd/1kchnTID8lQPwJOHuzCt2Zy8hGvOSYx34rbYZSjLaihY7mnzZVB4/VN+5FHWxTH7J2AUEM7sl665JJYHCFVcUR1lbtu8/zTCfKBzmrkE3Tlxm3ovkIIQEihfaUrqyGDnN0NrQc/gBrHQF40wNPJpO4Jr402R4vpK6OQUPEGIA8n1ZyPYGpwNNqqhFXjTh76ihoZsu7vyxGllSVPiBfWkqnL3DGuFiU/o6OSyHJ/UN27xBV+SdN/GRTiYRSNs0OxIu9rMwpi2ZgqlHgILKnU8KtojCBkzDDFYRoSgh3KmbL5GLZUJb5itbq5B3CeCjkvWoFi+RpKUJeLfQwQeTM4LF80THbHihlthw1SdW86a5Ztvk9DjlkHUdSSukFDzg/wWlXk3+GWkg/IHeR/gcdSYBVyULHgUe9Dh9PtapCGBbCaqdvwx0XghYrnDWhuuTBP7QRfnZ9yn8219ULgqBNNkt8oLp0r9Tw6NeuR37HGtoDbd98xAEfxOdGz3gXwSKdqMmBEYErrX4XKCS+VOeOhEbj1BKqqDVSJ/hg0AEktrZjFnZ7/30wfv7rupawHxN3x3mYCT8J1L5sBIGdz/nYNuWqq0r5bArNcGUi5s517YBRpwu6J+wgvl0uiAHSoHfbFybn1jgwC4JJ/b+HRWVODZWLKG9bG8cPLzXhYNY3lHX8KxTN16CbiWgu1VJBkbLm4JOrZkqiSGGxXsentJIQd4EZO5pvZktGcICkeXtPG6C8k2T7kqWpyD6/CqgL2GhI9PtsmN/DrFPunteSMJvoNXKwDzAZAE6KYDb2ShP35t3mK4GTslyMBim3QmGFnN/mRwLWXEWpvEp5ogxxsS8/tdVqwtVo/xE4p3oPnJajAiUZeh1OKHsxLmZEVYd5U7QdChKKVzyelMPierhOMXnLXk1c8uh2ktbJzXJdA5fEAbG3fhqt/3l1jy8+hpsiwCwr1YohpmJiMeIGCwayByxBx6NdDRqDhiFakyUgJf2zRE57IrfFvE+2+imG3VYWacTy17xh/v7fCseu/DADFF+VGpIaX4f83nW4zaB73ahQPznKy38IZkduRAlFLPX2L9hu9R1xVb9SeZGDgr9vlDerSfBLE/JAz90fDR3Zz4m6/zLM5SrDOsIj8A4m0tuIWvkSTuuDXcaacDmdjTpCejXVV37tVPqfrmJn5YgBUErWVYmyYb6WYEwMXDnlFENzHhBbOz8EwdkxQTNbtFi18g8AYXOdiffodJJ9uWN9XhoJUbooGM56zmpkr6P+loGFMJ8YGWot3bYRoYwGkoNRyHgN++5faMEPVG4YX6TvEtHv3n6drM8y7E9FKghsG7KVzB/DMVi9xavKyYCRJJwhAU1jxXFFTsUQEW7do3ZzH1kd3xBdnId8oCWZm/Gn85jkSAllHuTlpzUJ4e30pfwZMojlgWEI7rk6vXIrnpQFqHUmYvHAynitSaR1vIBO19AO7nimWbhTJtfpFr8bnF5HjcYHgUUs3dsiaJ0JyFk5PXQ61bmR01szx5IJhVR7/w3k9t9SKo7zsLMibNXwHH5lRWkL4L9Kce8KGw8i8idSMyMKF+1VqUodgbFQwXthDDdyEOHB8SRD8j7bFH8TjGaBauUPwiu6nYJXxWe2xUEFtZW2c5UFpd4J0v7x8LQwwFXtngLa5m9/CS87+0GnoVS1JoS8kaSlQTigJFS/t6dJ+eyJEpFEKrzaR+gLv1dbsVe1xQtZ2lWjOseZkWRdsGJOJAURt7/USZS2FVUrdOuAAW9lcLG+1qVXrRGK/wzm7tpA1Zz1h+FoOXcCpjp65b7ONpGtD0pbsEIK5hBNeoHxS0h9HNVIA/vtG4P9LyKZKD9TwPplpbidoEa0W095O/kOq+9kiWCpXvrsvGGsU8ruxlJkMsMx53Gk/Kyov4+iIurrVOEp057PXwOwugwObFyOpA7w/E2yiQ08zR1C0IvDGUW0UXmugDe0OZYGXovzxsdwt94OeiXkvvCOT5bY0wfCQlkRcpkBk3KaV1PaPnihpSvKvvuumUbBe+PZcSripcGnOrZ1uGBaXoV1X4CnMdqgFD86fKYYgL4tLW7tYSx07EeJp1scHPZoTOq0rIrIuSrddNjBBkbm/n/Dl2L+HVuQdvtebkMUTCrJz3eBh7BY2CBWJ+b/pWZGlA7eS0BAyv5tzFMo5eAffeNNXFMOTgYfEn9E0eI4UUUtAiQNf7aUqiJ4TVCtXw/EXhRn4ChRfdRDhHsUTwVacKbKuahM05jEBubDsE4+x/NrRPkb6DN/aAMMhvg9IKoDzesUOMyPzjA5Ni2Q4+AWgtNqA0Wkmh01UZOJrkMR949Yd120HfaaAbi8rNYnRl/7a5XUY4nDn1tbkVDEMD8z1ZJH5qmyVygPZ5KDLo81aXM9MUsBy6d+Djbg0dwabK718OcILvoXesViGMqmP0o6Jt45Sb2CRwosyPHTroWLOWORq1TMMVU3imM1AhFtrFUq4XDIRbItGlSTCRmIukqr74Y690xpEmdqorUQMT53ZgxQ+l7S9eF2cksT2FrN1Ht8YdM/TNzocLqvPZ5bIfXH+KTLPwsmh3qgc7gKpcRKT1gV0PQ1BAQ10NtAUC1b5tQoDBum3gPfoFzJNdjpkO0ifIyqTtJSrDlyVz7UTeLk9RwBoxMGsWjm01//2Vr/KSwHvG/33CZl6OjV9ukoJNua5+TjW+EikXDncfeFcIS0xTBZCl9yo717MKAqte039DAUB1qDuRTpL3APYzBu22FBIF9IiOTWH88SsmA8n6UdT4AUTn/Z7nKpvDeSE+IZVAv/Ln9hmngwFV4ZtdPzVtSep61sDPs5n1fH/gX+Akx6WtkBIYwKOYAKiVj6cPx5ZPIDwuZo4Sm1MkA+siIilwWIIvdI0+psC3jStttdG75Vg2FxsXXCN2KRB/urHWEaqAVcU8j+VHckGMucvhyJG0wIWguEzMe21GDSu+fH6t8FBpLHzdRPN7Rgl6ds3Ioz26R0mZsa9kpJw9peLsY28o1v3qVOrdGay8dPQnLCB02ZmifJSxAdk8OckBoZHUVBTUySLrnLBB2cOO+l0DGha1PBxyFWC7gRCw/KQYc3fWX+u8NYVqQXWK0XIdVhFODT15+uvijAW/mPMDBAzNhPpOLwVilc59FeUEXCVoCBiBCKoRf3UO+G9RtzJkVpjZzdvu7tT98AGHTnj5dfACxdEV1TvsK6kNY9jhMbz4o7JzxkXuHYqCGe4oizActdlvyANUTBiceloli1TWndeP/MdaiKC7EZAANYuCmZEPgN/rm7fHruC41TUkxG+ek4fEaKroBKyvn5uKnUayicxrm0OTTrXykeTvsKa3CT0CwEscx1mgliKk8Fans/OjM/B+YR9tDPXXccUs6OiEaf1nG+PRRIubGiU/sA+sMG5AzXr7KdTndfNls+YjzmOEWGv3TryM8yj8Z+C9rTn2PCb+XBXqQl8Rex5ggMKDYprW59dbI2cll7VGzAthQHz+mj3G7axlALddM9uCN3xe3gxC4h9L2uX/AwzQunNvsCYvZxImak0pp8p1ik2gI/UIrLb4cwsOLeM3cXNztPmYllKGkIHdKrVDt2mbV2YiVP5/dXfYQTTW/YU4ajKz+k5YtyrLpez/DP7mq2GP6NmF+QjoKOSCnY71CvKo5ZdOqMT1hdoE+cqY6Jd4KIrWHqEJ41CEz3F6X6+Dc2WkIvajMHg5BP4GOPmQV0ZMAXgKjw80c3wAMpccmUyJVBpWmBKe/QrBJzqnLTWqXPFcQyaKrXO1wMLNb2uFoNoZDsPaU893j41+Zx2O6ewUoPLdsJaU9/C6wrs9IHNX+VzBt+VDkkf+0NhmW1/s1BUUeMK/CJlv4Vv7Wb4aGjpLc3uTcd7zyVpKp8AfhpDMqJrxQdEiDxn8juzemKVY3TPS6JXAAW5fAU3cVRDqsrnTgmLdCG183E0HsQrnV0o85skhPnYJ8zjTkgViq1Grz0o5WVTdnIDI7IeQ7/Py6plBtNb7HmYx89R2jNrgNvbpzAcGXrLarmMr82znEIAa2PGh4oiKXM5qrQ5a4s80xT7yT6bo5T8pCnHE3xP0ZTGGqrYcW/Ss5c36rJFj+Et27s7EEU6jltWGZLJnNB0ryF02sTHPDlAhcuHsqhJKrcVt/ExccByPM11RLAAkVw3rc46ISP7nATdZ73l/I36BB+XzoR0olGz7jvGfIEHGECqjCAjvoEpoAOANf3tZzpPW3H1XZeprtjoAIX/0ushSdjUxmCO8cZl2WpVDgSOGUxO98Pc6DXG7bLbe0Qv4CayMo7VlA5RZR1gE3Ewi9J1w2IK0AcGM6FlS34vtWkZklMhgZiA4XzXJM8CWhOLcAxsGP102RzUhImkGe1Y0kjzOhqn+JPCMMa2/93WOzhnRCsegeT8mFuzjsB5wHKQ0YobJOPtK1v4cJ7tcCa5oQZs/7nDUX8oQrY7wsPuD610A8lRiUo8fjX5HxusXfG8gHs52+vxKRldOwNJCcaoLLux7ArHdwKKu89CvpaeMuSnEpE23gFe+w3Zmdn87Y0pTq1g2O0yXu6riT+1EDrt/R9qDOypralY+cUWMq40jriLtWImDFI/iBwhkSe55aZy2ALTEx+7LHlAfqo2aiYJvLRoGJtLUGMIFaYWz+SC3mKIArITwTlvAzPopkwKRAi4ehWGWpbtpmmsa00DKbzV5lvnE95sysHC26+hdeXzVYWbb9JeKjvGZELp/uHg92FeWpS1RdJDQEKELf7HfXqRqZTuGUzmOWqZlN1+VIZ119vHAe+sYFQRGrTgRGICJ1O8GTpHele8xFebgaKElqjvBp6vARt/3zJV/FXjZlco9Fjw4LEHA2dA3v6QhdU7IHvDJPjuo+ruZGbyC4YGGOpQcNvLIbgVhwX5ZFL6qpytPcxO7G9jpZOJ8dY+X7b8zPNMJK1IE8AatnBJK7k/x76vkhhVam2nHgIhVQPgQ9/nTkBCE1aKCeEwqI4wuDinXcDw3rTpJjB6CFdY/h50gRKbCnIhJrT6j4eauW4AouK5kDycVt/yfJ7OmWW9tkON4qdfZrtgy/pjZILmZe5S9S47qbnaFPG1bBg93b9bIaDeHNSW07KGRXSCVw3UM3JUx1uhPOLoXFEVZ6SC8+qFi4a5DGYzuaq8dnpUHopfIBXzeU8lftKBcfZnGeUiG//+eSx7AXterL0MHmrLHYEIG9JtcfIelt9XaliEt3cXsOCrkhXN37dp3AwCTFKKOmzxdwilp3Lqg4CCOzVCxOi/ivtu1+islb/y+uZ5gz8QtoSNqQEpSQ24KbIIVSAcnPWBUtJy+lGlSlvlMw2/Tf/Snbl9VQMm/QHi8kfSRVDInT3IjlJ3UfJll6mQwJ2iFYwD1IrSlZak3LjRaGJHZ0iORvyqxU86OLj//oTp/POcsiGw/K0KCHXefYvWYRZn4eENRi1Rhu9BAQweXx0gEywHkXXjmiMlB06FkuMvJayj25yAx8rJvI2I72+LN7P+IA88kZ9ZsrU6FQeKBz+a+7yiXBVGYEYzxnUMH+BQZ4OrDME174RLqVl1Z76PUEymV56JGGV8rtph8bQYQ/7MhuULz0f8wRjwZeTEqbv/T2sMJN5zjA7UYsRxvBCad+0ff/2AmWpOB2IfO51xVSlqGkKLtlbmkn7zwhbWW4ORpKSshU7O+21jnqfY+v3gH7RI47VDQx1yFILQDUwRJUZuzTw0jb+x4EKP0HOaYne8/Zy6qYK3aKv4kTbIbHbjZEf8q8/7vsjXFQDHzv0OFTnQcwu8cdssq1rRhIFGDSAJmJcSJidfTYDYo7ZFvcmv1znK/8NkUP9xB0J2MUAhX3u0q8BGNXxHAirp/ZjrE3eiOIWXeFKuT9GIjpYz7WxOg8q4dd+QprUd7hYOsQC6ZmOvT8YZX6i+n4xwg3YavAWFavXmHNkyGk0AlP7tUT7epiknVzgQRlyilCfYghL0ND1G+7+YAhqgWGgkk2lPG67x8v1bIZHjfJE2m8IxlAqDN9Nlax6/UNQ7odxHAo5gN/F3Cy6QVn7AvwcEFO28HTuBrL5KNvOPfoZWrvHa7wMt5rUdN58FoIL4rrtpw/UkDZdJYGgYHrFF2Wx5qG2xUZLvqZesE12vxDUN/vBV4koE8OYnCSWyl7pX+DUZC6UgPAR955BUyyfpFNO0Za2Kbg3pT9P97kEorTlIhOiTQBbx0G7FJdWLTurHPB+m4XyEGIqFKX3eIjMLlfYFTUSPuVWMZKQljrLjaMG3a8mpsoETe50omwSDXgg/9q4rM1EwhJ9BtSbnv2kT1H0HIgCH4GBewcQZMWvjmgiQukBsYJzl2AbVU8TKBnEEG9NuGYO/cuqTgzzAQ2LCyYyGTlgYkKRViWCwzCRXEsEK4mLF1GBj3ZMt3TOp6zsMsfDicgEC4hWzuXKAf4qv320lQyyBhsn1EATzTq6Pqhw2251e1opCQcaoYSjE8oTR7pp3uCu4h3v8zjf/CL2kfpRV3mSY3NKQNW/WxQKHNRRHJSA1CV6Z15IB+vRZzUlOLrmneqV0RZOHBky9ClJ1Gw5HwAHmen5D1Eh/ZGwejeu354OWjIeIE1UxmGRAW6IiZa1b8EGdKBHl/9ZZ0rgJsYpTdzPkz79rZsI+289DVlCKVmuaoGICUYhuQEQcnm8yxR4oJsTHJrJamJgah1DA+9zxZ/BT/FoM6hrdzWTSbZKEgnI/3QFC5U85uAL6J/pC+qBK1pLuMU6uejG++Vk+N+dzcwKIAlfGzVTV915CrKK78fvnK3+P++JMrSoG+VJ0Zp3rWLQrcYcEtvlje9YB5WB8zx6kL43S3lDhdYLhwdIBaJOZpxGeAJcHfW7FIkRxLLeIbVCoK/eP8FHj9h7q77phRxKGNzA1oJ2Q9Z5K2wMYKDnU3+3li+DQsqMa3NmfsJFFAmxqtKJUQNW5Y6EQtcpXUwXKsTUSEV3Mg4UeqcNurwvxAv4S3mjMvkIvCqmKiaAl/3jJVVMNeKgwnWapX+/xAqNdo+MD2O1/qCSA4rg1JjTDSKqHi1PY7H2DUfQaTERcxqUewZX4Y1YTUHgtwm8mEtLfrmfA7tMHs/MkJx5Vl4Z1HNxWlf3kBiUSsqgMFDzXVO4W9tkm8fvQfjM7arJfcUiXp1Uf3Jl8tx+Rr0DOVg8EHBnVGGK18n0rPaCBpDBjmIrqblvCJ5HWd7aT6Y2QN2yGOURSqdZ4o48H6Drh0Z1SbVsOFwSGAeyx+WJQVSK9Pt8W5hvsvdvQ1uZFpZ2ZOo467R75ZuzgOSMtsKeIMdmngVGvgA58OsPFTBCR+ct1d+Hxmn87Rh+xQhnPUiWfElu8bSc37OmKwWGd2NLjVWJXHj1If9Nj1eS4Wq33SMM4h5geai8KJkS0iw9TKcotBoEtqF67ArSTvon9SF1dtR1UT4IuqwJd/w/EQvdk845x7CY4Rn9S2GKKZd30h1KM0erMQP33xGXmzsis1Gullp012cjJ4NSiocwe62hdnyHdoK60FSDVUHtWMKc2E48U+ReUmvpL5gRKTYye3IfvNpMmHVEIpKImftbN5CD2fZneDvuapob2Ei9T62X0wtdZq2Ha3pCRzdR4kNC38AVgKGNkR3cMHHCTSXLG6R1GZdIaKITW1wvAXx5DcN3h1FeRyWQ13jIbZIiWGam1jsq/0/JVAXnca/tOq0euZPxcaXKzSUWqUHnhDndtYNsSjq7wPsLtl9KQe84yfXvXL3ph70z/pZy2jZsliZkXvFk1dM/eQ3r/VWIa432T6xZOOTUTnAchT/p17D8DWKpRwnCX+1M4S6XlvT1hdTL+34KcV3/4WFdVjtFVoqgXoj+pftvrQ97Lbz53axpABpMnv0tllDiLqmj5bbPG/+B/yZoKUoKZae6nFFloCkS+Ieqb4XlIztT6uopfN7KPWi+qxuY4TGWCPlvIVyMfYjFU+K3++G9QHf6p9kz59xPo45BjXdO77jw5q3x1cgJwBmXJxNsvdJWusjJxAxYO5+ZWFxf9XXR0bDY/GtvpqM42+ABdhltigDcPKKdeEp+TR4wmHggXbuk50+wo7YxYF3T5DlJ3XrBwQBFwOF1RKV+SyyQ/y5rtqPTXpJwi39B1bZP63kyGSjQgn5WCAu/qQkcYEkpscgXaP/TX7zijqdok7nJDAUsBknjrJGi3Ncy+xXhj6RBLEExRbqp1Yyk6XElIbqwE/vLVY99wFoUeGTjRuuGYP44HlnDMNtoH3BGzlx9YVvVw3N/LuzQ0xYYi5gZxo0qHc3kDrPvkWJLzs+i4pEVA13s9Nrcnb8/QaVCb+jOrDZoYDEezNutRAJVArV5mCH04fcjGwmeRRGkhaFnQTq5OC/nJJX/K0GsRqoCGgZgr9vwkAPotF//fdxU0obRxLyQhUEszAa2/Fex5Zmh9IWKpwaZV+9sAT5vK0nJoQbh/cYiQqx/KBOEGk/5iZ+jTqrnaD/VbfBqkupX+fLrPquBE3r0ah6bYez45r7LSMZUTt6VWAZLnE+kxYPEDJ+4v69c5894p6uTyR8YLKZ7XQfkgnd/mryCMXcT1eeF1PKELJxXP2ZDuI20IEGLF91vo7dQGH11JDVOx0J9dJcHWpmHud7EdaX7uv/XoL9p3XvufI95z5iSCPLmLrJqdM7IOjePLStiM0SZXBpUhCWuWrxiOq16M6jKX57lF7ZQUYWjKWw1UvZytW5P3nKH9MIb6qkg2oNc6NOWW50+EMMOzizAgu1zwbHtzZjVoaIGnxEP9QE+Ik2E4qByvrWlsdZW6x+ii+3UEypENmiuA5ZyMqK5wXbFcleS9WVsWDSxfstKkaySriNyvN8Kfeq9ptkCSpW74pCHamMURKRj/E9Y3vl6lDK0pCg4PauToBlSozSHoKj9ggmVNvRwy7ehEC1SI/nDKoNhrPR1Rw/wXxF4ChxocGDD+1B6EkMcJvbFa0El7i+LCqImLOv4oyTx/lrYbddHhFhtmXXcpSv5LhcEB9U9YZQWhsnBLXU8fm1jAn1hwg2tCmwgl2JtzF2FAv+ss2YzeuRuMMchT62pQgF0sSgYEAatNhEcqsZm0MFbBH3NM/X/Yo9xX/GG5E/JBOTHOdfftImgY6QBCOsYW45ydA8PQR/aXC4B7rCnity87S41giZ7zDBpBr8tS+SaaeKQfHYc06lAn2RHlpRmQ+GBUM9R2MJMxHX+B3MgSZYkez4gROD0Kq+RnAzK4NowafIej//DMVqhN82vRDZlJ0A8NnEO+rgWPAJY75FpcDj88Bs6xmA7qSLB5a9kMf5xnjF5U8FKTfoSm/QxAhNpHwEvYPYguEKbHS+mgbLcD9WwbIgSRMqOFLZwsFGyyxnwkh+QNNRZJYprGz4OF2zzQT86XPQuxYICKzAYwLEaVQnO8HVYZGXTjIUdvDp0vmEk79SLFCUiMV5w5Q+gayrdeQ3jSMc4uiV6Izkkqk3oEAWxjEJkN0Kck1fG2OG8S3Oy/8yI/Wrs3Pg0jbcJKbFPCl6DyP7SNFa6SFkIh1EKcRHpz6dPnmTMFDVK5ZqyGMem+xz5880Lilri7H623b8U7RAZGozRvx/lcNuM/zbt21Qz48+tz1+qICVz27LO7+VvO5a3VEYD4PlCrCPKnUsH6t5uQxCP0KrRUP6kZcp5yZ0gpkSEpRxIQE5LHr4CLzbM3p4jGeuMK5+BHJe3nwHhHCKh++joByup4rBkyu1xJLGnwB6d6jhSdfD+CGP2W58DZbCG0uuT4WduqXmECgtzCl/E4wC7x1DCtc7oi9kf6X4bA8NUplxUdtmZQaFSSCBucmayiY888K0g0yw3qt1P7ORZukZOoW8ugfCpRHZXrOWTTcBVsZagkkT4+tH5c91tReAmrNgPCYHbTWMIBR8U0Ww+PmRnsThhpLc4kQesa+JXQ8zM/aLshsGhI6GUAefwNuunBpRnISxYyrcJnIWf3suwkaZcX9gbuGPD8nBQOCLGRG8jE+2XXigvsASVzdeQcgF/lEaS6OcL7/cSNh010orgw/3GU7w+beLU1S51p3QseNPXNW5CwdFTI1UHwzo2bw92vwLtvWubzY9IlkSnR7bs7v+08BUXXoMtql7e0vOnxtbRY6ZaR8OPJosamUl2gZGF5SlbxAODs/eV8Ehg8IcwGHebciN4hK9IU4tSvw94dzC0XXAqf83/Akte1xnx0r7lNtpWbmYiZmxXQ642tsOE+aYUepAg6bjckPktklDrG+/LosVTiDjronQ1QCXBOCLiQwDLJNlLs8kxItGnjiBQCoUlf97IUUgxMw4J6vFMJhJ0E6E27Z/oVC1IiBfVqaOh8HMEs/OZYwR2tR0LeIAh+iKtxPKsWVUMLN8nIzgQNf8JhLNWdQJV9iYWHmws3sytirTo3V6NYQrklsSYGX8xGgQT54AtDlBvB5mEmdqH4S2y9UrMc4ZcmTsQR+xAZcG0o4EJ3vmg0hskovAbme4gssfqsBsMaNiQRIFTgTSpqkzyr5zVg9b6RrEe4CmgvdS92GReeJ+T6T2e55L1w0QpRvdK6ylJ7bmiZSdaDyDceuUwWeb8Qdelhbb2vyi2lwf5IFCBUHraVP8i0Se2oE11vsXLTvq03m+mueuxnJJN9CbKC5nWRh0elfbRfXtf7UM/wzIOh2pLEX0CDJ4+f2lcZrALfN4pKda2rexPjHohs+uvFwjtL5TgFCXih9W8r6nUVbEr4Hd+Ymut6vF3VmEMOYXrKFNTcr/KZQAqHArbtg5Flk9+NuFNoJEblcFggfF/dEFrXKLnhdWzy2snL7xhPQ41S0BPI088P/TE9uCcuTSJvMtzuT4RSS8TOgPmuN5XcVjR02StFymkb/I3G/GyYXn/KcfIkAOsyubXZfRSHj40YYBBTMRshH2niFS1Bj0+t+oakRVzJlBL17DWfOfFRPilNSt/8vb/bnXW4jhcu3DWcV9l1HiRn/ACHm3esWxxNdirULLb02n3FN7xFVU/4tDol6vANfFdWT/0kFBYuo8u0dH4q/HVv8D5tmIS3RIcrtvaq5yfo9xVAwZEGzPz/9UNtVDv1G1ujH/JXCFBLi42BWePzo/YZaXnfj1ktHTdpGVf75340Vz6Rknb1/PBh6ltH5CM/vSoifN4rUnuvzbaS9R58KQmPmfEnhOsLXw/q/KRv+VSNoTZAkAhjFoioLyn1pR8e88G+dErvv8tlsVPlQzSBs1+gF065aLfKB+T0dLKYOE3saBqpiBwdrpynMyswFCvnyu3J6xHWc5nxvJfmzUDvSpChqCCOAXegWP5QcfFLs7qpe+ylTTfV9+bnn7fNiTLhdrOsvKGI0Vwk8NRt+EUXT8JB2Zo0PtZtQoGOlGMWezYkcm24Y8RxEe4u76GglDbLZcHuwIQ5xd73x3W4UAWCllnv2g0zHHk+hIpyBSvKol1hTWtKHu0zQ4lTXgAePMcr3xtr+2MUYWic4nzc08fYc6b9IXqvFhA9pI/kWZkbBeKcnlgjeQSMhax5icDAmZaPHPewz8AKWs6teppQew/MQmR/1or4f/mvHcZIo78aS9XUjQkOExmJNHx7RQi8Dg0vBhmWHa4XVJW21iJsDMQlQ2a8p08wj7WuCNSzNo3qoWe++ZaW952YjNSvKdNZgSMji4aBLvyV3o+A+HFyYmcVU4FPN3eOUkqOr/by3lT89JCzkEOjfaMCU3FVO3Pi3WUODoU442PiziFvjKWAZjWV7OS6WpGv/KYxYr3NAX1FxxzDjW39K8GniKSVx4mNfPrw1GTzk5Cvw5dI3TXU2vclqNO7pvQJZGO5G09FBwNxQeUD5Kds5Lz9YYnKwGgTQ69RjaMeeEfUwCCNlmD1MoBsE6AJIVaGlyhBdTP+rAtkpM+IjYuFtgbD88obtdzh196m1AHHtOQn8G48dv9zlKPahzF53LNOH7F1WPXudF68ror+t7142L/kXED19zqW50P4Ydfe16VOeWVnIiqfr+REIxbKPHdwxjsUWey5NbpLPhbEVTFfluiplS16eNlKzTX8TRjmJDv03hv0yQaLoY8TFTCy7roqz0ew3EogsSeAVgurxZpDLzsJ4jb+K6WQ7+GA+lgz8/an/lb4BQUHAvj4DrnweQlqtvG6elON+r6ozkHCX8dXlzdV51AuzhqXJhwkmUxOS/72+Mg8X72QCwBPrPUSJkyRy5sCZU8+wM1fU+Q8h6LW09n90tWu+Dn1UAac6M0P3Owf1WAMhLLnwP4ugOx1WN/sixOZmx4BNJjsP3MKXpYWlxiVY8hL0gMXbFIGmate+5C/CUTnudt4qmCz3DeWYx96rig7jfPQgty4KPQxcm9k2fg0KMHyGQsabx/Agt5944wbGhh1DUgieEtN1hzSv7Q7QwZBYP/ZfW5zC8ZmizQdi4bpxIb1wcXGl0LIvxhCOX9fJ0h7Hqn4GO6Mv5rwXBNTG2DlfYZ/7EqdqXsyHUASzxzmMmDPL1EEsBwx0wGwno3LT8yFaI1quevMY5hqhuvoGYV5G3mEnQDCgPLNObzfK2BypoNzgpsVf9svC4FRnEpVlI2dqhtzBLEmAq9xntuCCg5jOFjbntaagDNwconYGg1lwCAKwWqqH676qBR/9VTh8ytBAgekp7N0R1XXi5dXpmuScdpG1khiaqNbrH1kvvMX9KBzwbtcp48FvvD+9pu/G0hsCbTuMncxzd9MKC/O9DSHvFVdo8shb0uXDVVwMZeTOLbxGqYNrr75lvlxdHxthVxMnlOdEHUVR232txsl5kLS5exN4gsmoo7QROAFxrmjBspbJpKsqVJJrMyeb4sq2UEt4Ki1tvO+nnOUhOJQkDtxcX+o85Qg2JkKJAJMzgHNyuK6kn3pqSiKsqrn2yuCi/u2QqcLb/ibHeA/lkQkO7RiBVHJ0LZ+m9qwDLeHXA2rhCVcArRiFFszBlKtkKno21mjH6SIMpRkLuEwhZrgSNV09FwzOVwUL6AECoG3aBjZmeHrqKMRC0fNLb4xZyMaWfYXDILEZ0pspjQvTmXRw/QE+H+BiTrH+QKz0UAcSsxTiHU26aY3e98auhWE2jpxR57ur5gANEeXJ5jzqWVpqgIbPPoYyIBUe1Iefbjn77juBmjAoH0wcXKz2eK1bp+8LQEZkR5Decgc9ORMZbVZYmbsTLuE2NaXmG1TKIyQ+3kKIpzQ5kKs2YDDjYPcDjNleMvK77ID2XECpxn3zX7eV+fbV2ljskmFMJJv2Yi56o7/J5pfBSNk5uaY+ejPxkF3kkAGV0q+IP6UfnyM3rcz84KOx1EIOxA/7zayOm+L4CuODsIhiAFx8sVBjPQMclUTOl+HXG0pzUhA8/biQ265ydrPhc8LZdvIqmVjQ8EUMwb9/ZnvLIjjQ3oqsA1fl5+cr/nyNCinbWZM4vJVa9dlnOWtYnCOsAgfC6Xk9z6EzMjVejE5Ex33NgDAvybmZBXPKI2rzeKsHwUoTYkYMnC5p5MN5zRVbPZVehyCYauEAeB7cPXNL7/wIr4XKTsyUls/neAUkh8AHRhMNo1IrQ2UBQ/92mSYYSHYZyA2Enj7bWbm0ebQn7NDAG9amGsDbC9krzEQ2y/tNgeucQIJWCuvpvr2XSbeAyCSVhS2rhm8Y1eegaevhTdJPkOLqz3PJBp5SciSjvsCd0Aj36DqNrzevITAwA/SZMBYhM7m6G4E7H5nxSfrlzr7+sZswM1VDdVM6tpgivcxKJKnPPsGm4X6RvVrLEBiXu+0aUlTm+A5aY2ZID44IJnV25tbAUjHrKkOrmfZ0NlbhED/1roA0VrDaqfMK/JUCHD7NSrwMKuqxgS950zM3O1fIM5roSBeGNQ/yRuK48isVHxwu04gynKa+IoMALdEv8xPWvob65WJSsvakoRuQRvlMQiAuvcUfulraos9ZdOaFSHfYcJUyL5+DweXe/6cTCqubi0wpFihtG2epgHJNLMfqRR07rXsGAYGid+QhXoY0r5VYVinhAbqcIP3l0ejS0VZ7Atw1JCsD9XPVfwos63MGdNq7ZxgxpIP3hUDuRdxn0IlRplzCz8QKFSufaFTkWArj1d0wc2Jm+K5rvtUQ10VFJEkFQx1AE9ZMXh4PsYTMj64SjPEiypdlKQuxjFxpru0xVcV7OnpN67r/ytSnsoKrCdc3rDKUnCiwWtg+GYxkqkj4H/uFGGMmL1NtMZqGhIAtatGbqnp1AC3Uj0vXcpYP3gX/XT+4hqWpThOo5HRw4wLQAbc1faMMbOf5sWlk2gCwCJ8AfpBB/W5RU6Uq3WceI9WAiUg0o9bHRoi5LEtJm9gOdvG73GZULyNf884F1gdQjjmSbXQQbngleMTOLxp+om7FWwtcY7Qhx1h2p6imtUQK5qDJfXB/TrBR5KnWyzqpNHjUM7Gz5x1DrP8X11wg9F7/GoPeBWz1YjSaP0qDIlZrCuEgalERiWFltEHP3wphJWDhxL9UeyD1T5o+Kc9B88E8gbKzJ91m6EiJCtcNrqUxOItGkP8rRwTW19zOLc6UuuH7+elHoKJFTKViQ9aN7CZunubj/W3zlRSZyCYQaUqh/p1vdKQLImFwfLXp5nMcWk/MqPZCcnDH7TsJmeg1BYIq8O3Us8kDuKzKWu6ZpaC/NsZhDBsGZF2SRVLKRbFzGYF404VUG9UK9FvBUXhjVpWxsl9A2vwUPVTs/zVx/5fVupoLf/ELUktn2FdI44Vk5J8/WObn9WbsP9ihc94ORrZq33UJxVOisS8iG4JjG+V6V2yQSWFdE7yjFdbVdpqGkwdfxB+dc/3bX2SxTvkhnZFX/O6hDBl/+duhV8/l/I1j+uWZmO2YWFoNKX10kJKqMbk3xZz/rGS8iDSOUMM213U3z0dCSEk9cu505glP4YkE17U4VrU9KksSOHNFHbZTodtQ107gyFXGGVKAIKicrDjh5HCUKFAo8YVW9bTE3jgfZRscOUF6vfdXHTk4K05I6ftAfV7DndPdJrWrQrq+ejpRkCjqUprxtasK42UBLjY9njF/JGaILmu0fyvRe5kPbrXwBPiXY3/eV+n/2L21GU7rBRcH48/2DC2CGi1RKaJ4GIrOqE6qSaYO4nwmrDOfueD2mVEsBPiNKG4P8+C98SwU52LJyHT7t6RN/SX0x5+A5PMa/AK3UNJasWaNcNYQI8oU9JglxoP3u+N0mAFfKIK9lr3FXoa6Yk//WkEER0gE9QQzBMoOBPlbS1EIXy2Pk+yh9utILA3qoizCbSbuPgLOvoxI+PqasFXwUV+z97au/XcwKO6V3og/25hoDtB0CPqDLJ7Df+fW/JKS6pci3Ocz38xuUH8GzPwTdbqAVvl4pJ8GzQrTd8Pfm/2gU+PrsjxLMik3kLakVrHV9pvqfv6H33HNYHTKT7Snxhab2k5ZFdePx01tDmI1e22JoQaB5F5h9JlOd62rwdSXUtehfH1eL8NxCA5EPVpwG4OsS1Ng+RIRFPuRBMYkgr21gWrmQ2+/mxfoSJNY8FIsd4yX0IcCbRbzBTst0l6MQG65nmUcfA6/9kDKwMKRbBkVyJKSGBQkhatuHdwatMeEYqiYE/hfZiwKZ/uOaX4yhkXk5x0FCM9C/Iey0sqnBXgVUMYpfSr3o+bWG406DpHjVsPmFYw2kSjvauqzRw/nxXrmp1lLbptJeFiYOUPKqddS3Wq6xKzEzPopRZiLTsRgIHjMvi9ZfbdWbZua/krWW2Y4syWUgevMc9Rx3qzv/F4Eaa3mp5eQhFBzLe9Tc+bBAxiSReQhaOKrk2d3tmDfGW9Me2Yp/ErihVOtqvjtUwtX0iSAr2I4QxanFkHLk2UjNr5Ud1ADht1jbN9z1uxV7EqP1fmLi/hBXO2XXEvXlenceuXGX4ibyI6QJclHmhyZbFcMeSBBu70314tnpxdAgbqe5TavxJJyZU8IZ/zHIAfCULUCnE/hQiD9gFBLmBpoodgPBJHgQMSNXFje3YwYloRdhgbFMXnhzpocdcm7pOo9XQrnHgscNNS5+J24U30eJd7XpHGFGqqgzyjFnlNR6CKC4g1TX4s6XAlt8VSL9r06laj2yRHBuQmqbf0EvjKpdvHClDwFtZSB5ILbbMCdBfx0dCE7pz+VCsr8DNZckUbmVm1L/k/MkKnbTAPdf46tWkypwWLLFfSca/jo+uxF1kS57yLulMDBZDCRowlchPVBjx+AusrDcdxqwu31De2adQsSYe6zCLy8XYdN6HfUUgO41s/Oa6L/HsqghK4pskRUzX7y1BcgHUUlPa6zJatTq051el8XvVdo1jM//6U7INE7kCWVqDcDYF3AUaERpmC4HlRKCF64iDfAU6KPgxEHwbOd7Z8tvzPNWJe4vnCurH8M4dycb3J81zY9dOlW0b/stLPuld41cs16b5q/O4hPpGqzsTXVWBHANY2EHHgmN1w4187PJb0dnOCpH61bmlN3miPoIwFBi/BDCc2B/svobD07AWtb5tfHnM+7uK9WvORrT6rvA0GIsK+fMnQe3TgE7lxwmAdRgYualwNfBQRSv7mZy4nNAy/ljRDQw9CiMrYqnE/76ISXdi6dAvcLjBgPprWnvLVx/eQqXY39a6yBYeu4opS6Qlhu65jPjEZJUBeJbHpSOte6DANrVs988NUz8pKQW30EYqvggKHRF2kLC8ZcZycUYW1FshfUV8y/eBkbbzVSqbAVlmxvGCRd3Si59FUdu3LTrGwSQuya1TkR/dFTlDsbsny3KWPfiC2ehGql2TpdXCMnvZ1II/TALt1ylsKguDPTdrz9h7GikkkKxUdKPlaWHXN3CDiIeFxiFzZpAVjRajG1CNrgHeCtkmwHrY3c8HT/nx4ZbNwVzLSiuDvkpNQSxUIbqLIGeNpjuADLI6IMlGD8Bd9wiPZmRnw5weG45N5gOc1IN9QWCWNS2wJ8EYMA4V9jkWmICro7aKxPP3U1j6LNbY2oEi+wGzR0I2LwA1a7tQlGiEmq3oCYV1IuHSOBgd5Hqd+j5q6N4IKL8t4qhFHK2TUyL+IKJiwhAesxFkgqz/y0UDN3RVWhHLPgNF0WNhjYzo0rSAHgsiLWwu+K4DIp9dMUc9FcC9IEqXqRmRZkPVkiFZX+QQSSyvKBox87isGl3B1HMYZkfHqnSV8lSqsgXcNi3Q4VXagtPYmuiESCgiZhGXu1zvscXvuapjg+dJu76m0Z0UVNnG/cC5BNGUGxignvJIB3hrWKam6adqBWB3MsCqVEYioqvYf8O3N+X8dL6m+Di3zzlvxAMwIxvPpJQigUf4Vl4T/FY1NOJDBJzM7Q42KMhL6dsEePptwMfCmnmSQ9DWPahcAvcA+3zUaab4TZ2PYi3ooQ05odjBC6OzMPaTP7HzuxdTrCBcL1OWrpCo5/1qpf9e/CE72nkt9TQhK7x9lSl2ei1vv4uO7fBVd3F8lemDuLkWLLstoGsM2WYvzBwkkqFB19AZ11zcV5VAMKBe15izw+n3hYkMutLF4z+Lh8CYxLyPDKVDIvwEw0nXX8h06KNq/2BzMIEXoAX5gJ0QUnnwcahmlIe89ZckIbqWDfLXcj6VQFSGYe0erAuOQBrRetzybjsJSLVdrtvY0cNSmB93kD6uq/nPzt7zc1310jZ2GknO77St3ypKxG8ktBHvjr0W7FbPTXm/eOYO61ecdrr2SjXT4tqEPHt+reqGWLwGEQgmWs+bkrLeCSkRU56raqLFAVGUDjedIvx7wuwrHcojxWbj8n7aAXXyeo1nb+dLvNqfG4NVRQXWuPgALyOH38bxdL1VwLZUodwkfpl/lrfcO+orFzbq0gt2ZeTv3mKrVigH8BZ4tq8u+tVVPlpb5p6yt579C/mmWsJkHQg/eM0YOS91BpTyRStNxmT6nzt+PtIJ+MkiuRPTbameiGHVEVZD5hY+5UsTeEdkclaws38Xm+oBub6Uc175tWtbMudAlUOPZVpOGG8ZWFwpNnAf6zUJyK2xXjWZSt76NwwWrCBh+Ao30ioHD175pozuF3V+0IQoqZqBHs/gTsCNEUnkiKEFJARllWJtm+hwo73tKgbh9J8aSfglhSGiUSbkEVAPYUN5iMMs1uIfrGrPSGCAVcPrOm1TA+pwBlE4PGQo6mrcfMsBq9GDytiHFvkprCw3crIMsMHGMp4RQDXXUCIGgnYmeHCM+dbQT8WruMyzqhJStKDwOnMdtNNZ3eu5HvHSts9+kiAt7X1btOU8TRnk9RM5vF44w2EDBHqAp1xZZEQes0OGSdd1L8zGA12p/a7Lq6ZucbcOR5Nq4j4VBY7InW5Hob7NRbiRMKds/ulVeCItcO6woak7AZOxE1snOvT6QZ7h7WTR+7z5dvQEjAEpV7zTHfOSkfrntFPdB96Fl34Z3/40bMTovbJF8ndMCvl6fNR9fdBHXDpFuNqnBErPdHjek0M+CCPXkjD7JfGi4/5U32U89ZpRVEPfrVKEbp2w3YLPofVySyvhZiJ4y7G3LAn3bR9pZ93udkPL+EtpEI83ztr+trQjsmiZcJXnVPlrrEK2rGfxRQ6b3HEYlSE7k674QSBp/yKn9ZbDkL6F4hjBBoZ57GAfCQkbRV8zzH3rYi++G5U7UeZDwQAZPdQip4b+CwLxEzdGqMKMz68+M+J6KM2u2yFXNTJlV7FebpFnR9aFr7Ml0EMF0bk9mkTiPa9Mk0w/Z0y5OPZwrISGDkYJkxIWknnWeZVxOfnulb+Wg9XYEIviiWk/qCbw8r6kG8HEdgj5tM1exwF+NRtQ97ZHS9d79YZIF/qZsj24hM7jU4jn5lx9LEc1jNR5MajPJj8t6ADfIQFmGk+lY0OzTQLBJZvoFEk671iBGe6Cl26zDUt4XLS3hsjVAXAWIKRAlgLe1VOuIVatxtdgTOhvZLHa2LRu2/V15Y6xDRMhHdHx2FFE3lEzdXgRQTCe8I38/rX3Dv/VnfTFg8MbWl28MNoP0tWU+eizWaBDwN9SPk4YhV4DW1Pju8briy+QuRzbByTpZ/Y8Rgeiufoo5giHtzBoEAZgddB1tkA8SjERHOCybqUJZwCmDRjRKUS6iVjXB1Te3T/I7p1Rs7L3dmLhSHvnLOqrjTvsGDEvmZMvYsRjiSu/jNQOWZz/gwNmcIMZCVVpwdvKNZDrS39vpaGmhnzyGlivm5aH2UXCMvi1Cmq0eT6kKjDvZ1WEhBAF1PBVhi1RIeXrm5gIutTNLy3/KoUttNeqf8rQ2huqOUynm4HFX+lCYmU1CgFIeO97y74f16Y5tFj7JhaO5S10tRccVDGaDvxfkJrnIa8AIZGspZ8Ipnr9NF1V/j44weWpFZ6A+Kd3fK5QgbLBSkbs94i9j9utJXQj37mcpvTUtnF3BlZkS0pY0Pa+Q1Sr/1yshazAAAGn12jfAr3b52ASRh/Mli9eL3IljyNxidKcg7YwJKR0EqeYbfwqjmkM395PEmaWanFK4ts976z3onbeg9mVdTrNmRx6zcFPgBjlFuaAeTmGRtOZtrwhm09L7YOwGg/qjJIlBS7zBmAHk2D4tO0JgKGUSlPS7uLlYFoV5mDHU0XtNavfVBpo4U9rR1n3U4WhyCuf86kGfCJOstnTRxTat1oNTjRK1aU5zIURA0KOhbC7explNJZ17qaR0R7MxEOIf5KPXRe0cgxqjxUQV5bBO54Qstv1ngFTqAslOBsQHtzznzM1YT6LWsA7Az8cQKXdCClKpzF14F8OiiHCEADsi/g179jwrDV0EcyAOaeRFuo0qnXDGhfGso1SBnQp8ADtgHx18mR8kTc8469perayegC9GlPO9UYyikWb9g6Y5ha5/MetOY1vb6JTTqxMT5W8Nl0j+M2hBdK+LxsLh6WkNnU6bxc6Z8/SWbdazaekutGsnv5vO2y5lVeuRmELO5c6m0jkNeWz84Bnw6eRXSsUYZRI6cGXm0HEGVmWayU+JyLNt5I0neRJUxl4fnUlwUdrc+MaE/CrvXdhKIbNSrYOBmS2ldEasOdR7O0c4TqwfDbPHjr/z1bdDJS3lYJ9uMjNci37YfymJ5EEzMw61+DLGl2LcWnHHDuT1dGmU9U/IT8aGWHllvhC0CaC92ccUm2VA0L2CflbFVPSCxGXpI/br4hERmXI3XyWLYbbI2FXAHo8OAbn9g2+yA+Q1gB1fcpaN9iCkfXIq8abxA9OEXfmH5YLIcVZW+K1EkCv2dbHTcKvSWhB6WUjB/ucif3IJclgLs6/GaNUQFqTtYONrW37dxvkThhBAQeu8JdWFneY/Yq2Bkdq/KU/b6PSjaQnCwJB4oMe5GvNBtZ3LDsf77y9ArLgAW3YwlvAAePtl8C2WsUWj5dPgBNOgtBnLD7B55Z1OzV33EJFakWMl38E/fm435D8C+8Lbk5HQQ5PT8dsNH8jz1+LVGKKbYyElGnHOQ5Zwr0eCwV4u8AtrVKuRlS+PYW/5Ubit4QWZvg6LHN6VlfpXI5sTQN5FkNL5OtwinXJZjIJECtYRdn+GyvEjlkZJRRr7s2Pgw2koBbCo6krkRsmDTvwDgTU5p3knh773h+oZcB0MRNUrnfP6JIklWTq+2l/hgZ4QIgUiqfNyygUEu/Ou9KKudDvSUfiUg7RzA/sTnfyUDoWinKJSqB6Tl1/Y8qW7iLHZ37ShONf6rpxstUDvgBdOYsI/FKP9mW8C7RzERHYfuKhqLWrftQo1vWkFsZ4aMSmHp2QMxorg04rl9ZEUgWTSMqYduZklGict59YZcJpZUd9hGFKkSqyddzgG0ASZnIBTrgO+MCeBaMlCLLKrffRUsznuznmYK9WYXD5A7A6FctgfpIKd/HHT1iU0reUXfNAXskUUhvy/FPBE9IyzvZWVBWt8pTlZ+9xg7lYL1hx8TKXA2I++T2T2YmlMLbGhBIU2JTwVvPhGgqleccAmEVJn1Vo4q5xt+y8mX9oevhkzUQeYKBil6naAxFf4SzOFpxuwZHgAgacGpy6khRDTh5UOWwQcYsQRyYbtDnpu6HYAcvfTkzkWjp5PksoSnKoSDFNsx90Ksborw/MUPfvx4rbucM4bE73/S1B/YW4eeYV9Nu6L2fgXG3CT6lbxinwe84PYQTFZZd5uY/v1EYCg3VwchvuX9gXDUY+Nx0SwpV5+eYwjrnMHiuco5fxkQtmrO+GPJVXvzXpVMaw2UPNG+scGba6NuZT70pommw4wpX6hJ1FjW5Nyos8EbiCuhXKdf8gxiGMq4ufJE5nbNbxPZPhSCWIH11pBITmDkmzJ7YDN3O7GE0/3KIsVZFjr9pHqk//VqmkFWeNWebYcDw0V99DQeQGotDB4k9FnVIu0HGvy5UMQb0Fvdz20My6xca0J483VtVoFtafoZKs77kfRz/EehKNhS7ZqS9GX7+V2y/mYv4ntSNX1UY3Ma6FdIAqwY/KmyuuS0GWpgtgsjNNjUvmrTjrnnuA2m2H/H1J8xHQJtC9z6t/okKbsOeFdEHI6kYLidb6sPEKN0KcmJQXhfW7ku6TbmFKjBIT6sYzfen4s78z2JBlXhDK2f2sLYiafuozopahTyO7JJQb5GR8N8a2mtOPbglQWkWIP5r+Gxw8FhUpT15psl6bs/ZPeoa7Qns0D6FRw+Wikmj3L3g5Rzqyosik/9UNBEOqBelFOTKtdCaIQfpSg1p25IF6D35E4uXbzaOKfcTx4YK1RIoHrzWzXUGv6lAkp8rMM8TMX/yIh7T/D6NVMRtMPyqLQGvb8nXV4NeAB5b6i7xSQVboqjILRZRv4aQzQMbcuBrGXclSzx9KQmrO/qmC2PGJUKE5oPhMc6ZU6O1vPJTifnELs4WzbsE+oMuB6rpLJJqDRw3ikiNKZn3rNs3fE6HVqT486w1mcYt9gM9DXvaZBuYZFuLpUf/ILrehgHauW4wqpALnrVafMN4c0Z/i91ovBCk03n13x8U/wV7Uh7+k6ccVu6h5s9agAu3HePtoZjBCiGKmxxI3dCCobCLwbPhaApiTrqYuyXX46mfo1hVfi+OmqPqpKTjSFhkBRw2ZYhLBh0DVNYthg/Ikt0LCm3B7PmoQFMJ4w2MmIBOaYdSvLkIKjJedNbrD1o45m/SYJnQ9hmJdnufSxJw9WHOwcYV4N5QSmP3JTDVXepOkp0wfoW+JQGmDa0Xl7aLFK+BNxzsrSDfPC6csJVBCYt6P2aDEPNHSHPuGbSyIooKreswiVg6tMdKXdNTIo0+nCknZ6Qabn6PBrXY1kq//SZL0DJhrD3vy6VQ70wAw/iYi0ETRZ6CcSgYvu6Vlznj+a++nCgMBYbYEbzUBqx7X/eGdmpdlTHMyeIggU15BLGBX31UzNELwBQV9SowozLJ4ZEWS8yABtvWb4riqLmmAxasSVMZ9QsvRtwpvdpl7n+aeKzl5HsiCe5Xt02qKP0ej7Cs6i79hQmtUdh3KeZpp472yaZ9+cbVA6qspun+5nIrQX1lid/4ArTh8YvA+BPaUfn2fVoZYIwF9sN0LRrEw96Y+phMYXWU9NvW5U9MOooc0Vwb44kZoF49lpIc+GrAhk/vjPQg6c9tVS5ubHF+ovIneGjs0qVP7xpUhf2VDTgNazUwYzXZpYNdgj2apiRau8xLdzCO7iht30UzJuqzeo8rbuNE0xESMcIzAWEua2jfpJTIe7GohROe4nLkME8zKAqzg9KbrSx9yqlSeMQzBEmY73GcUyHNf/QPEIV8ndKkSgtj7dyzlLwu4ExYNd09uKh3w63exW6BzntHoHh2ftgjLDdTcFTqodtZe/UAdnao9hzAmB1MHHUlYsFA4egHXf2Qdb++FEl0kVzrAAU6OKZqNnnRhCLO6VapLORRgLSRGu+8E8OmjQtfnWVCLZWEb52pd3eQbEQNtBRrGyA++EiCtPGrykTbpQeN47gaHpzjF+sCACHA18gzR5mY+HgeRA3CtShIwmLYULYmZe+CG3k8yHSzNxQhARA6aMMh7bU/slSHLrA3fnS7sN2PKJrp2jzaNBCdz0rsxwfMTe+6j9ghVcAdG5cvrJB4ESgbYTUaW9Yaj6m112w2EWDJ4rRESuApnGMpm8gBXk1mINJ2D+i4OGD9Vp0iu1G66k2B6nlq5RqCIQ4NAo7bhQ25pLk/idKDrwXLoD6Ue8L6NGIo1E+d2+OUFBYrCilI6zDqqgmFqakxqFwAu7U19p78BkVBPgmp39da9BDn+wAEaaF8XJd+Wl/QOpdBNnwqfK3StM3SZkUw73HJiBOab7kzF2QKHZvEe3dHfhgKpwWXWyKY+Kn9U1VEULnCrEZaa5UM1aJMH1GoX5+NX/PcfRSuWs6N9A7Pg8kOuNJGG20bKLDS1B6SDz3NrFokAW9vq4K32lzh9cfvOQD6oSZ/R5ERZ8s4UPRfmmLDURA2tIVT6WoEQzL/iQanlDrpGdXEf7LeralFs0n5gFU/+0dn4JD5UiT9g1pe+FcZxFyK/MdvaANqVQ7lIeL6exZdKO0BGbIjO387K6N5y94cC7pN6/uyT02pEvoOA7ZhoJ6F6qsA0L8qp8RIf/JHECIFABLw8x8K3sSZLVy3EC4+XC9GJHS1o6xxzTzi/BNZS9vSu9F0ccddqIOtr1v14gUH+9x7lftDvMFw44vo8PTQ5cWRTLGm3aP6aPy8lZ2CIQqEGX6QAoz9KxTEV1GYDXzGdTiNTmPyXKJnY11OZTehTS05mUQoFDrR6dCLS4ZITc3EUzi5XWZQI+0vbQjBxINJSGYD9FwbrTC5EbYkKoLpWybyoQNEfav9yf/rcorIwU2PKAECiRKnglwSU+m5YeXqIKb57OycX1pOX0sGSmCr5Rx4CRBJiCL2Fo2Jvdl7Dc+VK7hjzpYDxDqGje9m3kagx3yaHLX4cPk5wdA6pm8h3e7P+qIQplpRzG4yEqeTkl4fuXxfh9UkSA8TRW3X7ETy++QWd3oRK4CZHMUaI/HwGK81th05Dc7OlpLyOXxj9yA4MayJQBYzk997nmtl4kw++0zgBA/1XMW2KKCuZsvz3v7u+5d4jSSHaJwgLQdVvxl/2xP/aJhPfNUwzI8PiCu3vGAQzS2OKU6QP8GE14+vSdOj8LEpBIrGUd0zymldn8FuwE+fJNotavKm0I5bLFlmKEdGW0hvQ1oaT9y8EyAOlTXcan9p9YSL7sJyqm6bl+82pGN+FY8v63MGflXeqWt9FKfH9tFsAddVfzuED0oElH1iJAkYRdjRrGmLC3xwyN+DdVa7T3D9P2rAO2dmJHDZtkjKu9jthXq/mh1hDTRWdVTu47G8Y+CZTX0k7jn/W+P1OwClykFZCexS2HryNJbD00i/UnZQIMfH61b/yiXBClY10Yqzg8IIhSudUwVhCfa9WSisFsCa2Hgcf1zCAv0TW7KIyga1T3WxzcxhKglAfzoMf7InMh6me35N1IMjfGSAEKcwiGr3QtwAocgpbtA2pFzMNDznzzVdui4qDkvkN7fbJF8AoKqwYHPFeCvjWWV84WM/5C1yBoG1NE5JoKm/TuG/3aSUTtn3+ttnO3toGgo9RkuEHqxKnneRg6GT9g2UZhf8WsiIXzsix34vj9cH8szLlcuy4G1S7psZNsKEGhEtL+sbByOJe2bD2JLs9wI+KCSGkf2EdpGw8DxE+nnCvHFxmJVVabVyxGZCdvsId45UVPX91nO2qrVYLfvcrcIWyYhP6+Q9TJZBW9mY1kBLbo9vnk/Rf+I1e/6vx3KV6LwtDhPUBS5qIKan98Avgktletmjx4K49bfiExESW5sl49LTsBQxtNba7a6fhOq7KIVxV7JklfHYy0eVidkLWnqZ/9inX+X62WMg3oyyZYtKc+fer9mhfP72iHTV3Me7YDJdvT450fE52q0LNSP7LhFkeuQ89tsB+2IoteGrUmAEPcBunZkmqquzdKXbgn+RP3oapadrkHbE/fMhUGRZNwn+Jco6aixm0GSwimQARrvEMoyFnbiIZXlEgfn7zOCP8QYF039ECopRrDy8tynw5T8vMxwxTbxcq/XTTf98qnhdUIwOe3LtekBB/WR8ygUS8JkJk86iyFhklxZGwDLQPhDOL1LxGCPsn5uISyUcU21Z2BOdgAr4gapifkMtOQWBGhNxi65l0vJu5uOcv4+OdMdO/vcjAeGM4gxDXqDERcqAjiuOunQyxdCgOELBD/q8IGyfxJozygCSMMKMuIU/DxGW1SMj+AKc1z8oNbyK1letGya8Zsz1hNvnv1+Zt3Ju/0P2imrn9BLb2H7+LvTFQH3HA875yvvL18ff9jUWBBPCG9EyF7liqFCCecTFli8dxwL0dK9ZknPbBMk5/qGu+AkzQny7OGN1z+MbSJzMRpURemtL3xM3X3Y6GY8UKeJ1c7O6zcSP2vkmsituTGHK7E6XKfq2QWVbF9U8kQtXAlF5Bz3L8b9ZszcHj3xCXMqciMCNiP/eSOh5DrwkgBkUzIH/pR4Qm05EPNz7YYyt1wkNT2lEmRQ6wswVo4YBLA66AxR9xfWvwAH6DXrqI0wOCQvttAVXZ9AG1PfPDOwPxeI8HLuCUR7pvesO3J6tNPVe6g3u0RywmiJwA49NcOd3CvmrUFnCDgBYBLXvFgbWB4kYd8bfeFRo3O2SbuL6UuZBOEZyf7ejomEA71dw0akS/pBN0xI8RUG1ljmeOapNrRDOAT+h/L+6OI386wG7vFcGDFiVSKcAcFmfn++dYvNP9Nz6gXbOcLht8yYrZNPKrvNZZj3M107qUicmo12ucQe72Y43CE/pv7jed8g6tGdMNEgYRiCKTh01UfV/dgvXkgUUozrih4QnObAVzDzQRJB9OpoiGx/nY3xUk6FKZ1cMHLTS9nfI+GWEYlC2qsNRk8RI9ZSjU9we+jww13jXaLaAjZC3W96YC9g7pJ8q9Hj0ybHRLvN4TeaOdevks7aQK+oyDmijBAD88oOy9FWdcopj5GZHn+Ma24XyYoRv1JZQ26WHAUt6VxYe5i9m25Ci/yjkYViwhjsJGe2tQVqffFMVD/uBBHjblyrIoXqGwQgaxMxfXF9aVI2/1MFBwhVh9FauR8kt1P/L8HuzA27xWtROSAXU63849cemN+s/suIk8FZU1l5LqysT5Gi0sMIM3u2FnThTv5pAbNDbrkfeDhbZndWABg6f3lov4gtM1cg7mC5GzCG3N3lWIwfVgxX66TSdElSCtbBGtdp/9ABVfaD2HiBax0P19vq/evju6wymn563IlDp0a/7uLjyrtGWqQc1nk3MQE5765t498Sp6MS51pN0GoYQfe0MFQ1ys05xOzTv6QkPyZQJMn+ElyX/RaZ9kErmIGCs+CqbeaPXbO5UB1qTpD0hNl8ifrU0sXQvKd3fkwRR5byPlWZtpB9WzB4XWWiRgdbzZ1u6op9UAgXhLOcDmUwTbZlicXdoSf+L+iO47z4+J6nFvc3UCz4YHbEj3iPUXbmXp0NUHCIns/iL0DSAxKieNLg4YghmLld47bwcZz2CRRvtaWYF7DBCaf/WV78Ty6cQ8QZ7QB/JPrlojlne2IxuAKf1dqQxkkbfyy2fh2kNFGgBbL8QkUqpjDDrM7uGiM6PDruhXQX7VbdRwrw2XG2OAad2wc5q2Ns5yGME1NsxL40pLKvlTK1moBc8GHb6gScTHOeAU7ZW0wWpdeCpyMuWmpDkf21VR+x/aVPdXl8MOXDFx3Ker4z8CWDzvTcjRg7ic7tHSAqKAh1APgo2qKYcnMh0LR7hiU8RlfF37PT0vfffwn5j+EFz33VyklasqzmthioNGp36jKL8ZyadZJP8GO+LtklsRsWslgTcHX8VeYUG6/4d6+GoJCZIt6cqYKQ+KkvKdn+VfTdLgZtVcuw7KK4btjROPxs+FB9p5k5ezqjGt5GDTuUOG9h0kwSVKAkatd6LCvWkR6X18tzJvv1/adfKMLqsxVoD2hjORZszpQe5uJJZKQAR0ucDWm6Vumym2S/3K2oRQ1AYBDtnEmOf1GI3h/TPU7JHLxUbIbqzeSwGbADtpYKw1tUwFaRTdaOsw3HCgypl68st+vTdGckihbbZSz4jdwwyeiPatkGEKJ6DydHpBbZSwLgs0DjMc1ioa4lXv5RAUb8fNlg6r4EnE/rUaESmDXagaJiFQYxJW6hZ2nMrv31NFuYKohxtX8Vv562t/UlVHZQtBZw6KmvEDvWMv06p+DdubaLxw+pEfT5CpoDvCfFXckwW1UZ9hW4OlpFluAFrL7CG50ud03OC8oC+wM2VXAjQt+cLWamHZ5yFQNNLzrCzgW2X+UZmXF7ObInyh0GzL7aMR7KrZLnOZPNKyampXY9vQa7pPp/SJMWwQt+rv0EaOKdU2mnGZcnDOGiZa5eJz8yzcr2ZO2OuQ5N6WLRDxgCwNv7j3jtnFb0ozc1J4gE7hTjsela5HJi+MpKHobwphsdt0VBd4tmyG9SNPioWgN1cIVskIJOfYWL83Hl+NROKV0dNS6aI8M2GQmrM+GdstR/SEOIoRSfYz+51VopwYeQtsiaXq/zRUvBMlgXCuIg5Jw6vkatWMCAxJeQwWgQfKv51GMek/NIBiDv2/ygGYYVRWFz7q4muMhPO+GoRfBItBp/lUWVjxkOyp1utbyFPofIE0q10pj9uP/Yzdrb97ymvQyYPs0Zy2nkQsOt2AaTSuNKcTFWPVPOxxpsvLlGlMqu90EhG4Fwf3B3uK07TTLTjJ/4kiu+uiJs0uw3/8I6T/KSdMwtltPLD1wXHUzU1xFM0GaQ2fEg4JpRXknEB/ymF4amflxQXNvjYz7vhql3L/OtczFd8MR/zlswJx+GiburZETmfrh/qWsNUqU3iDw8R3QAtc8heiILyvSPGFa/YYLgSCRH1GZqOVmOcx/2TICC6up2zkGUamLo5BSLw1dvjjDtHtPChgr2nO0m6jl5hFBp+UmuTpAYYWSLuvvPc5kq1MJxZm9mGPXrpIiw8WIQf9EvdXtG9UIlIHprbV6qHXGOUkGLlMRk7bvaOjrIaeX7IWE5Vai01Zq7q1P30Wj89xem2KdpQs9l5VM+ZXSRqsava6by+2BuCb0nLUuqJFqXyOqO727LKpqMmwisdOxnaEtRKASO7qtn7359sEXoVROzlVRNdjjEjGUCyCyKD111ujqqJ7dG6dzMonCEdG6e54LDmzl0/Yrn63zgw5KcTKyTUyM2BFRYRCgbC+Oiu75ef7X2FGOAKG89gtC+DLXR0sf9eZSZjoLjsBO0zcn2vc108pmBJucA32bWEWi/UveEqJ1u1p47O8VX5GtbG4X3IQSy+A+qo8Wr1A37jwGe8medw4J71lEJEuxRxR5YRmDDALMYBn+KluIRGHz5iClUe1cW5NmEMXEL0ITtlWlTeB9ryQSX1nJMoR1w/VE/vBdbGS9+DQz29CE4DA/qFG51e5B2kxwU+UTh7+3Xj15CFZFJX0BmAFXkELjloxxk20KdwfiUnyDnIESzuoEanluzj7SadyhXyfBIUxSDTgCGikJouOFOwZfkcMNruF9DJEMGayh8WOke3n5O8i9gCc6T2Y+OQjPyUfQDJYaDwhwka87jk7WhqyZ51vpgMDTqGQ9iBfDClR0Spc8lK2677nZ/ShoMPZA4FLPatJheXtCrmhDhTiLb40iVkrLUTODjDkX6z79PKtzIWBnPn/fW8Ovbl0WsxAcwVo+xROgsAoZ1vbtOG0LmoUxxw6MMjV/akm4XB1GGNecLnbJGGtEaJeLbzKAYiEy86RBPRNfu/lETNKhLW1G6L3L2EDJ/qnz0nlgTeMFCBXeIq+GXhc5PqMLc7F11HmDKKovfIE/8dqgc1t/fEZvmP9M1VGcc5U8fwt+2DwXy0w5w94742yL5Xt6MIDpsSCFDVPAYLTzDbxzSfN3Zh0rPChVlt0vzYsUfX1TXOiOLQGBUk7qlCt4dZsMSC8tZKuiA6x4rCozZWERxkvxbyIkbY32TTnA/4Evk26Yn2KsfPYfapqJgRuvpg3t+l7KmV4H58AYsBjQAETtrQWga3BYnID/P/5BspxUX+PJhe6lrrR2dZPYxPpISJdfHRpY1iUAu2NiJJXCF1SId4k+RBQbHjdMkx6V/pftrSH+ZY0fM3lJ4sI6pHoje5TGzPZsq6mTpE5Q7pdKWKIB+Sg85CJhs2OjZb/kh4ZaQrKcjwWopEB0x5OXE1L8FWZyQfibPV6yuESpMwnapO3Xhg9IINv3vcnidZhTqfcNSx+SOe5Q9ADxGU460gSNuE+Pp8nZFzuKJmKWSU1T9lJ9qocG73VbfRs+JP78XX1ThxSX6/RrBifmfm/67uFpl9h0xphGsiOWJ5AoeHTsZDfMVAYyvdz42W+8Z9RrNkozEKdgp1Izi1R9XZXc1qcXO0w+VwFQ9LwWwy9GEwbSxh8lnjX0hl794s/kGyAnEM4KlNv0uvnTI0YesITeA6wzMwT5+50S29mzMsGs3iW0tBcfaQqiOutGuDYhpXzDodrZfRBiC7AHAER0E/qt/xX5qc/DXLWutw5sKEE2gwK3rQPwm1qLlWNr7gr4M7chDq+pzKG7BkfKUMq9ZepJDHKmOum/0AIUO6NABDF2blefo0v0fNG2ZaOFx6qTWlBwRKDd2DXXjRoT4m3lKumhUOzgCy/7C8yYWK/grNhwSHSjRhKPkzsdhJI3IrRKdmARmt6E5wSFt/9iosWLDW3EJzvc11sp/qSVdPICqAHyjrxpePdGJhBf5ACQQJOm7lMxyNoX4MfMMzb5giyN3FAiL/hfzQ25lhPyOv6uBLU5O2gLMQ7rgoItJCGB49KzjmlByr+Rv7yKAtQwU/9cg4k7kSJ3RASbeoqh2uTjNxZnizd/RGgRKkyNpt5U7kHVMPDj6V9k3YwqeByfXISjMcqt6Zwhgfw86h/DaBJ5HA88k4j59+lTZIjJnCOCylv4hCjFYQ9545zu3NEXEwUU+fbDUGrpt2gkXWKvJFJX1m1gTWOgqKgKoGuV/loJayXgGNDzbGp1YFdZSHwBKChbthNfGjw4kq732I8ZaMcHfG2wZWyifeRhszPZo0JJpKw73rPRNFNci0Rhs+et7R+xcmxuZvl5WmoMxLW7aii7rm1OkpcsaV66lcXZjvsvhfAJckPWfaqyOg0dzpbN2Z4aPa8GDZyPPY2mva0Gcrgz4RQO+t3GwxynMnILt6cZ95iqY02dfRiVk8RNCeVR0dwJA2TnixqQoBpV69j9KrFbLF6TiztfG4BIl4V4nB9uEYhI5o0eq3wQV/AGOfA2VHX+05m78F/7SPYxsJMtXkwZK4/nTAEXgaNEz+e0mrYttIB25v6tGWONRMovG/JwR5X4hXF5/h+8osvyFcJjo1wbt7CZTiaQEdb/IX7zYhh5Kga1ms6E0hPBcs6SvkNtJ4bwYmMOp7RfbafgG2MYrVVGdpQSafsB+bzcEcKcYtAtUR807QqJstTumu4ds3EdjI1vXnQ5KW9ZBf9gMXLlRTKF64BQeuOC48aNjkxbI1hBDfy1takzirHYKz2gxnlI5VA2ZEUqYkG7thhEUt9IOvtXcDXeMK4wbEXkig5VsE0+aL5fACkob6ikb//XchErjTffbvUZPmidpzInzXwnyM04fLmJ78gyNi8Nkxvx0jIEnXq5kalQOnDXupP2T7V4Oh+Ty4uQJOdgGek9BNaYyY0SAj/XS7x5f0RTR+EjwFNCzYUePdxlaVPNb/Yc/lTLr3Hgdmfc+E4ioElvZ8KZjFLfuAYDCtv9EQgu8+46bVoBGdlvxvfJYh8MGas5wpGPQ77Aurli9x0wc9lcCLJ3rsrSIoaXNz0aC1xTMRXuECyDgG/T9cJh4F0AAvi8+kaV9fxUEKuYTatqRr0P/6f/GiBvIpwcK+EBlDoAvwLxqF/YMj85gZdDA0jLTLL9AZxW4h9ntQxA7CaWUIM+UbqKihQMiwCgtWlz6xSIAHjqgRws/rx+ERt9PS9E4d87HA2vTRwlQupwQGHvrUPu1UhBsEFn/6e2XBBFUaDmkY7I0eAQZXHUi+H1sHs+qDoK3FOub8nhYMSvxzUqn7TRMkZA/ltlf67tedZmK6sl3cKivfoH31FYDlKWttwM931sF11sMgc9PYi0Xg+/1VC5o126bmbN4HS+DLGGFJzDzGx6zqU+d6uK2cafd1zUfKZJH8LlKIYgSa8xV9jwIs4AletAgrpceuUZgyoZe/VBJC0UFt/NA6k8OCf/hTOyp5b6GZ3pp4SbVB3JDms/zFo7ZHuSpBoGZpavu+feY9NssrX3l7cBRcK0Vl7wKx+Hfb6LSesr6lfTcVyRCN1V5F2f1I76+5J12iMPxE7+RKpUVfo4pVHq1nQNMT9lXW0YRAgUKVXF8ZbqdIXHiEEmcRV7YeP8J2YC09JyTbvnK90v5e7xdFxe2Ujkst5FXEowadtgygqHgZUlDsTxAfeOMvZ9/xiXBEcpUQA8Byp//wKGDSCW46du5LF2ZKbHRTbOdqn91nhld54w5PUDPrDCMbjIT73O6T3Mfcexh+B9zj86aILv50bZ5ILGND69Tn0CMHcuqQxcN4VRhSfFnuXVgqb6tsriB73TyTZnP2XUnSA1de26XoDfOg9QG0eHF/y6+XINgQagHv7xZeFZ8imBssRrGsb7xEDnq9IE3uz8aK5osZZbeD88YR3WSchF26A0AVTWfcRLcii6fy/LuDVq5SP0D690IGsy2Skg2VZP6hY9iYQc9RYUEnxLDWvhVXUhRgAadCIgeNgV76UWS0Jzn7EiUk+4dJ2foCJBCgxJD2m0pecmYsQa7I5zbR22uq38+81rLq9b7r0U5z8eVJXKX6XUQea7UO8rnKxcsEM2UFJnvcLylBDq/XQ0NbOhoxTIencOGbqNg/igXaOQInQkotHzD+tORo3sfcCfQiKBPrCDzX/rdbDLqtgxuYSLKm8l1PcEw3Bqn1xMOSJS3eX3sCPWqcVXXJcjBYsPGETukwmq/bfujYh3SxLBUaU5FZV88oks9BLjOgYBzgl5L3Mhtqzrn14r0wuEGChaXUQL20vKJ5VIo7g85kWE39Uxw/Iph2l9+syM0PR72PbE62+w0YGnhV/KZf0uUrIQaioS2hHm8DUe3n8REOGp3EPD3rUKz+b6DYIxo4yoiuOGIQSaFG1mzz5QT3ZZWOwScB63TYpoSkV6/2Rs7PCra8IoVwDbJx8Hx26KUdlF9+D6EbatTuIWvDYbJHk0/sPGmzo3gGAvExKwgZr7JkS7369NV6tDfrOBSSY4PiKnUOcRsINr4HfKdz/iWteZtdMU6CpZYImWuaROqWkxefHtwKsTRqrele18e6WLQmQib9rH/CXtuz+kjGvx9CoT36vwKcu6Che4l0FF4cmd3RSCDdotX9Aa7CRn6ca6Gkl67HysIfu8j6GmkCF/yBbLxosjc6uEs5ZeALNGVMxa/alG2aqp8AlCqwzHPaQp83ApoWvN65F3RXuVp45DYyyitqpo0JzTfxv+il1sxgNJ80053OVMgVEZfrjLyVuWrODAT6goEvUDi1lDjAtYAlrPaM2yrbcKQB/ZKygAlDXpr5N+GFkmdInn6GsBUj/yOiP5K5Peo0R+oxh2q15/q3EG6GXRjenqwzv2WJMTGRIhW2c32+GWc45ajGD2k6xHvA4cihKZ81xwJd7FULBgsZT0ssITpO5atp0/As0o7v6RNfamTvkaZNgWmzcN71+Xx8HA+DZcjl51VxYapku9eckaUUPn/Wtce1pFqGsj+HJNtLdIkbGukHKjHewQ1DSQ7Cf+Azv24ezxr3ilgoOuZuAWDuY1pYVPVR1ZmGzihKH7jiLUYFhiMjxb9KIwQRViTPoaklU9L6Zrp0l1NPNgosgcprpGYHLbbvyFBt2icc2wrxk5pG0HtmJ/REb8L7gKCexeLL/ToE0XZnXEahI8rGetyDjjj+oWly3AaHsDLLT9CV8i7Q+gKGjA2YsufSPJciBC3Dk6YXz5YQ9KNKf3tffxkbgozkv8Im9BW9oWij0G9/TAn3zfosyNlMqvdSibBSRlMVCnIb0RZouLNsJb+mxDP7jEZ39O1Zysctb9YGj0eTGwnhqlWpsZerJtNZoZG3YNOMuVJ+Mszm6C5s1Hg7nBBFJo5VU18C4HBfzhsbo2iIV2gbOa/z3a/ItcC94nN19C8+0IY+ucNFcT+JFWUzunWgUKMdzR+dyr1PUfuHxHzewaieWoJyIU8KYI6e2SH1mIdwwVuZks/OEDgifuh7U7ssog36DXmkdkbPaGBBuULL4QVSLjWNZxZCUV2BbRR7DHBklgf0ZRyrCkmSSuR5/D/ajgQfeP5H9F8XGoCLaeQOqR3dC6mJfSig2BxDKP7NI0/Jz5eFd3aCoqKypM5q5QeqNQgdG0pmY6eimYHIcQpTJFfKPS9PMMYYJeiNX0Wdu3me7Ut78N7C6Af5yE7pAAEZE5uWfUkox49+IZvySREg8YMU2asrN7OUOyoRLlLjolXRukVQynaY1cAGeYbSbHjhjmp0RP1PHzRnE10oBx1acPL5DcjvmXGWcp3yELGgpVa5qWYopv582HdYz0fAgXYTkMG1r2eFw4jpPjWAZJEt+Pnif+bzrRUc/zA3C+D5EzyZ1GtATbmsILI0mdwxE4M+fRfD87GXb0OrL9unm/gjIrK/qmb21KPVlPmAqm+SpQAPsu3ww/CsyuanXgZSnmfZqmAkdSMg91VtJRHBtxNj8LybI/VInnybJymAxmq8eVPTmfiE/YmE7/iY5yPCrebfWUAOgYb/zC5rPWMdm9KcgY/n1VqueTvRoMc3pUjslBYo7gIvgSEafN/AHVlMNUpwu7ZrEdezzKrW5844W8NZfLzy2ByGPffug+CMrB32N/IKyLtzHNOoB/3RrJx6DDYoO0iVSp6ls2/efyPbw0DWkoXnBPQpy2F/ZuIFJcBrScFCDQyfX68qKdyBRbmiuK58Zq04bgpn5a7sqPnXYQD3gzf50+nAb2gZtmPhE+16WWmKpLFxjo/04zFqWxwekzoJ6KeZqmFAaAMFobYb8V6LQf++mSCFH5eQs4N4dmw3mv2M9kAPXcrt+bNYRx/Q4bL6ohxfgj9aRIiXkzx6NZjSkJjhVZoawEpziMeScIUBjhbGrLmx5kmyyLlrDSyV3LaMkFklw8fvaGDvG9LJ2MWj0QtW/EX9xxOpjk0HqhZoYb2HNm5kD4mZ/ij+t3b9vDAaDVlP6p/WXS0FdSb+7/iC7L3HQjuGGXH+hsMN0+1K/CU+nm1e7Y77AqmnL79YC1+ATW57jNk3x9glnhuCsSpi/wgufLTw/9rpnSvw6vhJBbe/r3X7hZuTqBNfXMCMBRd9V04q8+YL/k5z3E93KEMzlZKefEvBpMlPd+JnIId1NGPryPtSBeOa6NuNrpIE+T/53YjFVBQL0s+70ZJ9lPMFLK79GYr0NL59CiiUXBHgtNGmVTcM2coVoSC/+c4s/1bEzrSpu5lwL194uENPFclR0c+C0D2A0FXVfNIpnuRBdWOAFlPZjKsRKTqixek4CtYFzKFufDB5NsTDFJ6Dky2kf7ZX7YY8fVgHRu/T+FqmzuU/iXr1xx5vgTu6V5fr3GLHazz9Yl3++IHFC4J3EiIaXk++oZ6tRcFjZrGDadakRzZTWFXh1GdI8hIcGI9VrJxIdbcxvFjm9Cm0tjit/tG3l2wqN9IiBK3iEhE6oiacg6r4hMEh3Hu3BLWvZ1ug/2hmnbfUjZDMjwthJqUqM36QNL9eWhY7eiTYmvnJj5z9wkcqs1k5YoBKdjwGOMMapEUiKYlz5EZoVxhXgPpUTtr64Gm6fCUHbHrwJoyaYSPuJpTrDRKXsFeyBr6jRaDo+iO9CDJ7x0LGpXsRzGFMNp+RBZTgHljToH2BXiC4MerxcJ05dQbXFW7lHyt/sJ+v5lhYAy5WtY6rGMt0DtpyJuH/ooQ67ifU7f5nNkYP/Oe6qGF1rsQ2G9VLP7w4isNLkEgxvDEp9igcgqlGU62NiyCFmr213niqUMQ5FXOJSBUtsmoR3wtKAqb8uZ8lsEpFnzAud1pZQRemioHxDBoiGx/ovGIjECyLzzZpAcc26XiwNv37Zcm8pScmiqN3Tiebf7R0EkVbgXjqN9zpUbh42ePuq6zXdY7oAtBScwUcEiqlVRclKnXS6Te2LkJQ+9d++WavDEqinIiAhgW9OJbUBAhHJjO2Z4M5uWo5VwlCf4NMI+fQ/NYfnVomVt2REmBNFE8vnfNKJjB3yoHwjiAlvEdEyw+K2rLC10daEMoBjlxjJmzCDYm3N02qTv8nSNO5uR1flpku0jJ4ArRl0hfwa2YUxjXF/GfonhCoO9aki/F1fWsJREuX6zgGkjBRElldLzONAU0JhPZUfz0Nn+qFMB08oW/+k9b++Fo/kmQd/xU0+F+wC2lkiy/WWY1Xf0OUVN86/OWlIiRZL/mU2gTRUqr4cB5szhFA64d6C7jzop1I03GCfevvo3I7nbSbZ4PcGDYmPUNmM7sxD6WoOz/0nmuiEfczhkXtqRnhiTcKsbINbwVNHPDNWB/rKFxtBFTGzNQ+eqEmtiWR7vjex1so0zuAScaNJW0/0ow1/P5IDrED6yexE4f/XdOdyTKb9PNv/IUkT+Y3UrJ1u5vjoBe5TClvOf1COm06x0YJ8eEGhpurjKXpByaa4gqFRRMLTA+LhW2I76qUOglL4+wsmi2W3nEQifQ++MuDgkI2hvTleD7kdGMQNTZ5bBZGGqXcC2WfWFd/AHYMCPskEjtiwCzXBCQGfaYb+O6Za5ThVMHxMlEuaUf+o/btHaj6qTtMvFlRhpzkmSMPDGdUzKD4FZbU8oezuF9mkUpQmaG2/6yR8zploRYhLUKH4koE2J1kJPK+mHe6aShMD4TAZwn4rp2cXyi9/wTVsvUFdI32JhgVZOYaVri9ehVihPCUHOcFJ9fr9LJ1B5kKBszEQBvsQ/wTX01c5AmTwYZHgMj1KUIAjbU+tHwrCx/kH9+pOh+ms8KV8lveCh4m6MwnytRqqG9c1AalFKgeWcFusovgfwHE9k8hSSc0YL1ie9bDV9ieZZA1qxb+9IovlnAhWOqSHFV6NfaGQqnIUCr3Am7YJeQakn0kNhZovF+WBP6NwjXIU3T4nqfzSF+c5ZvaS9rXQigKOGCOsMUdxyfc7iVgvxMZ4pfrR7FoLa4Fgiy5ymvTEA0sV92fO/JzmUQy1WOfEtGABGXOOdYHUPHBA3Wi4svaOCmpKYg4bGSFD/j4G6Qy9CA1in/N7xNR7YF9VSM0QuIsj+dxUMiBOYNjyrmdTkYmzOSfMEeYEXIJeZSYfdywzKXhlu6yAU4YoTUd0rjtIvp1CfHNPNicGYOO/485XdW66P50IYk7MMIvlxUP17zM7EOKgfRNt2H/K2ZvR7H8cogNEcITQ6MwSWlneJsSxD13Nl4P2Ib1vg7sOhBFralz5W8917IxEYGGWd3sGBljjKoNuLwFypVfLGY7rAUgpsb3fOeWzAe6ADnRD5sHktiwD07SkUatSHcbdR5nUYJ/w13pESE13BHTJE7hEAHrEIyJG4NrtMg/+ZawFubcB+dVC+xdB6RP5bjKi1NGTsGihU3QEGDhhOIDPwGBxxlAgQt1UR4Z9BNMaYe6kk5mMqHJq9z7yrVbFOu3sTzKS6vK2pkNWHPsMbsx3wNn/FN9d++gGtUHkDWJ4BJ5pbaUJaxZmlFu3Pn+BOwCfKbzpKEzGPM7p1hJwXMjpX3xqbtZ6EcSS3ol9wP57qyFPTnIcG0LQkqwjhr0cIugReFZ4Qey2F/nDPAED1+wt98e95GE5fd4zuqxnhXNhF40J9jn6pcHHLSBa60NtWXhL3lDmsbU2f9cihm6AT7Q7CzE5XNXbpmH/jsZ/NNiAv20jY/S6RIqYwoaEoNABF89pv9aAoTKz23sdMaWtJqS1C/Tw+Jl0+HfYWGyzHrQo7PpKDvxU46miQuuyrqmBl27CbFcY7mBJU9BlhiK1DrmEAkToJ6Mz1mFeK3pQcsf9IFiFFN5hbwA9hZS9hDTZHrfbpl1c8iYWAWuNPtk5ucaYm6bwYVdmhRv/fNynq2quBIHXbJ5gAEcHcQAXIKnDT1RAotCuNC55Dupyw6sMHzx1BZCl9G5EAi0/r/QfkJ4tlmVlBv0XYcx6RsKRGxE3+L/FD2Dr6CYYXk9efqqxHVbi27vR/MIdSXuhY6PNB4cdi3GbjgOtEEXPfj1IXEe2EC1HU364ucsjjmBFnC+TcHCjHIp287B+IU7szPfzWbLLlgSHdNwQOx867Ft5JS4LympP4zAy6UUjwE9S1yI7Et4f6BEoiYsrU6cCQIinq5FaWUecDxo/Vh6i7pr5s185lDYO3iywTVtSO/gz8/jXnRJ31WCYw4mfPCbuwwVD4rpMDuJHldjgukPD1bIjyK8h//yRYd0+qbvpPU7hoxRNAeT7LGDDqRIg9F0Yv7s8Ke0eBMBalgKw8hrhn079ksdSomFRylc9JrbIPbj1tmgDEldCZLWAgSm+sHnJTpzr9e0dlYsCt29+sskGwoFHS1+vHEwwW6V3Gae0n/BAaM8pg3YfAU/D4hJvmtHkVTBTQ4QUUPkt/zL8BBrFFWCFjwLY9K48jFBkVSEvR2z4ZGoSdlx8YBHddR6ySOwDuZuh/ieoiXOBI59BeyDEpNULcLuBn1TPUOHKCISHxABx8rKF6DXSauz0CdAxBW10UcxyRFKLXbn6yqmWuUbM68vn+GbCqwTbshqAkW1dsYeVuNAnVkOUWR7idddxAOCWFBRU/1fkMWILBWS+LiELH7x+ii39SCgVw8wwqIWPg+EEz/+0l0Q3j4FLYAQ4sHDuRk8A26Wvn+5i6n/7qjB+UVnRhk7ecV50PUYzM51/o+ihRcKyDnt4LYXzVFfSKAC0rxs1Nq6ZuwPJj8E3/FssAmq89ZfRwNJ2PpKX9899auH6twRY0RVsUxhDNFIgbZe0ayqJ6lhDpxd8r9LDdZgceJLHdtanynpIRAJCwh7rF8htvRWTdyHkp5efJNWupj7X4Z1F8wfDnozEPsVZe9nTJcqmbgdo/EvS4ydbWgRxQJEAf45dEKR5bzMpl2cy+tEIS7OzEb988YVqQU2kP9gPPFdfb5vh7gii+npri+Xy6inq+MBPVJVVMfsdsxYjjpxz4ZM5sHgSm32X+WMnVjezPuId4h7JV4rvN6LbxKLf+K8aya2vBg+zmbbWUeYYbztZTChF4s8/ObqyukAluToYWt1l86CsHCTUYIwdTsvRNSZCyyNpcgoFYNCvdNHsFNWObpmnisFNdxMqkuWpZTrwLmM4sIm7OxpLgBjf9Z1Vp//d0SeDa45O8U2aeS6df2RhEjUXxDM6/T3UnjfNvQ4+Oo0jw5PAh1gLo+q1MNM9W1dqlRCVUVLbQQz5Fo+DAJo5VyN+KZobMdfD/GLvxK9Guy0s7A/U9h+lob1FodlJ4vxnB0Wwn0kVggad+0mFLS6WEk9QAEhbUM5x4tqVxKPvZLnEMg0ZFxEo08VFVPI7WzoJR5OHwdbqjJW8OEbFjniIEIw6LEXBv4KOn+pkKC5FROcNEuAPKK8KhRKZkpdF6Euf/vQTbzi9JASJCXLyYmeB1pn+6i2fGHhE4UXbgceKNc90GX+501n9Fww7pKBxNh86m+Y8YKFbc5vhDnKxAlbYDtQsXorz7ogAdoUZvLGNKTLCDOPsyssqtOj1o4z7Mw8VIf3g8kXgasvnbgUo7TsKqshZNG/rRNA7ozn9xU1wuvwrbLj3WwuO2z4HNd2c4BrJzmD0w9FQaF6GCayRMjh9dMMdpj0rJb3FX0qcgeISBMNEr5JqKCZCPER43GPh6b/kNxh3snu7ewUpkn0L5XA8bFgpcFzeR9SPM8SjDfbX6nZyv5dE/uUeo0x8NJle3pi+0w6PHbC4FYEi4sXwKPqBAcNd0QPhNjoVeIHi5BIKLsHXLMu/D3gyY+q2bXJN22GvMzAP5vwuDlImAqZGxwgzR9cHijfRqDFpYjSfk6NQjuszpLGk7InNw0pszoulU41kl/HhfuAS0HZ5B6nk+2FepgLa0ltV5+stgYb1DwQAwHARmryEc7XvzV3c8dHOoWHEOX1dH3438B+eQ++Q+fjviUpBDhqOC9lzubXXDgLfT+wFl9wgM147KduSIUli3FnloP3iGTkVFLOc1euQZvcqF+oZPk3vVZomLCiB6MXVI7LmdvizqzsarNvHMTUHZSIWkC9Av9ehelti3LmLuglUjGZ/0i8mzszQW1UjuUcc+iq3G+00Ernb1D698Id0yfxDOyJJQn41Rs3GBJcFMFuZPOymG595NHpMF6ekypi5MuZRBT5GFchlF+E0E3UyT0IHm7tXfiGIMS+l2EcbGN2W66d7HtF7j8KShFVuh2cw8O3F/uUj2I5tnv5cuKPBZWjoDYjFZi9Mt5bX/5cOHM/v1lyEO9ihnfw4iwyi53Nf6XFinAGvvJZUPJlcYq9COZuzcldQ/2nTazs8D9EDjD0fMKhcLQ3RsfOeZeHV4uEVZZaKy7ZLg5ELd3hEujyRoqcSoE4gwpmyWoQ1UoydwJCfaEIiEqXY79HIwuhjEfskw3W79NPWi4Ska8/gnnFasgeVk/CO6Sev8bwkbzLiZuiFr0s/9BeWbTIqayItD7XbIfVEY5TUyDVFg7DxV1YUfNWppGh6fUXC7011QCyBITHIRSoSpnPu7/o8/7ypjUeu8nluqSJR2v0Kl5aGmn0+wP7yM7t3u5i2MdWqgFsuieyKtbePjL3SZZAd+uaLC6QxcG7o3Dq6Y5AMCl2NYy1bfaIYYKY2Z8Vg+YNyFsPx9P7TP2vufhotZiGBwXsN9mGmFIQdZehyXhDYN6puEsw1PQbbjQ8VBwS5ROARzptEyKoVOeRPQC2Pa/F+lQIlelK5x86v+J9y8HsWzm3DI2bZY2yd3m2pH/uAP+gQ0qnFJSTfvZTc0WxSY0t84JvtyGzaeDMNablpc4hXjYZosoBqvGWOugBbPakpk52i4SJPnVcMiyLAqaN3jhfRapK0JCJ7qZZRybsx/GFhaUfENFlrVfOxFmPDjf0iTfW8/5vzZmHayE7KebNwxvLPOHLdWXzP6txuTy4u5R18dEvbWkzOz25YD6U68gjgA4e/SVGivrQut84fZjtzTq8I9Ih6wdUq+tzDakB5mfrAR5ynZN9GeGff47s1oWPI74Cox6b0i7l22OixrlnzhgeKRD9OqaeBxai9Aro42DZV6rMOs4FDNkIPwsVM/anFdX68PdjmobPaQop8vSroAB4x9zwI1Zm3SDzkqmos5sjZMCA6uJHSpuz37bwaUnbtOK6iGQPE1PtnQGxXC5LZksypNUHZIqz4Xe9rdzPOAa0z0zJyg6xRyM90/TDblWOzH8XkQPEITtjc6rYT1YDp10oZnLzIkVhJIyJS0642DPoYrC/muTjO3/A94A5WmfXHslWvcTkf6gL02LcodhWVNKYoTafMqTo4eoDh59HbztdpSkj/loC6YKSgpQsDh52BTxGiC9PRHiFHS9fAo7l4e7EZRWQjho7UOthtVONTF6Y6gCRgxSL2+cZi6ufDMCa13vY0R1HFWsxTDLGS7Yzag6yG13iGumlZUWjhqlaFelCLWODVeVheJ7WuVXift9nHv+E3JV9vvgexFqyVk+0Py9KtZUDIyZUfPTKIVBLBuCzcArWLu9SFeKViazha/MV3NxzDOu2QPXrnXRtzkR2yiu/davh1S6dMbxaWFFukXkjZJ42Vh4pTcaVlJzjkm0na4h0oH0bbPFOYymOK4Z+Ew8DI1na4tkHEIPdzaswttXM7LKssig9Wt8c654t+RpveU3D1PjoBgX6epNHfNGkBAk0c2VqnPpERwQbHRNX3MurVsobO42erpHiD39wLKOsyuKQEmSj7qmsz08RaZA0YwfXGw6gABlxfeq+IIgVQ8ohrxRopvUqc1EHqBSTd7TC8hFhc3AidkG/J4RnCP5J3aewSL6gWnUpD1rrjvkMF8GY7Eayibx5+Z0VBglZjJ3jAshR8hwgmDuwptO8e/NODQaNZkMYoYun7vB65vOzUFXND4hIxq7kpYVIMZ/SrpiOfYUcUv432WlRn1lQVnEsoJLOFYR5DiCI8yc1cTmQyI3aPlaPuxuvPhr8JML/BLSpkqIsP5BcuNeghkjjUuL/wq56piCkuXhBDW1w8Cmu9qkxqHAvwCwW9jpionJjl0anU+9EKVRricCfnV5S9ZTPJ3v7qFlnmrNGqwU2VmO08MR6RrSIBxLGyjFT7XN5NB5UgeedkXZyOnRzCPJSYAJy5IJzCv7yicY6QuyNb2m8+5lvidImrehMkzi5QkIjc8FPjCV6hKOQwS+8aEP51EWAcePh2Rb5WhtCgtyr6j11JU4xSXnnGaUSLB6Dssz7z9Sd4Aw8YcdEW66GHX+s0vVwUNplJ2Z7dAq5mHeLHhQ9iDTh1m0Nr4bZr4FSBdzn46d2DBJzwqV9veksjfSMJFOd4yLq4707SNIa1bu8hCLW2AFqlVJiE/JueP1Q8fuZCzFDmDMN4cqyn2McM46+ROLyPa8EVo0R9Bqzdw8HXx90H6MpBpX+JL5FrJsCyEeHfeLM0y12yXrfVjX2H0WNTQqHj677ekp5RVFPVAMHsEOWPiIyudLIVrgFDdoufnPbfFTOKSs5Znft4FummfqyRT6e0iwqPeAEWuT/kWKvyubdrXqEtm8qT2mqkT5baDFYGOxGLH/c1xTrLOGLhA9m3GIlDiqPfDl2fYPO6Y0GmKNvq2rNNvkAoD91/y/AfsVPHJFww6NpEW9SIu4CEta6HjwOu/eB88NR7PrXeirCRGuasOOxuKKWu3pieWw7BA2YFa4csnBdP1HPX6kyIC17poCvc4Xjr1T5k72Fha8+AW0etG59IEErX8XN9LicnW1eWZTUcyy3XJF0lxVk/S1k35xu8M+55MakDJMRFM8zGKj6W7I4XDjtdaHiyE+2a1iR/I21varOve/JRMq7UV1uA5ovYCeLXW1AF49hOwxEXmOyncvfTsIUwaqE5xlxB89JcJxsEkhwJZnynIz4rzPYF0p5eyu7M2CRFefUQWw/dSgcu74VSlDA/JljXK2SNW1xwQ2nrrSX6o6lfh6CmExn3TOMglfewe+T/DJn6jGaIUh7Ya9ciCii0Ltt6V/m2pDMGy9qKYR13qDhGoGQ5ccXm8VswArF6ASIt7CqZ2xC0Uhf1vZ6HJjyR/2htY1Qa9yRg0yRlcN+RVBGTdjAyPboBoIDVEY9xXMLxNSh22xJjBeiFKdBxHUkf4rD0+aI/wE5/iYiiRWD9PLQmw+A/+C9MlYrHgRE0YF8Vyd97rRgqbO6DQQ7MDprBqY0CgeYX7mDjafgesa8pX5mNTeW9p2xGI7JI2IbKjEr0QUg/MrxVCJY8E1uZpK8grofI3E02Pnlxq6MGdg/V/saK5D4gb/SdpjHG3T65y514NWCYc+Ysq3sSA5AL0LJPCJ7cUgFtK6I4FBQpHmCQCJobjnY/hOf/7vnNJ6fX+CS3bXkS62/su+xdyg3n1vgzRtgAAt4sMuN4jz68R5lGdDuJ3zegCWEKWlDv8g2RIEN778Irge7mNLYuGTNFbE+m01yLOHqyMfXox26WRiRqUM69VfhqKuIt4XBTvkD4gKbAYa23NNCaAkb9UxmRP12m6FjGqX8WG+0AuJKUi8Q00/t2eXYAj4REuuVSctnKi58mI4BMXhYSVRzd6NHOy4X64wz38XyDCw//P8J5HW1R9c+cnpRUtZXjEnXFAfwNGimw+nOVXs1oEmcsKK5mxe8ZhRR/TqxdWC2Bv7mdry5rQJhhcPmdAroFhehUE5zD/WOLM4Wz4Ky8oEgqKsSHLSsYQv1ofql7lmYyNif2L9udqRJZ6WN3/M9tZN0uxN/g96l/dm/KfvZhy0x11S4FblESMnZXCSKuE7vt80awQD0GQQy1qzd2UOsotpwY+QeW/6fNO92q0DO/H9bSN0ArYBZCGbWF9/HAzDoI0FupR+XM5lA3QC7DdzloqDhvctHdAeGH/QvzATVBg8Gx8MKylDxB9iitn9+Wi4cT/vLIO1hAO9JGi2+K8Wo7kAEDLfomuXG+hPQVCiwLzzOH78UXJBVvZYSuRBsoYUOfwgT5GLP6ineT9PV9+gYpOrb5BmtzmBpRctp/AsZXGTst0MoMA09E0SMfEn+E9alr5boogh5dTF+9aHQ3ydfaeE3VNx/QSZM5rAoW/HVBMhiDabCnk0blVEIoQ3Pvcem0GxKBHbponC3QjdjIpsPmdxE9JQimKpj2QJZmyOxKJfESj+8IgttibZV7SQbQ6sA/ACYZkKmkhFSQ3UrQ9gELXtbovNcqpoi81WaEXRTNN8WUK5XXNHW2h33il7HvqupQo6mg8NmMSnE2prGzeHdoMasgZ88OuadZONMHQsdwtd76PLe75g90fnuC54gJZyLu7p34PPBpsYP//0LjMDYMXIuU551UuiRlxTOY9s8U7F902C2DMidXrL8zO5++ePJbvS+HaHpDdXzX9e5qW0uK4Go1qpZGbnJmABK/mE/KvYbbtIOcMjzZejSErsfA5+nsC0jo45Pdh4cD2VCTf9BwaPabZiDw1tUbXp0vJezeSWSDas2tk7NcBf3pY3VufbHSnQdKe7COwif2HKt5MvTksPy0uTb86jkgKNmBn/UnR0INpdof6f/3GtXno06YNhZxbJBE/dquZhFluoT/F44XQ0D2/WrQ/XOsitDBXJ1o7ensaBungSdMuFZkiixk55cjAnApZxZi/vc4hP2Ea2fcmLVUlFASB2FbHHTucT6ouutvVQ3lhQzx08a3rpN0vVFue57/+qhhM9fjx3J7f6MCUTSqexJwU6LG90OT/vylxaBeYuMjB5EcHbCzPVGXaqa6wjYNeFFxyoI+sWY3WibRwoghmGbS0HXSDI++fUNLpE/xlFxxSZZcbUn0ZYQQ/c9nwhjhjq7p4IsVyEPiWuGFaJ8UPPuBCX5ffSkMREPy590EOYWb9deO0s6US/5sLnaNQ3uOyFj9GGDLkiFctnMfOZFBLRQaZd3khZ2IEj6xTzD8Eefl8PsLx9WK63DgvaAkY31VunxiLJC7Jxmfhcz4MaUhLuED85LjYbaqJqIp/e5oy8QNRp6Xw4ZaeEqGZIeeb+gNMX3eC/0Nsu1FkfRMjExl7DSxJnWDbqaMSw73+kVTU+Fnp2fuRjYGreVJelXIgpNQX/pGKC36ZDk62z4nUP2rACU0pofbiyZSgT7gSbwX0AkVV+cf3XZDgctU1a8ZaZjL0IvVEf3Bd6/43FyGcgaMzbyFfBtvLIHVh0E3ZkOCV7HC4uxY5xPuDoeiywJj8q82fd365DyQ0YJ898d3pOApHMmhdV6xGmnHO0806Rgb9EqHA36inVC1G8A/rUX651XOMiQkneGpkXkhoqPfVcPEp7I3Yux4gGAk5nE7sSak4p2GpadZCQ+aZ5czUAZYntJc6evfrvS6TZBmioNb6fnGwz3uX4XSlbPRD0L45lfp//bhQbXHUT2LPvBu4CcC/RpIvu2sthWsa+O4HkwTarWBVnIOTes0NV5qBgJ76y9cfpM1JINcn/CHRSsxgeDWYjRbkQWZEbSB3o7pztaA0e2AwIDERr0q6iGcd0AW0m9NSvIUjTCuHsXnlrDAKMGM8Y7ELp6CGQgGDbpXox0304sXMpCFX+UBFaerC6+Z3GBZLhn4QlcHhMsEu6dD1zDcGvN2s75nhe3q06rhEt+lxR1vz8UtMXa+WbfwVCO/9sWP5W7WyA+f7mxqBHqEADqnq0h9UQlO7a6gkj7U1t4rJuz1u4UWJlrQn4z2B7CWHS9iVMlyxr7fY3+1G8+uHLZQdRzvlSJLdeY86QDwYhoNLJkff/nOtJdKbRDHrk/tzbQKP4cMoxvQ3SOd/XJ3sgE7QmODbyuolSwAKTn8AKbeVebE0UR6ra6gpj2i1dgEz0ZjmUOVe1UTPZca/0TqpuD6mdK1+rkjDSNPdOT5Gu/wugoCMlwOOTnwR//ekR8t3Tfiw4V1jfTz+ih7/xQHATQ/8+LQURO0MCI9qgbV6qPhfgbdkHKRD1YG2D52WslUd+PXqHg01qDFZ8Ht8Ck5t4EKg6LPTNcEMvcQIQwao3gyMREshkuDkQOT9HIMau0awxtUss/ORMtLKL5+Cg0eGGA5RhVX6KbxmPv8fDV3PHjXs6SucadcYX7vWYvFL5ZBZ1g+k9Qa/IMF28t2H8rVOYZ8x9MHVfcV0N0AYDZGKY1I0IpobHG8UMJFsa0FoZfzLCulNsOefErqfoPBkHl4OB3oJYiYo+tkQUwHKlaTAYV05n450QZo2d7FcVfK0VUW5eBg6XuACbPQ5DuF8oIlgcmmazCUMYjOOWEDsHWA6BdCIdKneY6CeKCgZt8Oc4UcAcBmvTvT9wQhVaS2hpzQEOAQ/wXDNVoGLAnfTv5Tz8NHYUHlQBDbpYxnAgXzc45U9JYljCIxUY/G06A/sMQZ7nY8hSmPTobdG58hZi1woTeGBSHGwoXSdThmOR66nMurar8vtUl0vc3r13G92HnCm0tTJUVHai7uC1oC8stO33yBuFVhMBcn7naQsR+wqtsqA/qUdknoXKyJU2FRwE9NnGrBFWkeMeeDSCVAvwEfnd2Dem48OAncQ76lfTlUDs+CSAH4evwZ9HPR/Fy78YXR25AumozPCHnPe1YRLMQHXyh7jY2qGAobqKWk7wN+RpXeQ4ayuANCltQAKxFwJtyN46wDfeFZjiv1GbUPcMlHx450RB1KneF43UW44d1GK30/gTa7xdgBhBsVIvu21e62klIQ5ER/0mJeaYNlLPUAhZjawb5slU/nHbuQZWB72qsu0m70XMo4ntrNKSNfU/re4ZW/QsCyLXurEAmJchAozWcHPkuQfQp9rfiZgoNlp4zn2Nl6iCqURZwvLCQPVjertnl4uJiGOt02a2NCP97FXbByE/a6IG1sNquju++DI52AkNRRi/c4Ap2f8pdFYOg5Mvr2pBfKdrndCY6zGJ5k/+JzE4je+hsoRdHIHCS5ubHRGgQRj8hPpn3ifFkL2rJDoFuj58b8Bza2F+4o48xyzYj/JH8JKhZ6ghPnPSAGBgYeo92EQKOMtghv7l6Rxc/+tfWX+E3lKQWIPbpsLLF2PhvN7arw1oLPaVorXP5mP5AXrQHLzs0RRqEuPkUtymFdLv6fey1sD/OwLqCGgvp467z+zhqgBZgFm3/ANP+MZdUWcWPX8kxTOqBqfn+niQ8DhBh3x95AjyC2m56lxPUqf1PAdDYEkeLMRfxpg+HAmVL0VmhOHbCQCWXoECzjt/b+kSvdyU1z/5PseOf2UoBJ6p2c95JJBHimy0jL3AF1qsP2oeVcudBMZL7DCIeHDKmagh+t6nXQGh7/drk37lxM8iKES4FeOa5XMxxNrCWoqknNJHJ/CA+4Gz/h1Gb1F/E4vqeDpJDN069I17iclNRdy9CaOZg7ONv7eeKV8CRwB/fo5CDuHN+mZ4ncCCX03ZgwrKUdKxyr2ReMXeG74mNZ5OE913FzfkAQ+hOeI7mBW/PkhE/B6+SgSNVRWdycy+mF3pdsLZLWSswCyZJXoM4aO11lSZ7fvoLkanOd+rK4n4W4eGA5jKx4joukq8CYLleW0QWdu5pzJH5NDvP0pSH473M5tTyn3QKOrQR/69hR5F1SPa7SuAYJAQEG6a93zOCG1LgiIBvTPYT9zZrs+6h0Mj3aaX5xgAilabS+SlIxmCiyZdiwz/i+o1b1VLxCVyP9bcx/RXretgGE+Os/uHldJ6sBH4vqZ67DHc/LM/0rRt037KnhvKK5gXc0JQSYqZ0VccAzn7x085xrq5xUOGrfBOk5TErFbK/d+RCwUTtrfJ6KC1g3P20byOj+o4/nMN3FM2Ff7hd3++blL/JH5IWiH8QF/FoLpBxpUgPUh5P+rbr6vYdlmT5y7bD3LfXzYNotvJkdFTTMcV1yMeHOt6KZfMAccbz/xAfbjeuRdmiXeBa/+z6qshmrFdLXGJEjOTgXWZsmxcI3ZfBv8Cc4CbvV0Z/efLtkI7GmxquBLguNlMromsO4w6parKqZtHn+Y8CxaiOfXIJsJo9oqlt8orTIt8f/GvOXQ5FbwfsOStYFQKaA3aywxVnEOMPVkT5nX8EaZ/ELN34OeUGKwIW+qjegOHfxLSLuqbdirA80pQXiwPBKsaWIv5G0VSVUlWDaP9BGUW/EoQ++GKoSFVLIKqb2s3a3CLwcfHf0qc8r3Gi0AhwzDqYDmGGtULCU6YZBl/Ib1669e6mZpLbAYd5BuuuW9vJArgeHxjeQ8KDxZcKP81JeOeauNO3NUGZD+Yp2HePTKP64l50sy1WIErFEWtjSkCf9nAD9xbahHwNORoF4vi4+MPEZFhHSNY3T0t36TKBLwsv3c71WLRIAjygLzM0oaZ/SqCOwk4gN4DTNMb07zh11qyKvY23nqa+pkCSdWfRNocKPGGq90HuQJGXs76OFm1dxG1p0bff81pAPV4GYa+ct+MCDt71wSxk1PdMGB3nLluBTZynPSh1x27qRvIEUKtgixhFc+L89WEIXlVdzJcmchfPFAnMx2KPuZmvWS5PN3ICi0iq3PPiiUQuhNs2sz5TOjOnkbptpwxDzpOszVaaLB1KV1EnijX220XkiOIpBTmtc4tUZjMug6TlEhsX3nGvzePR+EopBYTx3j7L8sxIpHKXmV2Bur0LWqSUntha25t6WzEXZj3W4Y0FMP5NWnFoQpj0D05zOydnupERh7F2+VDv/JwsdG8tHqpbs5AuQTkrR3ZO3O8CG1Tb+CA+nJXRsBNRaq7SAfWuqw56Y+qNPVdM8vQNg+XiJpaIlR+tKpbIkY9IfxKAgit7hCp+HH3qp0vOvsJ8s7YR3RboS4UgbhzJjPKKXweHhWwCWc7L/0cB4fsWJ/nuwKFy1zmirB6Ua71UKWHtuF6smEckIPGi27wktg0+pFclERJMpBcneJq2A/iszfoTTcSDwe9hG10+ZnUzYh46rJqInAcmk/exnM1OTKw6tDER8uFeS6ljRAPlc13zvbckzcoLX1L6hZ8GgUAQYleH4FrWXLspzu+HKxsI/UTP8WvL0C0/zbKuC3PFEZAqmaCY5lm8icYOmf6OvkujPWEUvjGtG0L36XApRfa10V5e4godufhk3aWpm6RDN8FWTuihny/CFINNjxad0Ad9jw/+InbG+oPjK59g0l640vMXNgLX5v6I3lEYvigposennDRmWhtc2fyyl46zfUuhq4Jsm9mbUbjY1a3k4fRPw2FyyQeXTFPtuwC12uphlzzaH74gGfWd3z9nCcYUcMMDhs7TSvfsBNpqUp4zEa+QCNVbFSnROygJaNYts/urKinI5U4CvxSbejj5N3CuqHrKv4Gip5O5w/K6CmyGnql4X3IaaY3Gv4ed9yuqSSWZHrVhxb1N5o4oSu5TjT+PMkhxhuNLxtrQb1ehuHOfFPSvDXfmp+aE18dtczjcOCoVSVLQ8gX3PqMxWmT6VWTlDSMS23jdLmIIb9t7512ziG8Fc/nzZpTtc9XBRJj0NW2VYgy3xD07ZAadCL8rRlktI/Mw3ZmOXlB1Bz143Zu4xAe+5qB4w4A5T66B+oEX4+zdnqnVXans6PSc7e59jxM/Jl12e1Cy6fXNXMdvIpJQ0/emwfUs5JybMGjdKAThA+5TfLX9ZJqMmFGrpaqW9yvGS0Pb9gk6+N4icW64QpvogdAqI2j7G34y0mHAastEQForMiQ/TFFf5LEPR/FJl35zaqTzCUYvLwgewcaF/ZDkiCDKcHllgUCq0pfZ9ArlUe8GB+bpkOSdul4f8d7bMM9b190k/b6qo9dkIHmuzKQu9dabyh2TZr/il1gwCnvrVAmpfrbcj94w3YPu9YAR/CiaUTmWwmbw9HK6+S8Sb3QDJs+sHmo7spmoFOY0HtpLAa0DKL278t3h8i/NDss2kKnlPwjUU3criCPjIzoHESiQrLDVm/W29TKY8f8ioLkqzLeyPD5lyPaMhMq4eLYgq+9055C8lM2l3iDPSgsOoUurNC0gWgZVmBYt146Ei9TEhwtxrA+EOwrfiJJqpLXZPXZ7Jc8dAYQULb5Xi5dbdRM9gkl7FlsZuW0BypIZAE3qXG7IrDDL3tF/ahiEnxoTE2+8drQ5ylQS0ZolQ9MCwDJJh7p8Vi4wmXVk3iQPc8Xtv1RUCMSk31+SYaZfuETocaf4C9nZX/C3qQ1/6067Zc2bAlSuR3IJzbmhObYcQIet9n4GDg/cJe8RXIXH3Otm5CZi8peyDjfMy4M8a5d8nCUGksATcc3nNMTGrMiGp1mprdVHXV3x2iE5Zxn5KdjztjeyrdmFpbAh7SW4ZnyBiPG8Aj6F8/SvCWqdErNKaMemiuDuLY267pXvkQD5qwVZwQsDoduzWeqfMPE+tUTADLY5Sx9LtDN6L+Jdfpa70cqNpm5rYi+SSNjB4gk0l9JnPIvQF26RY1jOd9cD0sJS/i/kLK8o/AekRPbSdGeCC+u02aM8lkZrS5bJuuZuk5NVKzIRiGbHTrNVXOUMKRQRgzMUyPmZw2MU6HZ1mZOkltxOynPZI5EufZA7EwA+OW3NcaTNEEtqG/YgcRr4lywrxriOq7AkL2rO8MxFB8EN7N+Me7jEm7QrpvhLfcvYMG3mNvYUdz7ZHORpHrHKOo4PNt3tt28nzsUIfIesNU5a+aCwjY/8VKZEHsQ2jUJLpjQKi4tnlJHWIwLjcSdEapm91YBo1kyCmtnn67dv1Hi/ACcdPltidTTXhdwmpjvKnkCuH7zJfHzioDdbQ1mbCDz4ypatGq0ZyEVXCp8ztvQlwEYd8Mp2Sdo2gDGcFGeFydwZNPVYTU62wrzZpye6vmUhcLQ+tUnuWUNYcmWY0CuEQhnufE9wzVdYw8FjD6/k1kbDVMSDAXphuxeeyLDe09/ysr0KtO4uC2l1w1AKRbZr8T6mcA87DLvFOL23gC3CjbEILIkC6YeHv4jAYvv/HHpwofOniI9uTFM4ScivqVX0G2Na95I63dCR/CAUmhhSCzJ1PAlZAAvTqO6mMLabaG49/TLUXv21BwMm/TtL6j/1cOba4uTPFG/PP7tbeEpY99OBFy2y4YFFCAyT5p4uGDSL0O+JAzzX3STaLZBB9c45Jwm0BiQdB2Q9/+hJXtScZ3SF5WmDp/8AfT/PcHAWMrWyjzMVBPW2fWb38FaufYCX7Da9eOVT3EIchRE195Jr3j9Qt/vhAplRgCxzv5TaFokUQQ1dBjnVxTpBrqBMYb+SSA3Knk/yMJhl9mU3RSNPfOZyS2gF8kMM6mLKRpU+b5rTL+gJc31dN4JHETn6IYjRNSBGe/prE08uBXzmAhFr8DySHO/hwPkHAJp2kKrxEVoI7fA+kgoyGLz8gzbF/f5v1UoN4hPM+va5G4rE4ThIIkvHLJgjZTCFDzy0dvLpV10oI2n6yDWkzcx4gj/AYi6ct1LqUnT4IBlughYMt3ZLIrRxe6t8mGkAv9KBQYO1j41ReSVAw1tOmJgXHbj7kG/mH6QSksfIrI8187phSa+MbjAqNLWjXOeSkIwhTQfwNmgqAi2KXBn1B6XrB76ULj899U2tNxntq4RqlQhLQaXiabAq+5bb3s70hLnoJS9B5TumHsueWS+W4YbegW1SZ0Rcoh6/oMKkrxdBix9CX5waglM0nucjtU3VzgWTeCddcxu9PIknFoN/vwk/2osahVPEdTXTiyPs2B06PvxmG47Nf5MSdV85WlFePjwylDExlihIjsJ6ACjAZShGqiQ0HZ42oy5ND/WYQtvtUI5JgVEw9aq47sVodxwjcmIBiPoAPHouBBAweWgXgeCZGjIc9BqSL3aixKLUxjdqeDVFpLu0nWvBSr2npK1aaEbU298Pg4xD1nN0vdiparRvGu116Rjs+w8apphofK3REOkLk2JFuR7hbSbmQLjwBw4PYqfRprrnfCYp05ywDwMbRVmJvHyINHAOf3m4o1sGsgoudUq9Q1YYayp4mNlcr7PLdSeypKoUx6g3A4D4J5I12lu9FFOgCrQo73nNLDaAWC4nBnU4SwWQMvJXwn9PeukrVV8HFHMwE7CQzZiZHxuj3dSKrtUb+5wCiKabD2+k1cZIDPmYuVCk8kUKSp8HmyDIQLxLvSe/MIbU94DCO2YhEDYynmpi9JzdfZH4RV236C7U31ZsFVRwZErUeP8596RcvUFSP0oDG5hRO9Uy5e5ybsJdrdFnCG17O0wRp07G5DVKJFPEvkcbYg1XS/vg1et+A8zoSIhlGDohih0WOm9b/xdoyyaKu5WORBvP+JX3bvPJPeKZHqlq1epwykQ7WUcs42hrjMElCUZQt70xrFVFcsJ8Zk6gfURX2CrgfiwS/uQ46bnpHUd5adiBkCxSgJkrCQQUJ49wJ8z5lFm8ga/FNG4nYxLKgYpgWcEV1fMm7eZzv+BEdqcfehZPmpMatifETg60JyGoVjNCjd57/egHTllZ324CTTYNhnnIGzXYuERztYQdg3Rkqy4CyR2NSWAsmmXeegw0qonz87W6XC9J2FOj7J/F3GWZ9mDyH5YqMjDD3KuNI9bihrkQSr5rkppHSIOVA6p6aXp3K1tLP1y9hyxLjMQAONIrhVXJfiTiJeJOs1SttejZF5ygDCL9dm4AfKSuPouKuJA/Di/byouegW9oupvJljbw1C+H8Toaoli/XA7nDUJYp3snHtMQfqST5WCWOKYwHqrDS4uUJPTLbVET543gGgb7/MqhILTAqbFOtQNPzo9FxId2A/I3xxsfVvSqO1DORqSsXCHsz64OVaXLX8m1xLPHd6tPD4oQt368S1efY8q+SXqf5WCDbQ4Xa+inyxf/KfSibjRBieYMwt7lgPPapmsNCwzFlkjKTnNF9LHKEmubOWNo5EC/lkioEY4oJN19gIwIZqTYxAJfdr/p4ZVnB4LmgTrf5CJbzebLCpReCzWvkjee+Uw2u9WK68hhGlVXr8r7mlReZT0c3v/huvOJKIlNpkG/x7XeqLl1+qhz91u2jCilCkgt4X8oo/IB1Bxz9MAZ3QVSAQQSjlQSrr+J1tI/GqdkDPExPrNXwDthqhp8Vv4ZCxYRBEhaiHHcYkdMoBowdSelYwlPRfULCUc39hIQI/mN8PrQC3m1/juNTj9coPTbOP+/X458xNdgbU/j5N7R73BFajTz6+3u2T7jE/mr9Lt43/rgkyNhpjjuzQgxkwRZQeyGvkTA2H6BZpxCD/TYg8s+NiDGxKfCRvEdPnDNGQWzTPGrKq9FfC1Ppe9hSTmpWxivKuDyoyXwcQsYDUjqVDOWVAnOpuJbwk0yQTgFTMf43zH9+GtdS+L8RxuXg3RyGEbSFFz+o6JzHU7adjSTFlospoCcfOV9wrCD4l90yikzH1oVQReXPxNCP0jjQe8/M/qlSTUb62FCGQ3VpanBhMCzpJ4hm47Rmq7mME9D/R5l4qcqw3iqwGK3Us4lPtCOM/1SSUNZSBvypefEmmFdw3JMKW/MbRNIu7YjWam02UGNWG4/t+F9Dp8C4a1JOMdv+vE5N7UR1QtKIQ0W96dVSyyc3UOQTY6MdhB5M/1m4ptLDB2g8GKrVyOr1K7ZpPOJx1AMm8P1PwPEvjDj9ftQWPTexJDGJcxNauiagefpSmoeOZqMPa5tgV0ijr24v1M2lUCQ+NgoIi4EZmmmnQKS4HL7bnOgeAnR/gTBp9okLVg7U+lbTQqepsA8GB9AyFucLale2NDsmDSwj9ag892ZZpgpjiz3KB/ffXkfjgr6DlosbQERs2SN6ktDZJH0xv2G/oGMemySHQbWjlnyem/URkSH/HwdexZ3m/r8N+uDUWEpWgHA+jzalE4v84Y0gySt1W4InXKLBn+8h110kDHiWijVRXpnIMPwCx+FENMzpaQNFRU2M8qO0x1nw5LrI5/HAo0Q+bw/YI+HZm9dBceC3GlQx/evbzlb1ZQCwHfrHNUH1+60f5iemwGRgoUnZpTuRyFVCLTA1n0G0HTQBW/L4JxNpuXYETI+Ub73m84TLQA0U7hcrCBVCHZ3vqAT6/s5ItB9DvgfLAAvrtYvCJ5YDNQh9hPFvJ3c/AhxbvdwiS0jZdQmzmDHSjqcTQJokHUcJl3POLem+9k5d5qYcceWZXqg4rYW62tl0N/tvduvkxVnavT9WdnZWJryh1mbfglMPuKVbpJgFZy3gqZR4Bdfrh+E2D69M8QrIB+Zn1QuCSKu+QWsOjKSACZgiSj6TK2pWkWva55ZVLCiPrF/UekfapDtmUnvJ63U5zQCUg7JgfstewPRYyeYIXCEOW7h9+hglnTK1P2PnfhtkcvdMKLp65if9TV1ead1ykNWvuU+CNl0PXlLooonhpBpFP8NUtoZA8lniy3V2y3ZAZnB3TjyZfuGCdim7kQFyQp7SQbXN3Y6R4XFXP9nsLZBveuYXaWovS8JoLFHT5Vr+fLyt3mSOUuuLNmQAjxBf3D4sxtv92iow4kcWrKidvqbDuZ4vhv9jXc5Fb7YYC72amsxpL/KEp0IsoFrOiMGfUun2Plw81/L1hicc9MK6JI5/UTcwt/Kiz46O/QmziOinLH0rXPJVgUyIgAuGIUn5OGs49c+umMRozHmmGArRfVLZYC+O4krRT4rKoaw4IvCb/dD2+qHUxyL6CrwFpkHp/aJuj/i3hTbPz8oJ1fc4dORDlEoJVNW/ai0ZVqJNZ4KSl/8qi57tbYB+jEmzeKwIKHwY9QzGStvnpDNEtvsk9m/lDG4NXZt4gaRw6lWi/iwMT5/+gO8VplI2utg8vAVwsMkR4ukRJ9nTZzEY++GszE7JBUefaI4b99gxQFbHUTwJogH7SYfx3e5vukx71ft5iUat38Q1LlmBVcbDhMvX6yyUIqJNo6cFF4eXd5sh5tTiDt+4CaT0CCxjDrPBJcuaH968ulcFw8qkJbekJxwoExyagEYkuuVWgBdTM4hIavFgR/VN4Ij5mQur2Mzeod00OnTM8wSm88TECjvUhf3xX7vwdVSftI9F2r1ERSTdncqTpJH5KLwUnaTRgxmxPU/QCC6Asxxpu4ql9d3r9iYT3OMem6OWF4RMAfaWrhKHXpzCJ+y6PGgei1eMrJeq4ggx2/Dct4plAJV1zfk5Q/h/fGSPg+SClPxSAFp1jQ3GJmTqp8qqPCcQ3l+ltCE1Hcuk+Td2NolnERsts+fbw1gtKckoGA5ttnF/aj/kNNqqA0MoLY58ri7jmXcPdLdF8NKPulsKOvmYsRihuHp567OC4Fw7RvCpRQ7bl3aKUmGlCM/Oo2gwIurscJOIq3NgGlGgpMUT2RA1R13upC9u0P1ySO4mJw0FohknQzJFGCjB68p8J6wHVbR1XOVv1GDdSqtg769WK6AenP3R5IPOImM7Wzm5JBMrbXIUGI+40XppdPmPERVUUhY3waDQdMWHGw49kST83+NLpPMw7ANoVVJTxTUqpZkJPpbzvjtt4rMXRffNDh2zqlBHew1B+ooyA66CkPitVvqlvNWvkOW0hr8KfVsn3+kK3hD5PKwTSoBllaQXBPdbZecNPgHIYpJuzlRwc3PajdnNmBukOu8juT/P+ge25tggOOXzyhnLZs/fNU/RSOvUAllwyXq9nFEcrPXYoXLrlk31aS9WUYpXsr0vT5q5xIywietBlXQ+IXbs2WrI+6xz/TRiWJ1eK4gQFEGJLQur7iQGjLJks0auz32gRWn7XWb3PjSYqc5woy8a853RSkHKxV10nJ6VCwLC/dfII9FUDvHBJ9GQzxKQNl7iwl/JyyohGTJtRT0UY5SflDa1jBDsECrkDQybfXxhXA3Y0Zej9v3+I46opD6ipj/yawxmGkfor55NQQXVJS8RozHLakcYgf6d1lgiQ5WT4ma805h5LM+IybAeMtKh9Z+ZTeSFErZVOyDxj+E7Ti/mhrCBDcnE2wWeB5tXUUje6LRwEpemmx91yFBNR88XdFYsAMGjWEzOwOpsNn5iI2Q8STDDU2aVjiKcBxiByh9U7mz2lsBpfwrnXO/HI7z8zw7D2cXNk7Sgb1CRwGwbG0SLFFcF6R1a/zIjKTV452iBMjF4SGWeK7lNqVzpypZXFuQF6s67azvrWSnoUsNJIFGVA1H0avwJDnDvt2E+uJm4e+67VPfX2OpKfoQS3PvDTsRWB0u1J5OJmeE1dqtdJP6D4zlncHyaXtQVS77aIrcwo2QM+VKyUjXSHCmIOBvYzS+nHaCEWGrPZA8OXqlaahhBaXVlfj1RHJO2wNRW7B2yc/bTIujfjONZNNcxsGPWk2RMYWDhhA2f7UJ6uVpGD1R0eDaZJtmCWJJNcDmEWUWFGNMZdI6EDleijRob4iYGV6KCoIKnUyoXEIGIhTLm1xGr4iFypD6lCDrzhS8mvKeHYJdne6rpxY5aNU8XTAk0RqOBHma9XcwDMO0q07Bg1ycviAz86fO/pDB18/h3FE/0EsEPntbg4MdfdYJKOX4heZOdt75VhRQWZ9+xq8+tgLqUq9PXrOxHyJGJj7fFIMOG/Fnq6P27xjl+ub22Kc03U6yiV1BWj5kp7zib6p8ykUBj68S5iR44sPBwUmWmqjRPQFPzHLsLsBFAAw5jdcADEWmJBTcTHXzEY3AU9T4weXXrw8Kcb2HB6oD57dj5ly4Kxw6ZyN7rxVW9budAStljvNbAI5JJ+McolfwPPVPz1gpWV/ZvqLAu3rIu5aTBhhVPFwXx2waUUiZ28YuqP1kUVF8g/5R1JO3V5aC7yxK72L1EPBiHPMdJaCPwG5ndU0jwqZq7iVAPAJTO26l7xhby0cVY5tdl35eptbVNIlzRVjgcmE2cCmWHKqbsuSBKSQJbuWDE9Eeysf0roSwmGm1M5nyotGNJWiIsB8FgKDDiQOfhbcspZ+Jv56Y2L1K4C6+JN37SeiL89eqXCRiqJ2X3tI0gbgf9dgjjqu6zDYSCllCnwmdtScRSR+2TFp7pyR807uZZwTfRW/p8RkYwFHeiHeYZNOLYWrQCYRDVjPQ29WqVaY2BhQIZMHp/0+aj/d1GAD9TSAu2pOp5zjP2mYjt0U/TO6f5PhnoHnQkN9q/cpn+eh2iVo49WzUfzxMi9np34OL4xgevtlLrlnKOUje5C1sRO1jzHc82MkUNK7jiwWCZxIAMnkcCarUhIZuuJNRvXQZHyVM47IZ59GENiEtYw6zk3rlxZoe2u9qDHM7vSaXYQv5/QxfryW0xRyc3XnpKVIE53PCYcqEv+e3/SJXNnSWv1NB6g5kt+wkPYGtZzw+xITSlFiS4wPQDm8HfPLgKjE462tcrtoIUV3w44eVZsOIy4gFOICJvaCFd5niko7RCU7y0UmbxZkNiozUUiS6TFG6cKlHedXmqtfynPNtAUAhzsokNAo8v1gQS0Eo/OHSnI5hO6EmdOI9WVVyfSYpCJonGqORoOjAvhB6wyFpvjPu1ThgqUPjUJdktMD+Vf2NZ6nZfpv6WalckZh6CXp4u54wnzJqInIvdGJ++8qpxONVzGPHArUZGU/T34+5TKPxhbO69WDQSHSRKoMlrymhRTFvnLMZQ9kkr9qoIAjS389IuwGEUepHYB5qTsmWF1wRt/INCSsva1fRwDszYApATaLoR4oMNaQVSvjN8jhNz3xupukz4Oz/e/8wPiUOGUtoKfyJAOXtVGmbpsmu69Egpg1mXgaqTmrgpTRt0Absjcpl//HE6ra6gYmjom9LvgU+3caMf+xrd/u0MEOWxPwayeYA3AXiiddWjo4d5LHePxksYcz9hPZdMsaAaqUU1AjY8WolF9ULpJwaD/mTJIfS7rQILvCgcfhyvlnLVblx+iXTRrWOWmTV8u2+vNJx6aCN7vOE/HYbtnbQZ+JKgOANP0K0VbjqpmNT0zCLlaquosF9I793dNCiFPEC9A3lBrMdaA9357fM63p2/kKweg5An2+7W4tpRjFMfhhNwOlCJCq/nPTk8RfkFwgfPAKSYdf9d4yW/TyEHTveaWsCzfCli6XuvW9MpvRTIOVZyapf6tSel9dGC510y0QpqkXoatqrLpNvjQqrNJSe0xJNpZo66yAfS1RIf1dBx/8Q3bWTTcljFku0FSkt6HUA4PQ01EPdgj/M3Ukef9RpPPoPIBX7kllvXTfIVHC72zUmsS9LoiybEC2zq2kBGK3r06Ri7LpnWCOK/ZOlwRZBtZefjCzTwfaq9cU1fjPEBKDYjU4oU0dNV59Rrm7FrpaMizeUTA+SI3doV2vsuQCJzLRH1qVIZ9Megypm38KOOOp27xtJXq5GZNDrfNHO4nHp9HhxHEv7TbwNFU3FUhAj/Li9AGAgVewFqU2u3Qot+27/Ftzor3WTyqnWSRbQDbZIXziRZXLFOooMvqpEFiFPmTz5EKis6ZIf42QF5Ht6DH6dyXw5q+PWjlQcFpgwZzqN4+/eSsoBihYUB8A9l3CrNA3YBB2j/OCh0Qat9LRYe/s9AvH64Rg6ujPLfmHi5sQiW5OuiJs3PhKWXYzMIBUmSZYmOvPIpwBZhSiMl3fAhER7flZtQPwfcuywbxgcJ0d2EowKJfAUMbDYrpBuFM1SR1SUcxnJicmiTvuC1Fbz1jP6O6KBrbAqi2S3sGmu7+w+ZQbn05L5cK1hu2duTs/GXLQ8SaTQpxhdqijEmixyq1vuR8BhAHBTV3VtnZxVNATHYkPFvNdhz7ybq/JKIPS1IT1gJQlV39+Jv7yHzSBG85qHD4AZND9mgBheyvbU7TUUOE+dboralvLiRiwlYWwtCA/+yLhL5URKvhRaCk6W/oesULXiCyeSjK9a6viFMT4m5j8C9zXnmtp7rRpeFrlorXaV8Qo1DGyr8pWfqnpBHA9lfHvlsw3S06QBi2RfPeUxOrMd8HdqEDn3msRYWQHqPB2ZKk+G38WxCp/fFYXufpxbgX/L2Soil1A/w/SkEyI3VREe91Nk1bhhF6rc9bKakefUcSI9IRYs+LNPGhYDDPtckF0Lz7+lgmYL7g1G0f1fD2eFeV3gDSu9oLp/2MrRhRDIjwJvgD+xKgAQe1dzJubzqwXdu/7eTEaQ1zODt7hvJzOxPQvxDRJdvYvErKvnLbqfYLiaivToDke7b664IOSCG+Ykh/33757rtGyTYSnPAp4csCaXiTDNXEmq/5oLm0A2g4fnnZmSnFrR9hN40rk88bBqvyfqKZBB0yH0adcc+UjzHct3ohHKQTxdA2udMVvlxFwgHcfMhOYvgUkmfTbbWhwuCi4sMCW3pklNDyPCA9OzOr4dFMaQ/A/m4I3uCDuhVOyOuRjgr6Un4J+oN7DQhwnmoLYakVon/hRqDtXPSjLvbqIY9BP0qddGposCLmhhuHQ0bs3WvFilMa9bpI8nUOYE1cwC4DDxA2VQbtQG9bxs7yKPpVswI+U41payqGC/xlPU/2nkUatUCx1RjXQeM3BkB6Mv6TXAxApkGBotcIcl2GDCuXm5UQFbEIaYnWUtyZQW4+omEsIgr0Hkkb9iW9P8lKIjAsPCC5YK9QFZAuc7oqqVmDI0IHzzlUcvvTaD2GAfJNcprw4gywn2++6zCjMIpXDIdjlPp4Hh/HoJVJd8UKPO6k0IAZWFoM4pnoNp+ZLeZbQuMQJ2kM0NZH7uG3Z7xISI/uTmbXbKGX0COxmetOk2v+ouXz+teE2hD/3SkNdqZ/py2mXnpGzmDsBXp+LdZLoAuEE3XPzkMwrSG2cROdLHda0OzfzM385qSt1fabMoBTu36eTlZsqP1JXKQ01LX5IgnYIeFB0eGmRJoyjIyAKNwDkFbIizZHgcDRc9ISLfx3lVourKVxXYSCODVeFsXxTRCs8/TLpL7z021fp4Jm2z6arE7Eght3fuMx8xvqReEMseIbgB6GAMlSzh8jPme9kYKVF0QuO951FuqK0sylo4lQmCwPPJnt0t4nEi6Tj+U4FKkVsuo6LiR4BQyS3DPkKmgNIDk1FWooJItDIDAI6ZHYFKhRJrzyF+aK09N5hgtEVLTP4X/EcRBUJYM+hbr22psAoakzCCMAP7NN/hveTXptawz9jorT4UI3olbvFVcQIpVsyFWEr1CeBJrjmE8oGeKWvqtMpaJVBs9KIi4y8UxM8bVTHdmCkxQHSnnMDd8Efmu3hfpGVxVeIyh4fWM2BSdjsp9P4TfmCy5tHjjRFb5Iz8dZWBsqio3WkWJPzdbCD5SNvMPJ4mwxroJzEdrFgOcvJbs7KzFRu0Qp0p4BJVoQhbE9fFrxn90LZHDgIq9vIiWklpoNjtdYZf2hMBtwsZfK6v86KZ8rGEKwnccq5XHkcxg4ext5rxWHGfJfdCDypmZuC2c52p66MX7fMG3I+YpX8T71pepHJ3TvwgNl8AnAgNvXIfjuPHaZAdfzj+LPeNVpqf9O+bvS/2Qkd/B29gS+8cojOZyq4+v9VIoUXge3o1UNoa074oGibg6je6IBOqt5o5Pu6maAYRN/0kr8C+QDIxbQwraXzljEYbCoSMXWE3YiDU8NRXsCsPv1JV6m5RbHUrEo9FQil65O6lHoeUTT/oULITxNA2KRCa+pYTwryFjMm6V5sSQFhXoGsEgQrcAukjiO0gi+bUtjxZI17kGSSUchFXA+0a7FsQ6PtBF1kCKBnYzUyalEF0fNRZ/Lsb+GTiMCb8feWU28UTCWnULqqPEV/nduDNKoJietnRpAgZrIUDPi57DrEBdNUWGfCLa+g4T4V3T/ien8TJ5fdlxxfLPWZi9vG4lMkk24GMl3RaOmBxQiug60im+J9hO2gAuL41q2gIIih4IYL/eptbfbnF11gvXewOQttH6q4GxhEJmHvYOafL5gDx6VqnzUuHCJ3p4jd/tgnsXQKGKPR+dwMcsTsg1lIEHwUpA0ZVBMdx8kLbuAxOSAnVoXec/HyTI07LSsJ30zrgQoWkc9Zl1rOMyJ5MK0sxQfw8vHJSBgi0zSpZKhDwRasHjWSd9YGkEwmzu6mg98/FfqLOMcZ47VsZqu+iuf6ka+RjArrNX5ZouvC8Xz+qPwrL5e35MwuP838Bt1d3CYibavmsVoEEWKYgVmsgF4mZz6rMYuHyJntzB/1GL3IBbACFOyf3KeelN5Km6xYbK24aOCaLC3/jCywi8sbPQhMlE3AqyLFOzogCzeuXd7pGdMkThmEg1LWEbhcqdayBoLeGXW+86GkWfee+bHLwQwlnIXkkVhoKgCg7F17fEdolk1rJP08bh4S75vROZrkmybI9TOl5CFGbds46DICkjawFn7e4Nd1B1429lHmStHG5HOfDje90aCul76J72qIZV54FyWYUcdGvZT4BGkPfENYNonMJ2xouYbyPvdaskFvGjpgMUr6PzuHFDwa+RUJ61VDr1/bq5awfzuB5JUr+c7Wuk+BlCYWsVT7da9Hal/ynY8GbEO9xNF83E7r1AR72qFKGSVyjOqHiStE/JZUMqcc3vB6Fggh8Pe5dz3mNiF+JdlsiRgG5GIzunVPaaMk9aAhRa0z3CzviYpUNWEWssfQjWgxzudp8EafbW6HvfkRcXkyrEvhIag7MsFO1XqXc42lfqlGnp3ZB/216jv7vCJD2cWwqda/Y519vO2KKrVhaKcN8dgZw8Kc9fbnCo0Ftt5BU1JaZej85GD0/TvlKGz3m4x+60fzyoTOcQExIQGHseDEieSHTFqUsJ6N96ZRREc+Oji2NxSIKebCzhQpiq9RXxnPmoQXuKoI+1gNf858cBy+h7qSOXt2TTJnFXSuw0zeIT+kXciW4zNAZJQk3VLmedAz937bg8ELtehkmZDdXFUHkztZ93MVqHViHv8lBrBKwYeVkxtx12rOZ1Fv+ecwRK3M7DCHq0OLQKAV2rCSvtgkxA9zn6MVWxzDnn3teYgv8X0C7jTLu648Ns4fhWgc8dWla4AP7gzwoaq7tdqtVanXNbpLh1NtlrS3zqS/BPk6TytIX2uNsp4dPmq7ndVcukOJFTREnxgTcaK0MwqcLt74Bkk05/Bivd7++rVURKYLkFqvSAjx6tFKqmLEUyMtAQBFo0UTjdyRw5hxDBg2taw+KP3sjGkfwa3Ju4XzFuC2FV98UKSirgQ/pPnxfjSjLVkPzL4yrThd+gskl8lex74OxE4uP6rgDP9TCLcrrbQ163nxcmJ1WL4ThjASKXz5DOwS4BXcK2e7Nr3tQEC3O/2SSgV4Sy7KUqq0KG/5A5YaMIOSRSbb6DEjyIB8j6W5RDA8jMBOU+apBLtiS8HkzfZQlwRn2DDCjRGulH71g+GG1CB09S8TCuKHUXYuLCyIXPvN6tOefjsJkhZ2ZO00uf+Tq2DtimorpxQVn57YJFBZBG29bd+VLULb/LrNR93R3+oeMQWntvxbz4WxylNtmAm8v1XelWDKsQVz78XSiOACvS0gxwsTuIL92wZ6GSEGRFAz0KSsPh+NlaelFR3zIMEMp9HdSXrCLDPvkVNk3KEBidjsgNIPD54ZWPXZsQBAeVhl8Q10MUOz6r7N8k1vUHc0ZWaYGJ6jf96Kf8v6jjcYAFkMB4ADNVIw8/Utl0wDCsLo6t766qR6edwaBkjy8s0xzl9yejtidJq1/J9yBQV5VnWHYZ/uqaXcTWt2RC5rxgJnoG68uolaRs3XFOhL4M+u6iZlgJY2rfGKUeYlml1i935Aj/zBkIzhhYM9ro4z82TYWRtxPnvm0i9wMT0yS9/Jv2okYmdpkBRvuvBH/d4fG2du3JfWA+VpYVCGj94TRrIjZTAFLKtRLbRmZqyAZ/nD7cCD3j5Q1CaN4b77i3yKzBfMgGpye4NhXzGE1aYIzv+StLKYDwzoVLc9d3/25RLnA9MjEuvYmwi1TtDVkoSRp2VwPGbKmwaDkLYrMiMUPqJv7s3BlBBqoP9KVtTowBTMy4sZIDDii1cXmiWEhwdsagwnFFsf99715H74x1CVpEgYB26BubdaE3q/6Pl+KqQCWlGREHz1O92l60sNYD5uE1nsSmhyNdo+C+5Bbdm48Kai+FaVVKlll+rLxbA1KnGofrR32pNeLKm5Gg3dxFL3R1cq8QWr7eBUsbNicsP9t7hcZyGxFs9S7+yHyQQJKQpNnCIjkWKSOcSKOBxgT9XevuURsvzPU8l1wE3e6PX1Zos7hQMSuzOJBnzY/cZ+XfZeHr03vyjp/RQKMSrdBVA1n5qRutYn+gSDOwovA+XpgStLxsegHPnaM/5m5ubpD4PC0O/NgK8msqKP7hO2eVvqHbHBpoRDKElISEdmly4WsgwQPv+IoM5CLbJm9ailhArnK036YbbIgDkVMTgH5rF2X6LCvFy3KJMJN1H3nUK3Y7yu7hVJvStKLVBa5s0m1VO92qibAE/lXZOwFY2N8vFi0FwD9g00SzNYUaaFuXA/s1kl9qJl9E66W+nOKIkLZvgVuwlyOvzSkIJ+Vn1MTuRsSnU1ljjOPe3w9xZib2D7WGjaWUjfza4mkCr8p0ZO8bMJUAX8hyMmjrupb2V0CPESUCoSqAy68jBtDYMAZxKr/N8IUQ+Yr+ep8V8O2wDDAHTqc/zATw7Fj7MTm2aub0rD1Ckln3oE+JcZ63Kl/rK4FFjM541qbpNdY0TomI2DnozS5RQmhEeUEKK0hmedbcm/wZeYzcBXsuhCrN8/VtgHRy2DMgGZ76hWZH2DJNwqV5WgrwIEUW1AgRk4mOeDiFjzPk+tD70eF4SZnUGc7UruE52nN5Sj2/CiYt+RmL9mHuudBt8noPBZHeoWaU1gSBmaYIGL9h5mibwQjvGLcdnan/4U8GErPXkyzhpl9j8W7gnsz2IWU5H9gicBBfNFaezU1PjZZ0MsIuL2LEanwU6PChKE1i4ztwf8woo6KIjtDeAzYIb9sALyLu1bBOJgWedeJ59J5gOG4IFrpCHnevmN4ED3SI9dfXQczxQ3zuJiUvI1x2qHqkKiK3ViCGOlAgVda5qZvaFpUn+Vy4nEvb+U5gUOLlijVM89oEnksmyONGAJdDiuvPGXCHkCbHVBdMf1ujVwqgfEXBwQL96tSxWwxv1UzoW5w3Ig59BzO6eYjHWDbeoFEWZY0yWsIYIQD5geZRNigDlusNUEu7uNLI34KC25M/9va83lzEDv0bjr7r4Fr69Ve2S/O3nN60qlpZJbnCgkzCI1Qr2x7pbizmD+gbklVRvWXeDU1lkmKqnf1PUNP/RD1y+9+vcPw7YVdSw+KpuzXM2jwqYgGbJidgJr/hlOlln9zysR+2j+1nDlCB2PLRRslVy33bdjpL2gr+ZZP3gLZOLyoH3RfVVOA+jS6400PF0Ie57JmyOE3gWvIsO/fN1la0I92Kvi0eHlC+6F1KFh7tYOySQN31R5WDpSu+TMiq/7cH2c3LlSIUmY+Q3LJ7E8L8nNQY2uN9ZVuyJDp//VfqVGimD3ghaEwV/jmRgm+su7IbjClGIrbtLoHKdSLCKLNJJV0U+ioycbXLJtMh6f4c+td6C7G8bgXrOSW8az72zLEA4ebzH2DCtSt2KYWbTTxFlUFaqvBYEyNBrZsfrFfq+Lc50/eBroFuCHTmI0mmJmH8TgWIdoAvAegcR7UP2do/wz+e0VQecoX5zvhnV87vBbuXMzdGl9vyVpTsbvuU/Eh5dXVoxZC3luXBiLKoR4egesIg7k7nGquQjbKmTMVGtx5VDelwt1uOZuxRwkyCFXX3yrCCXlehSolReC4GMrsHnYXngHtU7Pv3hV+phPXhN2xgoBV23MCW0IrkVjeKlYm55zej4avwMbWbM28UTrUuPoED8joJcFrekStig418aoVCK8dpzhoUGhj+MFAN6yz70cD5dy3b6yddN2IG+V45cdqOdGi/Adash5u7UYOejmjlurlicS8lzPyPDu9v/SrRpRdNvi8xplzfxDt4JiJ3av5psGJpzIRrXNqfPHh9pSYAMKW0eAUflezJz7mOSHPNzhVONLDmcyktyUA6g7Vnu1l8e9GMHq+x80JI6FsgzyrhSG+fqFuz/e7VoPAB0vShDJxRqEqhJcgoa4gvO9epZmn8rboimJk72ZT3IDShpsw5CzWCBtq5HfehK/dfnFIhsTRfHktYDQqln1yJy69TriZVq123TqySkoe9MBAfGYuWeZu06S/aPq+cUqBmU3RZ9+JLdha0KsLV7gyUGuBekxIxE+6URdgUhxe7AaQsTnhMXqa/8fZ5GyukMy8GKKTjRn9F5FtFX0UH2+FpmqXy3vMBY/sayTv0LRlWJN8o30KnhdZ7Q0ADugdlI80gI09CJpXI8MVRgxCg50WWk/n5eya0rCYsR17iKzDXfXLWk4iZMxW68ICp1p0iBKbITGLU9MSQsA4VcQs4FPozlefZHsEKMCvAxMja92BYvvxTzzUieGj4PFPT+BJRrol8gUhDd0eOSSnrjai6va+VlwOc+3RpVXvjx8XspOhvf6KgwQaRUkKJIWVhMXbySBfSIUgavM1zmXuK4pNXP0ho3bqkDrPZVCc9+Uvl2/1WymcOuD5wU0d0fjLSFko2TZEQpvoWbfTvuZuTaKoMlOe21fVBfmWusZ+cU6DlHUQqIRAXQTLmE10Vl1cVKaqGkLkxmPjemQU/1d+z3y9fplralZuxXPPIO3G4HW8mS9uTFTQcQGhCMyJNjyFGssjXBOFsbK+uF4bm753oYBCFIroJm5hD7FH1DWqcw2RqxOMqAo4IxKU5z3SgCkt3OPgwHJcrBtDUU89RHme37Az9YLJDgxBqba5a/v2B3S0PgnYRFl+7u/+HOm9bCjremlI1UCzZZZC0/4qVIzsk8nraW+sfN7mVaHRBSykJ71IjrXu/E4R1EX5iUQe5IMq4N+QJPoxfUzVUtHQD69OOH2587jV6EB0TgLSXImlHBRgqwOsKPpL51rrXNZxnhPDHh5fmky9GDZa4vKi50P0/CbADx9Tdrdfiaa/9eeFWEBuHnVjkcX6ipkMlCZq9ZW2PNpmTfxZNFMMCMthzLdrQ5STrkkbpGxgOido73ylDb+zl8/XObca9ki3F9HI4UQcRtve+cA8HFcPlUw/aFvrfRrrKRFBQrp9qHKtCcoiMbIv8T0hb/Oc5Gq/H4Ft4ydbuU2oUcrQ7JU5o00PQQyrt/zPrORjOLtQXUsKSvs/qTAcbmWpzCOJkYe0TX8/pMy4K2wdWk0RQovUcNg0FjUuxoV86NkmQjao+3wJk7W7YRM31JOIpZzeLEavhYhaEFPCdzObGMVrQ8fuH87XNb8/VMHXnioZgBB70dTbl9SfFUBg6ZIvwX8Gn5NXjsklH9VNXNRzW0XFtxX2ypikEK2QIaSLHryAOrzJ4l27mgDQOLc1OkVS24wA6NXA7m9PflAvA7yWo+yCoA/L2ZsEvg04UJeb4QONzBDkTVzH3R0kNfSKiqAFuOTkaNOsB1ApfJJTgOF3KBF6nhT4lfyQGFmAb6ezM5/BXjAQUZ/FUS0z8RGNwZhfu0ufeOircY3AwnewJgnKWJ9wyr7mDqUq7rOqUKW6BZDyhDyh+pcaRqlSieBh78avEuwjDnPn9j+gwWoN87wLLOMAZP3IhNpdizH/skL9NlctrapRVK3GVEDcOPhqWwqNmVF2ZA/w/aOwAk7JVmEG+2NbrrEUjq3pNcQJni2X2+5gm5rmTtg0Z/XDTyEx6xoXt5YmbhSl8qM5cgTrmWuFloAzkCVWc9xo7km9r/u4g+4sg7JoyA6ij8MygPCDrXd2SJmMIpzvT4d+CArWGgd00OR+M/aSZzpLhTkwGqESJMpnJ6SDLSZ1UoJBdc7dwgVVg5Sus5VV6PhUf+w18wiLjgG14f7B5z1XlLMrPajLCid9qWIBflLBsk5zEN3mi16XndmvKD9mgTmdPncdrUuadQNmYJXWVzv88eusU5kRACtH3MauvmeZ9sShlglI3R+LHarpyixKhXtmN9ZIKeDPOYjTeVbbAzfFX9cQ7eBKB7lLbAGyImPh/UuNF0/CG/WCzAUXtfIrXSJF5PeZFcZ6mc8b5AlbYPx+r8UdkYEkFAfLLOyM8V//XZQ328+nOeVkqOVKDoZKDGZtoBowvt6Ch+C2e89vvkPnE7ZlQ5cPbPFyi+iiEmzso2PK8ZOhUcVBvhRZdnjtpD58tem9rcRx5RTQ2AHr1nfM8IQTkx6ex3rCA9n2eGU/bsq+SEWSUJ9WNO7kQngDB/M0BE2sliBu3HjC2UQ6Alypt3hrK47uJhmj81aW3RWXPIepCSVDwiu4hE62HREINWpMwVUlmwsbiT6n3pzc/3m4bO0L9jO6lJoAcpOW7Jbd4HcX0/EqKTM9qkRumIGdG2152AwQD9e1VFSY5BT0S4mIAHb9rvw2a2EkHewXH6eWfN0FBu7mYv/8aAAVWhrfGjgKK2jEcTgcd9hyQ5s/BrbdjtHYM9C9ihhRtbv/IdIY1JvVST3izAUHoWsH8l1FLrvvqqzZkZcBki4WDT5/4Dkn15YakRpRr77s7TSFtIr4WdydlNqurMEyGBsyXn16YhSz6VzQDNAKBXEnB3uNwovp75OHSlR5Yx6+na9wi/062/imGq5e/c/NBzq0jswfq0R2uW0u+Ge1V5Z8QKK0rGnC4xaZsR+pTIOFUd0UKEu72FyOD5p+bHtRZqBiIPQGse9dTLZLiShWhKCO8zT5vetl8vRgrTaZJJQ2Vj/dtgMmUTUgKxJx5nOHxAVD55iq4ei7/DQx1hNd6FEhJE0QUzgIaFlW0CVm2UWJM1JCZmokdZnBis8Ku54YX85fUE45rB3RtSw5B5S6dN0MD2SvQ26OawUnfvCckZW2FDQSxbPkqNCbjeiKBaZ+8/oiBqAbrmNJFFhETTebEvErV8LeJ3uRqyzeoF/+RDP/zAdd9c/1OiWIXUJOP1dI2pj9KsE/Ej60Yj0jYD3igSkPsUegwpt3tP28FQKmu4M4DHQ2l0tKOJrjNCbaL4Hl172befHj6sFV7CEgGgTSwWqOPKpQoc53/93C6FLm8J3m3Cv7CUXA2TD7zANIv5+Y2wtqrir4H6JI5LjJ5MwmbFivJ1LbzvKKQ2S7eWmikVWzeBNoRRTjnAPY2bkYLFM+I9YR6nPfVRcSnedrsf4MVlLbOHayZYg6CX3zi6X5ETI0rZ7RvhmeAxdEsca4VqEvWtERk7AZ3TuUcad5i+0kAoOyfCVeWqeHlRIYTzqKz/ESLQc0HmTyTxuCq3xOcIu5l0hX26ynZu42aPXo8UVhkBl2PiacZiWDjAez/Qfs+vuetbwBr9CoxCNRMDv6BGBtd1c25HNAhJDfTGRa57Fw4junvc4w4xEITgyz+3q50GOYBbR+2HsL6HBpGh8n0IHgRR3U6s72160kjvLF0kROvhEyAw74VqsmxVtG1uHRuOv0enuhc93IdI+1F1wAJnjnp3rIBlTeeVwm0oVwgVCeDg2n9hpb7n6yZa0hWse1v5OT9cTgpBGp3Cs8seWksShf4f82yU9mynJ2a8jsXGBqqZ8lRgbGmioxZLDkmng22P5eHhqR43YgI6UPyz4FiWogoALUweEMlxxNpw5NM58kBfhAcv8b/WgADbS3eCX8whjKjXRjEeSYFVi/YEnqGBEN8/zOE70z1SrXp/4JJgvzhaemcefPhW9aqmF5HsLmmF+r5FtFdODljJMYf00Aoh1Fy12psQai7AWX7RTwmyp8G0K5tdw65oW4jATjstPH1zzUM0C3nPQjT28bKeLGywu2m9oMynijEi3kShIjwzx2oukBQBM2zSAJodourOITOuBBdQRQawZuA1QX3DpHZZjt2MAbF5Nym+tLfnTTE826INEoWbi1FiX+YlBY3aT+Xvmz3vw0zV01byEdiTunaloV7iRLWQ9RZCLMgwEUfzjCyqoiDawtAAd0cBgz/R+TZhZ3wC4TElJ7+M+op3yAuhn66H1hQLmzgRIK10FIqZbCc3aGCz2iA6EPodVAQ3RAXE0Vxkf9tTDsO2ePoTolgWZOMS0Atgeqm6Wx/+IA2n0PCEEMVf9kuL3fMOjhajMreoDnZBHaXt/J7ZR+29sMWcGhzmkSdrVBL/g11RhJPJNTh3lJ6XgP2aTtYeZPhd+qlAgTXRwdci/mQ0FXaSxupe394+qp3SLvbyMmjLeNKpLkHjU+C3tyMDf9YHP1zyU75PG4LKKFgdlob5hgBdT6D+xRpkuseoujsptb8nNzLLSSUKE27OwtCR60ZsqPguIvFB9Zt3r+dy3RGz3qZeBnmV0I1o/3YTaMknBmxSq043ALAIbUPlNrfu9YSF2g+iSVjexb2zyJ6YabsOnfRu2oUFIFVyr3/mVkOdM7+NtF8rypKgIdvlNJG0qFoISLZUmHuSJ177zSvkAn4vgSUQUL5Lj2M6A1YUcTPbQ1+n3c8YDvooWY43/Wv1+SlfmHFIbayvjBk3cSTbnLU5oYZ/DJN2h6lmXMPA7h6v52mZNoNx6AlPuWjsGL/F5mNVv1cf5daiK3hKjHILd6Jj4Q7fHSvhC0Ct1HmxrWf1tdYYlJs4wm9a7P415pOhKmkWalBr/SOWc/PbQnxYfe78r4N+n5ZgN/RPb8sV48sYHTPh5c47hdSM3GUsqxLiZMHLzS/2AgKfyL37Sx/coYRgRKqVHfOM5xWS1i0It9YAa/iYzWl0j7+DE3cvJ+er3KQx94QD2MYnNP6bs4G6xqrNGtaLJf96JBcIwDsltG5nmk90aWhxJzlqAK6kzjpO22WfyuzH6C3TjkxIUruA4AVMDIpFpg7K7DhEk/EJy71PPvi2CPwJhrmwklKyZX8CfHlosISDONehYvQQqx0PZF6yurwlN42hS9J76SACXaSDdx4f/JJwSteDfyd4eUJyWxVOQghXrEKeSOvu9seuS5i8Y8CEPe/1bWIDJkg5/Ptjr497I8om9ySVGJfLpAZWFWYldNSsV23HrPzTTS0InkhiFKlna5+cQ5Rb1w0a0b3DfFUIC9ZZOjfqarqzZ7dHgcLSTQtUCT8TiNXm4Am6810jpde6zdIQuvuTMijAWCQ04MnOC5IF25ix1PuS/mDdYrJwExVjfIklrPnL1f9k2rSsCJ4Qejb++hXDJPfgV5OyCpTGXOnl+L6Kne96wyFO6ejM0z1ow2wUfx5fAcW3Jjq72BrGbI9dMrobpyPLXT42smUyBxu5E4uqrN7J4mqR7GNsgmtrQx6FlwXbSjjUmec/QRry7W1mvfkvCFaU/XkmKnNFy5fcfbv/xDgDQuzXm74RFY5RCAaUu+Wc9cgwaS1jYNAQEA0TOO2eyZnxWjuPQrpRliqOuXGgPCD4xHKxfjY97w9Fa7CwbtGVdslWu9W0LOXKm2ChaCc72xttTC8PRtCrNYBvfCSkWvrC5HIdGU12OCjy1hn1ZDHY9kLbyvzYocvWBxBgf4d0bz+sEIkCqQ9ML8Oy9lIR5hxPIQtoRcrGRPy0ENMHr6M9T6gfe0ZFpRn62WSgTNy3AZFbNUc6laewpmGVhj9WN0u817r/DAzqFnLcitJ1CvR2YLFP23Uave/d5wW+XKUvJRXyRJRYHDTXaYAcUnUTAX6XMhhnoVGB2K6GQv60WwGjedykzjpIJrGMTBJHNeyfxUhocarOnO9Gs128ELe3h8iy/1asbZKY7eNwbhYfOa1GtO2Hxa8Ez/wbUdD0AqzFv5RFn9Bqu6eNkx65a+aIa9fhLmlepQyXC5Lzr5MFY02WKpz5vjsyn9yyHlbGOQ3eRNB6VnLyWycE4S7iNGFoFa7Oz18C0qS2/DyWCTnOC6hU0Mx6Ey3TIFODvMgX+gY/fKdZh7tsgJkzZ9dplKsASZ0psQQKDB2DQb1m3yvizFo1TIPy4GKvlY9R1wjO7tCyYBafsFO40DJesDCU3aO7gzT1BuOoZbbfHiiJPryY/xdcKJQOBV/XSG8ftS1JFITdjrmnaUxDERfg6vSbCZoBHR9K6+veq4A2je+r1++9dnTDl7ZNdchVNAIp8dtXwirDkMheSlbIthUlGymwbajelzMk49Amaw7Lo+Euvr2VRso6+scGkzj2PrWoAZ8sEZ3ePdW44Bwf7kUjkgQcsQjc6RwQJiJzLN/WW4slWPYdpWRD7tCPlbdQg1N+PtxT1hXgIVLs6NOV86LcMEMEM6RbQ58WhBLdSZQ7EDBez23xFnbno7X2w/PCG4iTjjEAjcNOnSjmny7kLm/dXIvK+DReliqpGgvnZC1Ss8CgWaMrgxhokeRAr749vh6ybU2GzdAmGgRlOohs+wf3MJgsT8d2n8jfEhUm8D/Nj0V8DwOuAZTva+O8Hzls9CcGqRLooW5XyR5jdkqG8+qujD9mXoT5qY62HNB1Pz/x7wmvIshzeQjVgHuYvG+0qrSqGKRzIVw2uGlTmu5WZsyBbIRjFLKB06knY8kEjqAnBh+hektbfoghSnX3Mzr3dR7zKkZPvmj0SxlJQwo8zXISP88kscVNzsgobfkMCqv/gSpEJzh8IwYgqLMy5rkRl34kzIxb3rO3FOLIOA3oblUK4i0KDy5nKck4Np0QywoaX/WWFEJdjc6/4Miy3cFrenE4iEVmb949N2wNC5JHS22pe05CKIED4EAAN43mOk3Ki1tMrCLshYFrfDxPSpidp17KJqvuW+EDdbEp+L5Zjetw6xbfFjZilG86mBoS6r0GSYeRKuUxCABr0O0szY3aSEWglsbet/bepP7rxP7xT8y/2eCekP4b8Njs4W6CqcKHAxk4urpGA46bs9G03YrZA6M1oMDRgAul7pVn2mxpdI4xUqWH+FJRlAkWPXcSSp4fIcPQv6LhALlCGA8sIa4WELde1ByPe0AIrnCWZ0Ns6E+ON1T+YBHlrzT8WPm+h5WOlkCis/4JIV1LNSFGpi/Ad362OOb5/RDTFTyiFoyRqDATkuGNnLMY/iaZaVUswPLnaU3UdGBBlH0lkOD8lbYaDWodqn2ToqShQuV65a8iuHwRTkG6AMwWfPt5y7mhyqhUFQCpyR+cyXdVR2dV/XHZCbEvHsqA6zolRTs8lqYGyhHUpmGEAWqVosYoWUgO+Fxmurt2PBOkdgcPty9KN2J9aCHJuvv6moQmoXX8Ws77Ws/VTmr87uHcplUKPaO8VEwNsIgSXC/18uztKYV+CMba5GvUUsvNcdDd0gzScPum5GIHrshMeu0B0H+10I4WhnklngGi9qFQYzBAtE7OgkXuc51C27OJAgENucEcRi7D/7o768mbxJOxV18BUaU6dtlgAt0ONwXJLwe5FdM4si/VFoYZTm+J/AI5GdL1DTWA+psB8bqQWG8Po8XHxdJ8tHTVruK7f2vUsPOMlj1BnuqKkhHVYEMsI7IFoJPKfTbZzY+2UJpPv28/Za3FXQbXoWUZfo6rixc14rRROWFAhau5Fn5AejQZjNDH5bidHcrWh6bCvy9ZV6gURiocRc9vWjqx/4EqH2ZspOTWxRlbABX/whLlvFthCTEiyzR3y9hKb0PbIrTyyfVbdSxXfHzxIXqqXbqL9jH//k1ZC/4CfZz4ovdPMG5weC2/nHWbmWo87nAYr/WysDVPPFf17djug8gOG34xqObwYX3Z3GqA4gCfSvCeuFubSgjnB8zBvfpiTvhxviriQ7GosAPY6ciqB3tfzRjNeM46juenwrTX4HjTDxARxStdB1Y2EnX8qw7LO11mNoB2nFwTKKGoeGE0VPZi8PkbDHKqFhS7cVQwsyoC7KTV7k5nJiay1h9m7SBuqSQ18qPOF/S6agx//+/lEzBigv6stLNiscjPO10JWrSGWf1EKm7Z+/MSm5A2IRd/qpe0+rC1tR/CSPIcegEEh72q4gJ3qzh0bXNQAl9f+mzzmAv6I7xI9hS//laOTL6rPJJuOugnAhPZO8Jsmlfo5QcEclRgrC3wZtZLpptU3XQVMgjiRkcwMwgJqKRnqcadl7IcvF5npOezB/Z69bS03F6CeT3aIwSOkQAlHH5HmcbDDJixeQUn5iMbCtmsyDvpKyt0ZQ0cuNRQd7ZFzA61rQE5RxfXWC3iH0mwJnSfKHNDZe5aCJg3wA1Gq+Zh1gQ5U8A9aPEnP2Z5+kQlIwLGRDX1RBAFmcq0u7U8Ph+mr+IbaEOl2SVAHm8JDwvrNQ/FgJ00LtCXtm4TtlM5St+5U2HmKRa3UR5liKHNwuN0QVbOghBk4SLBy4HQaeC2PKrzWqNJQGNQssEbwU5b4U+Pyv3+XbLyWv6Ghmwus4mbfQPWCJ/6MPGe0Vb1v/xD1s1VCHzwn8e5ZHqUdnsj0QGUiiETfKf8sWg5GHVCw5GLuLg8TSTAqPLSk3g9XUphCXS8j6Et5rm/xHvTVcb4K2stupJWK3t4OaXfCND9YFiTg6B5H+ewuzWb2PvibwgVSwBbVfDhJWWuLB9oVCU/58RSCcJASC2hEaJ+I7suQNwCn8kyst2bzcEyWfwvPRuU8AWuzOYDSDpak1fS9UzXN4hKIENqEEFLDNjYOzHabALbrOaOzCPBXQ2XZNi4wZ4Rc01p7XBtdwLk+uh9SXD3S5oX92uelrzNT+/NuRPg18Bm9nKf/7ZSg/UM4i1bTOfOlEKUIgqijnkzqKMRgOubEgn61WOKNiihyTYKhWJewOC7iVbZ1kSz4n0XN99lAl2+AiylrfoOl1hRXdYaz39Xq19vGEBT5xPtmtjbBkRsD9STy00U6yDFZNyMdm2mF6RrqC5/aLQ99/JfUJrr5fEsGW5hC256EXS+xX2TdXv4xsjCKRL8qherhbRyPDaI874CdR9dA/BRCYEts7wGaaFZS2AnhK56igaBagZr7rXTkjKq6cbLFMkNRsibAq/Y9CdPBoHHKwzG0BFwVviST/gm6VYDeTMO+anKzV9F2JEhm19YR2hZjIWm5rPaRTKZ71K/dMuJa7QOxxM2Y7VQiFJOwO8pCOelDuyBzQyaA0BZa9GEV/qbc00gt/k8A7SOydZNNWtbjYX5OvVOnQNpPGu4bx4+F8WYixQlJJEfgAesGDYy4RhfL7xiQNnwA7sHlSdLNCpg69EKmkpr+AUmqw3tTk+k0tZwhMS5e5koNkM3vCCbcRZ5/zcY1ruSBZE0NZcuaME8en9t27SN0whqtqqS9h+hoQ/VvxFwCS+HLpdqfzW/hChf0BG5alYwwn9kqTM/gCsiQMp5zo2ieoMadOhE6IWAKNp+Q1SVV12uAAK1I/sXP3UXgvkJTbedKTvu1FuLqswRdu0PB+SAPNI8aQMljcF02ZPpt/rnmw5Oj3Q9nN2TfRjZmo0gbqRdODhPZomIo6UXj7vmAFV3bkn8OMJXHx828PczFj8Et01KYnMWZmZM45dekp8HcjCttM7zdpsWEGUzzqQMUuB/13fZpJygx/F1FyklXT0VqX3gshM8FissvlLPB/jnNyQlBuYrExNTvqECsycX4ah+eQ624u4syabNAc7c+1fFG78rmw7ruVHdA1HtuyqLWDTiuolfIr+4AFsBacLCjVA4KNf8fJ9uSmSHJ3xfcyTrbfSh/qESOy+JNX8ev41dPMFWQtzr1b35KJ7fuQ/J1wqfGCQPPF1fQgCn5AzTwu2GFGL+X01JAGGGou0bFEC62Vn5pxHWt9vlJ2Yo4ZskQVmb4feOy9YtDN0Xz25SqW9axvRnzt4NIKKNN80AyZ19k+7NEwtYPQG3kIV9QIl+zHsb1WMPXKLs9Xd0IqZ8TqIOVxjctdgWhagnrg1iKk2vhFxEEfvJKiCkmTF+tnEIO43rEbBmKXtvgh2A8Y0sRqBR9X6QWb1KQA1rPoiKS0znmC4IfXtSoaMncPDd2/EapSI1Lf3BiF/siBMVfR/POW7YvPXHfJx870lAvO4gUbMv+J2z7LE2f0CQzim1D+0K7etLHoaKBwt41frgJSsYVvdIXdMbyAN1NfeOLI6DqSLtKH7ck6BnEOJhLnsfSGmhDM743mc5JfuoOPriGFev39Ud+EFVaRLBe5t+cUStoaGW0oPqdn9qHBbxRLbrMYkfA/byzF3WpBWguyGZOHg7X62OWMuIb++NME/W+QytD3M1U0FfvTMbH60ubx6pdD0ZO7v0R2nYtsPFYtkc9ZYlo82XluZSHh5+TKH25eMeS1Ui4gok/fVWGGK2XfBzm7YyysxoY143NjUH+miiJiMtfLlaEQotSELSbl9UFZ+gDhSM1Uuqai1Z+hyo1VpMaBixVGSGl//43b+N/mBQW1oKFyMZOnST+4o2A9A0MqK/p0D9XBqvDbShRToA0veyqcAucq9OkswGGcdRGotAxFgkOaShKEV8vjuWAuiNUMUpWrxjkpHstgDRdnVqlMZInEdCpu/h/IInQ+zDOEMcABV3iYjlqkEUp0MdUTyaMTFjNmjN4fPllAAesm7qtplkRg5oNZt9M/Boibm7yBXdauiOHkUHcdE8f7zbSkkoqyq2/+isSPYBENws8snplNmIPcxPGare4QXHEP5ZytgUuD5hI7GH2XME3lfeX1XVEM20bv6V3/eN/X7KUxT9mqhO47w3jjYd0Mw5HqXlltwiFX4jLizkU4kP9HiNs3zCNwjAHLcuCpDJwMkwiV45hm6mm1dXLsDoC9Pad77Xm5ZfnV8DhRh8Y5qySTW3hF31TK79xKZDwC8CcBcdQ0RraOp4FBY6Iym03GSB/mYSdmXl9rH8z/isLk/OqbnmgdDxvnM+LFOmPGUxv3CApCyNDKdd2PcDkg8KUckYlg2R8yN95kMKzMtL/QY1cMpLUsRi6UmFFJSNd7sDgdvkWplIPx1YmjKz0g8MJA1KEkrty2Nv2d4UmY6P22dHCYkPydEWBx+REYrNZDBDK2vsz06kN3ypaqa3/F2fG4yBoxTLAlkORq4z0g9KCEN3+wwKdKiNWHvPhhbZL2n/zLFwBQ8u3oIG/05i5Y7CTzMp3rhpZ9K+z1iK7CdwzCVSKYzyyuXrbXJAdSuUfHO4bCNHFGeYem+CT1XvWdmyf5Y9UD5JzhZSjfaqS2gVLvVEuRAED6s+4dpHUguZhBkAKTb9ddLK/VcqHPxP1f1sQlhoAmM60Sf7xvuYSAd7mHK89P5ysoxQSRY9U5TaAFuHU+cGZL2mADBIj4OdaB6sPVM+qeocKMwOFA0szV/PwUw83ydxUC8RSZd4irZ7ybYgjsdA0SF9f1KIjXTs8X9KNcihnb18GuKmQvmTDxSL0a2+KxLcKx3ygbcnofL/IVV1SDnKv929L7v5KknqlK4mAAjedKiZzQAHXCm/gVTJolm2tsg1kjpE3BAN0onpuQWd0cGYrx5mQSuaHsCBDpyoIXpO+0CGPcj0IqiVd+YE55DthhYGFPi205Kjm7gTRO908bLnzuuoOEajA7LcTDanpyM/pp0ZiDM/60uc8wICclm1Pl3E2RwOc+RmV6rB1eQA0tGEDDeP4Oz6miaT8F5eTBbRXf1M1hdFYCFGB2Fz/BgMz6TbXlI4T/aVkszER/8LlfWNpCSFjXmhrBG/NXNwomNRRsv/N1ZYviwnE5AmTSQYwFucMnAVICFGofkK0O4TRoRk/ZiKpwmdOjSZfNkoj5K4zh3wuxa6idyBQAJ0ccdVRLMOO0wEv3wDonHi9yFon9I6pA64F9tBHCIWGJZe1j1oedtlbLBEmhvepzpRnPzZY2qzghYRQAKG8tzqRz5ei4PCMuINfDto60Gv7DDqE5RGpIayrFqMdzXcoEw8ug4NJ+6FOhEZvQjhCEKE8uL+F6Af6WArQtdjupViq/rgtgW8vf5tKWQWLDpXyfuqKS5ajtTH27tDB/VRQqoqM3m3OXG4iPRgvFO9LzwD0zUw/d1JL5gLT9nS4fWzf9c0XRCiMS4VImuxikTKe7bVdtRBQo5YM7ULvlygCdTiFRHasJccMTQVe0xgUBWKfvsBB5jQ6/+w0+XRrgrbVX3BKM2tvcNC8PyXjWB065v1u9rEsabR5NPLsDmgmaKsawrhiIjokbAhFN7bj+2PLx8Ua4LyfKg4t6cWRb7VXuRfzWzdEGpWszYQQHqV9wZdvh/wwpx39W1uMM0VzIGfvY4YUo+dRRuAJHjpqPIkEF/KhHP+QNXD2JtN3Dmz2u1ZNCixb72ETQo3Q71F1HUwoQSmmSbFvPA0BPikiJ8a/BvRoApArTbmLHyxcgGCawqeyjQcpTs3byi5XzBvTmvDzNn5zxaveag+j4hBRvtOxmLHdWatpeatt27Anpzg+RAsgVSAjZRTx3D6mgQQomZA799DBMHpseNtCQm2o6n2GzUPXiXeMwHw46YrBITWbm9+KUE0ASO/b1EiSbejiTZCY0xVrEjxvhxgc64kp+wdVrYSAwasWlKBvR5DTuYu74Mp2oeEuWmy7EP4A8C50tx1fl92F2gGcZzcu5xVUVhmlzMhpLsdD9Z0iJwkKL5fELNHi5X+3CR860PK+IrQpLbMZUVQghWinWVQrvGQDUgRkpfy+27twpG88TaXFr9Nj/Wyukpv280iQUA3arY0sKeI/J+bOKWUaufHD9xRqYX+W70X9g9cHvC5KiwvbP/8+5rmJTWPoNcxCXAH0++twFj+9nD7+4H2EReXZmm/OeGgQch2yn7ipZSF/7c5DIWi/HqCnKUBF+BhhHxiia+GOzKguvnwBxcz5TaTS8rra5O9wO8QieTukqU5iXZP830yPC8hczwM9Gb2SbAxscN7uBBflgVGx8EfXFfzvkFKj7HhWll7cQ0oGxT3tee6yVrH9fkj4kcKT1nUgPDbDJV8njdJ8nYowpyBiJR01sLVV/mB53ri/+i2t9lbR9HzsBpoSKnnNgLsow1/uZ4stXy7K/M1zu0b6cr2UycMfFZtuJ9WBlUpcCTjPcDavEH2PqMaTAD487FMG6k/xcaZ6ygN5v1msFLAkuMUxckLpJXqh96ij+ip68lQVpsQRcov/OoUngRWIq4XO2wDRBAovE+bNeg9hGLY3fSlMclX9AMB1V9GJluxVBO/dbQtxXm+A591Ys47ehwmihZfGDPLaPPvfYuH9oKpJlOjEto5Iz0F2HzrZc7O8Xn6sBjtIYHalv1Z9DM98siUslR29jie4VU12Pz7e9lwTQrMn/GmO78UfjPoYMva75UeD9I3NQm4cDpb2ajAlnl4mTvZhUsIFWm6xWUfRTvwprrDXrB+EKmmI/r+U3pkRUNB6jJKyuh0t7o0T9Zv3c6fEP3zmFIcVvY5VP7nlOZtAbQizWfXrRxZ6mZZKPlNevvNrePcpR3CM29W63D+eOjLtq36BJYP3fIHqExvHzGg+BPWnhbGdKSBIzyfA/6mWpAJbOzRm5m3vl1fXm/Hq4hXijHaJLCHYhg1ToqxK2Od15mP5IzOxzXkLxAt2ajBTFlAWCGydA1wCVR6u5L6eBsZghsd/ZS5h6imw6zZCW6LBemUDtLsmoPyYujGlTDTWjejedEHROymuMO5IYWzBxHgCpCHz5dPeXBo5GRef/07wToPc6AsGXnRbCrHD8hgEY/xw11aV63f6HfHw1TpKiZJ0hWvVK+Gmq1e4EflQVx8NopGocV5vAP0ufUEyWosWj7kw4P8lZobMq9ChY+Bb3iqfuxiB2aMTne0pxoAH66oBxaONfwNTHrAELJITwCXofWET+Ffv/g/edgSldtwYmKSrSZo8p6tnhfu9Gc04fXgoeg6FshCs/57JjlAK/WLJ7PHq4WcMXFvFBfmyMEKfwPzkA6bF8k3HlL6sXwksE0wzGZcakR31mxbTMEywNaWIfT0YtkSeReREcmT4/oateZrAGoQNZNIZYhlu1jHgRZp2LADCDFnJ8s0+74UjljU35rp24KtNjI8PRfy7v+/zntV3GCGoWA4cNQ5XUXiaNKVwjJOJ4CjdrK2mvtkigdZ9Dat5Ug6etQLYVEUl6icPXqLcl8ZUStVKd4C0L8L4kORqFPuoyGlv1fHUP+qjfmuKe4IWLke0URkKMBIvn7WVk9jmTqptvcEuh+fXkoK6cFi4AIYXs4ahD8xmfNQ8Qtg79JbyMzFVcw2QEYD6Z7YwepfKMYBzWKSqjCFii3dYyS8Oz7bk350ZLLYVGSAZrHWwzrmQ7dRlrSmUkSeQ/X6HHELiW3c36QbzOF6ivRi/lYpXCC7yCnBmtk6n8RYZ09lWjyG65m6/nbppei/1Am5998QsixMbOpqj4toQEEi0OSRFbfHfUL4OBDpNQzhczsbvI8NJxxPcTecjd5gZTNeJc/xKtdraS2TuCvyM/C6dyavH2nqhloe8i2OaQH0wg1+k4IxMGJRIFgb/hMtyiuh7if73kgGoZ0FMTIGdabHih6VDS0p0V0LbkjJpdDmYYKqnrFkUIoYDrjkV6V8oksmvjtVZ144Tmfy674AwXeCnVbyRplRC34slS2qOLM01Vnl/oOFwP+hrwuCjjeXjdXofujto4zcKjO4gjjUzx38eR/CSFv2nrUBS+7cGQWClHiAQoKiayFIRhSY2RJGqI1aij5kkSNjUwfQOAMhozqsJQ7ASEB3eH2dWVMyjTnSR1SqOEtS2R0emB/gLGBLBxknAytbnCUrYHM3cqdXxUxs48YLJf/ou6OqpsJHf1Yg+nKeFW59eADAaJRfyiGxBHKerPQRlbCCL/tEpH0swm9PgJf3wnCCLWcnR3VB8IYP1rS4c0s8jBwQNprd05LBJ1+3XrftGNvDRvQ8vmrKPgap1bEjAcyDW1xSOSmwweTc7JVuwZsUCxLAcT7wdOxSyTUBcQTIOa8CGqPFCQK9x31k3v+PkaGzj8H/S5jTeFPFn6JbkY+aT9zU+Padz3D2hu47CMzR2+ouFitG/bl665LzMjv5GYLi+xbTt3DaIUZcXNd5iUztYj/CJ0Kz8xfLQD7h9Gi3qrliL17QjTtzqPukR5VGys4gcfPv1r6bdaYQ32W5G00mWgoxgB7UXt6aL8q7zKGrGKShyDJ/lQ+4zi00jjjf6oSxDyJ2EuqLI93cMPVPG5FpCNl2vjQWhk27f9h8iqLZJ9rPY5V34u3ei8jVKfAk+0OX5s2GBXpQfOMR5oUUQMzQK3rMB9SDvRnxXkAV9HmJXt6O3lT657ViaFca7edR1s4TbYSSz7BzlRmMK+CBB7iIwCQdreJ8kXSQ8bAERZGA1RwFqRq8mLRFEbuuUSS8re+C1LR9hOqFHoa967fDeV8ooCNlmt9dj4B3SGZU0Sp9xXYDc1j7jgHdrajxuPQyXlKJ6ysycSDoJBu3apFUbyG+hmlj+0xlqj1ix2h1NKITMcU1awINr3dxx0+nyXN43Pze8VPQAeY7EbCYpoqil4lvDqEDWG8ea7kimnOHi6RKY3p6EO4YuxRKNU4gQzvr8vFqnt69/GmfqUPgRysN+xorprhUbZ3MVsYkcdJB0mmEvMHZOybK0Q1YINjeNzp/8UWKT18+9anLK/8Ofr7u83yfR5udj0TIvwn3aoqpRXRKO7rYAUbPgv3kIEqNUzb7Jz6G5gKUZbs/nMgmMs/az+VmKGhO1I5oSytEETZXxgPy1OheYv4CoI+9Oe0/2dSQhp1HTkJt4LNRUsG9sT/C6pkZg6vBL5iLrHLW6cz1s1z/FHAvwPSG9uSCSZ37ncO8tx56XMLRRPrVnP2wt3tNzW1asYGQ0Wg4O+7TGgjmJQ0ES3qstgFpBhLVVM184Cczzw38N9mq9meVb9MTyC/hO+fGeKlFhPYM8YEEM0m1Tpw9r2tYrYvfEpH4i9FaRMht2uq7Ws01kw3ryZsG8PmmNYNoJT0lzEQd8Xs8k35KmC4kgtJaFG2IrkGPw3vl5tKVLuyS054TyjpwDCKeAk0hRE0aLXWma0jyyczOpiYPBsTG0/CYQqn/9j/G4MsvSS6gLPcCkh1UnzCWRzlYBn81nrgXZlR25ikWdduNV1ORZx0njQlee/Oy3yCP9FSaYCzKhRKhB+k3WRn+wjerbG+KLPZqosmNcxTpPFsvWBIhvdL4X9m0pK1P3aabr2JoXHGognPbJCixlzC7s9JDi1iDNk2YebeH8kJ2DZDx6rN0Qd8c1wSxT79OXAEn4yKQXCciu6n92Qn4XT4mBSSO17imFiZpQh/S75Akp2nyPUSjSukbMr7fyWKEfQro1OLoEfgWqTgnHnCuYcMGiw+Enhy4/uODCJCmw38wacUwrZWyyFAJBQCDMJYPz7TLqgfEgk7Op7qeF+8wVUmwcdL+JTNKINwhWpNOEHfk/QcMhJKAcUqfZh1XGEURZHLD8ePmkZYqMikmpeqcFb14N8zxQxhiZC1P3jHVWCOK4B7jbce2BFWDqku1EqBUlgxyU0JzIhOAu+WyLDiBaLtK6cPDOddTuX5YS0hD/vG4MvQ5n6CIxa/Dleo/6yy5bOmc85Q+5xmWKdx8zC2NwFxg+EgK5xLHaMWJLkRXJae/wc1AQNQvUC6IpiSmva7HmnrlwvscMgmp0CwpQCSh77XctUJ5CesnwGsQ7ir5VzqhGxAmLE8JvtABYgiCk2O1J5ArCkd3b6ZC/9BIbzC6EDi72TJOED75PCtvhnmhKjWQufL/cKV7jycMvJMjfdu6CUqWmLXmbNK2hKro3O/k+rNmmlKnLs5cdc7hMdNmQUznW1dAMjvRz15I+PeK+/UFeQi5/EA8XYsrH+WMeYLrza5+JHgKPxBdnbawTaRJ/0ZI1ZCW6u4t+RTMqOuhXTfJM7U0RJTLml1NbPJqq6qJmwqoHAx3PQmkCeQRvCz8mRHG50pYMYA2WOauBIovV0I7sZ7CcDz9Fren5xWJICGx//eX3WbBPj3URTEzrNnCMo3HEZm4gEnLcMs9jZl0gHpoJr7RT6xLf/rnf3zY1IrX+nkuHiJk2B5h5+ApOfDYVScV5Op8pNRQmX2kpazUVNv8RpBDDv+sjdRb0WKJfejE5aqf6aHmvf/Lu4VrfpzgldZVI9xYAh27PbCtxD6+j1+ig7dMenXgCb2OX21q3W3f3faJnsBphZNp5uP8SZy9Q5b37oTFWoqEBp41CuvnK73cHhUpXZrGC2EERUGiBopJ1MADwP1WI05b7i0aHghOsTPrci5I0Hby3z0qRAEFuLtCqZj6AvTjCtneZWKFLCz78aO5a/1+Tjp8Nt5piD2NKg2V9opIWQaVLoNCdrDn8YB9gMhrCCGa+U7yh2Iq7Vl6mT4QTk+9rYBYCCHlxyDeS0oDgzsPNuB3BZbV8JF//aajxwHI1iiq27MHFLvtcK/Ud9G/P+Tqd3PNsw2M2lB7Wee7JxVSBLSYCnLOHSW1En/S+y3a0ak4MvHgIFed/w+XWiDga69BNdaoGSR52A+7nokxChRGZhI5y9OSznrsLhSEHXiLiXl9OvPxJhnUpShyhN5vWVoqjQjgHig57BTHyH49LS6o1EcuMMRWojkH3GR3MynEz11fX0kcliutkq5B82zarP74xA9U5KEVzx5Utf56yYCahk9ONLvdFH75m0x0FfZR4hMNldvTkBkXCS2sZ27ztunr3sWfNuRxi2NQhpfnhS5yKoeo+MAXtqtNyLafiR8cQgAB36LeSSqb7P3sISin1gQHPtrvdZua9WW2eFsuzSzJj3Crf5kgTX7jRdN42i9kMLq1HQPSFm0vSrqFDCSzbKPtUfNBDGWQWQbhsWACpUarQlqrlnLwbzAKmVWceHma2vmK1ShC88yoP46uSPrQVIKnGCjev4noBSAVZvaEV/wYUqVCSMNfjTYVVGKvNJoB8oU9/o/zJvlCECBC20j5EK6tw0lYfwBHP/Sbe3tZFq/AJpLlULp5WzuirEu3xt//dVvX7sVN/CNtw54l9MuVq/hUKQiJtCWi0FcF6B+7Ys60MO3S3wRhvrbxvDLgJjvYBEG/RbvW7OpTYHn7i5ZzK9dSW0ZhtqB38XCEEv1DFaHk8SrNDUDTgff/sg34D2gTQZV5nVggBDiyFt4tafFRXaHv8ApK2lvqAA5ueR+pGD3Sv+aGeRL2hOeN5KBoE0A8ajGqkWkVW0WEUtE6suKOAup5BGwe6HC4kzfK83U0V9i+w2rU2/q+nBAz7UmuAytCrEVf/v0OV4wp9UpjZ44EPIqFFkYMD7p4WiMk/qSGtdykmvADchOqWgERsPio3UHMA0FE9bimRRCs+8XiEY3o2IGfLo+zuwhuUfyzLhLbPPVM76oghNjy9daiz+Z7Hpt0oz+oTnKWAHbr90+EmEfYTUg9VSVC/G1W5OM+6srY/CbPF2gC3JoJziytCJfIY/yZtujcu9AqcmbIlitB2q66L2DYdp2b5Dvj16QSfqwWtjY9VdsmiqKFQ71qqgyqTJ7iTSmT70NLE6H5deSeqbmxuxiov0zwNkDhbIINEEV8E5hY9M9Ydkt4E1UI0D5MH8JSTOn/f8h7BeTma46sH9g9oR34Ybios0g04KU8YrQJ1GeFmmQWICUt7oBajOf7e34wNmw+XruxuMfdiRTL+HM4TITvsoR9g60NqYeIZfmPLP99YHKx5Uo6MWlorM7kmCgGqhh/izAAFgSQ4Ras+qsIqBsmSkXPOTdsu/lHI6yd5sX0j6FynOsVOcZwwHA25xreQhIJngWY6awRYIvkB+64q6ZYif+NTi1bN2U6P+rIjdP2b/jvznirDsQJwGWrifPfln13Paf6V2zlZ72Jtik4rmIgIPnqKA/lqNX11qQ5UMawLO0JVvuzTdGTtm4lKeF3UAh/sLMgA1kjhVGai5IV61JuFwkqmcso0KEj5q69mIG9PZVF52il2hV6+UNRsm1jXIeA8lWRvYm2EwbYTkJaMWBPj4J9zoUqhG+Rm9RYT4mgOGPi8IrlnRX1KUJJYoqgNF/XLiaUsb5hSdr1TXL5Rqv/B4m8eg7vIRiyeWRqRdmx8j9aRzoxvJW0Ba+l0H4lGsKjaj3qedcHPbiq5UVZ0pIuIIo/rmWPWomByQ8hVQvb0Duq+9H+mkrBzMmp7A54EPuxtBftTwa1xdO6OZ6VZabkjdobAE+x2vFdGTpxUTNJMVH4ZYX3gYSAXC7F+2AblWj97tASx2ikUzUJV/SW+2ohrAtzwKBczLTkYYLAWKyzZ5PWF91N+h7z/7AOXkvnslNFPnGjasfpM/TFqDwYnl2R0eFDbnjdhc79P1fwHLGnIQKG3kSgVRYkqH7EgWrIbvDJIb1Wf7XTBwoLvVD+v+X73HQm89XGucpL/z9B3vzLUYeMHcV1Jk4KjFAGRU74uJXyMVMMQ0DavpaZn7IdQkx8UW6NkobSk1FUtDsWUVMPnqdtUa55/9MrtoFlQmGc1p9h8h7Yed0/QY21H4/5orLHwazq0BDPCM42ugdMd8u7KS3YTSlkQ8BfkOHrvn9AvjQRqk7UtRvXHI/CObl5uBtZMtxP5d1LihkT+eu4dliimU+Ux8Kj2LXmOmtoOkdvJYbRcR8Gkah5zh0+eoSc8yDu+O4XKBr8GA8TmJaJMHcorE31eoLlnWiCpT5mqA/7BbBs+BJSAtmJTNhwOJCCJKBZvgYXdrJQfbIf3lNm9Py8leh6LKXwXGrqp800ukWGRiKWYGOKuXDbr+3kzDK538qlcTmfROlrPbTaV5MBv5Dc7epUwGlsMFd36tJLVXh8/h4kIXw0uMWaFVF/FoaXHy+ZalN8xAlFCfbHZ5WiJaU/YxYWQDjtty2YvNsWvnyTHtR0R+PrnS784Vm19kWaMeJ9aoCODaAwQ/mOr+qwrYjbI0/x0uftWY+l0sf2IRxchtp5K8VnGo1DhXd26H4fkk8YgwUbfdWMQny3nfyvW13kFJlgSZsxfu82m7q3f5Tv1lUbRECycYwE1NDRE70NbPZR+F5mOvZEaJ4yKPHTiGEfOhnCnZmUF3URsi5bIYi0h83aNXzzAwAmefljVK2+CgPP/cZIRW/IFgqfaK/5ycpXjTPY/z/1qhO6YgTyQaVv9JcBnWDDkJT/8kd9RCdhkvez2y2pTvZH+s4BgYaXBUWNeRuM+cK3uaz5j/p0OjjHEBWKDQmR56t726khc8JM+QL0SqI8XC7R3k6JoauPz7ktMqGbhr1w+UTb7N+uoBnuxnADwUojaV/dwv+Y4ZA3eBEikpPt/bBI6CjCQkyxvgwyziIQLf+GYPK/lTIe0mXQ5WRGXqSRr/LTcT3LHHSLjVMcDWXxGUmaG9Unv8c9fWPJbXpShx+zNzkdEglPT61o8msjN7pdoXyk1/Be5uhVuhtcyWPtHMlabK9TzjjTdu3quievAQWTwmahcok/LuzsnavyVbkbLj3Vri+L+XyQKS33jHp02mLTn9ewQPptlA7GCulLLPmVkezeUyotWQsXJ2eqe/Eg/ileir62ZA9Gv1/iKPU/14wGxjALB7cSRH/xL4H/yGfL20cedMXKpz0NBeJ9EvveDPfKHlfpRnqPIMC4l7fzau6vQkkRnTi+o4C372j+wI1k2hl9TpSJiPWhSU4NTlkqsqn+D8LbbtLhfNyF17Lf64m5sIYJZwUgObli7OimCrtpQxEKifVbD7ZdiBcxdjKNm41I5lqX9OYz4aY9i/H3b/FpfS7OF2QXdxWU7LBAjN8Sl7hM8uqWlueSyViukLof/hrCmBVrF0fkXo8HhPZJ5BctkNK+rTp6GRPoGwYt9ElVoSdwfpBlDexJWQw48EiTiqulObANNCBTvMnT3DIMm8FhZdpb8GAdqx3ZXsNc4kyJ5DjwyLODrfhWdw+4QEU2/MUYjzdki01gY8G6AEgjzzaQ635I01R8TV/j3yCxGS31ufXK4Lm+RzJa2qE97ygdVnZAjqLUk5cf7dw45qXEoQ5fsTD7tqoz54dWD7qw+61xu5Dglk1e6H1TrL4QhAsm/DF0mlwHgJTFLPgd2GsHhdt5xosjVaT0N0JA7hEps0KkRw5j2HsRiirecae1cDswoxE+SWjESeze/UgI3eEH81+k7d4F6zjm+y17JUT4WZmVBmY1VW31x2bd8qxEOkoPNbE+ew6oQgXxnPBr7wSY2SSUkDZRdgFD5xIVrStbGNnshFD/106HmfjwEkfxhtzEhQFKfBOtCDqNWt57AX+COu5uWoRf3UTWw813wbRDWRRqI/VRKTiDyqgdedIzmdQClbcI0ALgafK1zDGwP2XbxJPKYWer4S7KT3GaMXs5KYtfGX+rOQpyRdmwVluMdwz3YEpRSpKStvrLmaSfCqmVn34ihEX0+9DbAo5zUtUcZUKuzfcy8Dv7AKOo3iJmkYHs3gKUTAPxwm9T/924ckTGGPjG6Yb0PGlisjKLEnY8+3TmLOwnI/tEXZXns5gWnPJg1pRGVihQUK3Es0M2iWv5neoalmj2gYu7gXsmKArkEXcwsqAcAGL/FobERN0SX+I2eAmUdMy23sDGcq6yc4JJ5t92dfMIH80AuZKgtzm4yB4TMT7FpvT9PcbfhfXjP7N/UYWBJZJq6LnvnqgCys5mdnhps9/XeUdfpxPafLbFL5a5li2ncAWtPmxQO7lh0ptcON6s9O4MlYYga3CApEP6Jxcdx2vFTP1+bguQIm53NWJyqb2zjObs+KCJ20DeSV1Bw+LlmAvlHwb6qfiqh3Akj6TCH872SbVf6jUcmr+ockWJAKcaO+AmnTA1yLI4ze8l2Vx4N2lWRRqxsGuQ8kQsGw+Bw+wTOhDB21f9zh12q9xZ7kTM2f5/B5+o4IjXb7KbI5DKtpRlVOxtzw4yTiu9V7d5bRveyLMm2QtJ3WjIwS8d4MT7Jn4WQoqVqVjIjVg41bIUJgauXCUklMH22vmgoaeXJV1g+6tYv7dOlgyjjcvSRz8mR6BwRgUKPpOhN4L7NeTcJznn/XLLo4fMuEP0yQhdbak62t0Ttld+zcb6NJwqYU4SXzhT2pd5w8EmC4nlcmuxfKrjLabkorRHbvkeWJwGLq40rJso3biOFJnPdOKZi0bUHCD44sSbA4odxdEMGCQdtCEbyqf3vCRYUwAxb16O0QqwXgGRQNKucOwSCOfdFgYnB90OFYCHanppNAxMEzk/R9+levNP6Llgw0ztR2hAjUT8BLondMORVjkJmX5CXqrtYT0V2jaGcCQzf0YQWVLRlUhJtEnXP35DsL7oUP3XEKuVBburI2tqM1mWcaUa00BTmz9u8nQGhEmg0i/bgDqoekEAyKlOkyhw2/p58Vyp895UXXT9FlfeBNXb4uO+bGCp6hPNKw+It5yUEIMRZuDMYjBY9avIgZPLhb1JwC4NEg3QdjOqhk2bAreteJtK5u7PlAoxTYtwLpm5ptIjLbCiVyIa0AruSlEkKIovrywiPoYvaxIllyxmOgg0cUTmqhGjf2p5/K0GRtrYIFjF6DpEp+ujuyodviuMNy4YRoxusvIU7aUz0JXj78RNajWh96IVlRuKmyiHpi7UjGjhzc60oYJv14W4wwd1z4arMbUGhcGfTEey6MnfND4wAY2WPv3fHX+dd4Llw5s8N2hd3hbCzS/HHZnsl78RREWWwSY/xq2u7UY+O8KGM+KLht+JRdr+gqz+341Saq6R7FFHHSnea7N86ZHW0sw96huHo9eVWdoiDXkPIVu5cqWEpuSEb/WIBp71EdEf3uxlIA7QmveVXTVq+JFWwDFtYuQRuIOJOirtgSE6g6uEcFxhEOtnKGrxH5R/ehOUssWuxY51enaMSZ7MFedbhEE10ax373r6Rdc88P9pgHNDCS0Tbk+3aOEqbudBU3jKSJUcgEVg1DGU1UqNRWuN6/vQ9r4d4jqgPKtuhXWv49alzF7MzK1OhjY6yLyn85j/24yzO4YfFFLM12sz/6kXSF0Qby0CvIGrUDzXM4eXkG3AryfXDxDkEIfRSk6hn7T3LQW/7TSNiaWTxj+fOKt4Sw+Pr8GBJcz3VepUbOQ1SqlAQYutdUKrqRB2l9cJO8EoJcVT0E7Hg1vFD+ksUM2dvhanIGv58IEmI1W7oX6uNsRgrUB325fTTV8TOnEIpKU0jMp2Z8w/i1RTVsREOhjQySPgUdiUMzaLuIhbPw+gdpVQBCcLzF0QvoA0QElcGX1xw1EahL4gjCbUPLf+32GJFtLR4p1K8+YYRsJHsbS3CKwuN2TlI/eThVCSO2cXJSLR3yjujSxqS2/+NpKNaOaAwJOh20JHfv43sWIE1iGCnttJpHony9BL3fN1s53SuyPP9qNzrvKuwladuO6e4Orlcu/zsAq3soh9HxJenT2aEqgBROr2XkxFr1PNknYSRSJeFfmUmu07kdGPsdCFhrsYDN7BQEp3NFEiCyvCviBLlAUWS7ixYIf8UMEYXHC0ZhPx5gm5eCwcpksJoQvzThTfQO7rE5NzjcVIaxgPu+sU6E9q5CEhvWqZ9oCQhYqsJMsypzpWKJ2LszU07VeR/mI6UDZS0kh4NWARggkFMlNHz8F8MFKxmVGjw+haYWRkJD7FvCzPpQgj/PHOn0kdkvmeDGf53M4k5UN0OSn0vHL3d1Mo/mBxFbM4qFsPXJoJK/7RtIxh49JP2v0hqMRGSjAHWkZM/p1HSoWshj56pzx8iYWxDmKROazQ5/7wiR1Ee1/EDNmLn8zRZuqCvVsNJPoVKCJtnzmmQAZQonXBER1GvmlhLoNzWQac7jkWUSb5rUd1YiDPd113INvCE2J/Q9yRfkKHNORW8g+eA4yTV940l8nDHiJL1vW15kw0N/NkSd3ALu6HL6ZK7VwcOXKoS6Mj82QpOfW19VPCEDnb0s2i5n6L0PccM0+o3/3QY6h3sXS+HrMT+kOCDpUOPkgOHr9j7kGgwbfoTokriZIkxVhylIBVqQO1CDzVsCo7aBvtoeuKF3tTq0+ji3N5fOXwxNufxuiMMhGe3qrzg937VsUkQfhMxsLuKCU/lvlZdbc3lb8y7llFFVQHODshrVpIU7vrmdtaCAjkC/0rujkHGjyNdlGU37HKOCP65Fy40FmKxj+r2GbZb56YkFDYnS5DJeBkcImJvaMyRC3kkWwUZKQqMsp8RKVBUEeY3enMmApGg6rZfcOA/Upk1D+OsUDVz2uoFhzN+cJ/VSX6Owdjvlx0S/VXme4mfQQdLwXPGD2VCdqtecHw2nm81ShqMzW/93INR2IY3gU5SpIo/t4woGsnhkRtz9KhHDuSNRBWnnIhvsHPzbFQUDVZc2pXKv9YCS9OV48vMpJgRyqfL68a2UWb4LhwXT9aoJcaAxqO/0V0KZUsRwCCmBewE97AhyAq+UdiCiqEcrmsf53R/D8gGuv2pUCVUcBeQuiUtEbrqcfTW+XjtQw96Xx+GxuttfZCLNqmPgwbuVxiO2m3E1TGDWeQFiXhzV18YOgkI0TuRh7NK/+0K9hv4ngnMkA863mT+66cYyCa0YV0vd+u9e5SQK6giXhpfHWIVcoYhHxx8WJhCdJcosByc58fFFoOAmyiWF4A0l/Hv6ySXzWU11OHGOsZcU2rNcLo7NeHr0Ag/kJ7MDsPXuw/cbVX7gUFGmVXpeqU/mcrPSdnZ+gfwWVXqZc8NKCNqMSspm8WXY0FxXivZMZlPR2+Dqj6faOBUOV2ySxiuyyTXjW+RPLmT+WKJycUHJW78FwA03361wICEDyWWuq8Zjc8SDwpcHhfU8PYFQksrA95/0I8j2XlgCmP45JnT1JDQcQx7Px9m5L4y0RArox9dJhN1ZBHFTo5dCbMqBG7H+BHccvvthL8kUJKRDaC1KGgAwrX3BmREFOoAzJ2bLxMv8wr9ZRE8i6Cr/c3AHHXBHCphL0e5OJGX/f0iFMayEBixRh1tISt4hzqlMQQmi7FDkPU4awepPbc0/EffvqRcMgflDhvGBl+YP66C3F/sdL0jzWHDXhpfuFIGYzZ4OSZfVEY9HVi4Qtl69UF7Vsi/MZxmkGLpZnbH2dnkmaDTV2QcTbkRKz73y0YP1GnOzhGLXY2MUeq69raspMHM5E1KRGzJvN1x41pLfmh2kuDh0iRmU2e+Hl5LlZhYyXF8ntvQNL9mANQicDGjiOwP7Z/QVLZtbTcrzbvNxSEP0pt+YeiGqruTpJqi0Nlw3HZqvZ2m3l3TiCo/VAPaOCjJnPcI70xllaU7nwZEjwtLdKwIdOqMO57cmpfgm1+itglKPzRRP6QC7l3i1QgQnjj+p6Y3vaxxgsqAPi+za5mmdmad+H38Qrk64RdkOSAH/jq08CYhcrGjO7xdUxbs/Rvf5o/EtdxVXDlrfTeLxJZtS6aJlemIj+NNdjsPUho2NekjuskIpvE5DI3gAb6lX+IPKsNukIUy5aa7Rlp0c8hejkJsy+u9j3pcqPhoeZdtVVRMlj9d0YhUZMyv0uqKM9c9+u2n8HAeNas35VyLETyF3vx2E2JvchkuuXG1XPushkdIQLDBqNThhtDP7fouBp4xQ2rUvFqEmmfsuRwuiptZgKnmL6rYmH7um8O4n9F+GMHjzsgpGs97kdbQAQTkv2Om1Isx/vuxbeauS8SpOD+f5a4cNHtbrw2wUN0koHbKUTZA7mVKAWMGjaR2v6vOR2uBIQ5jPq5GdRkNNgMzXfcxU6RXdXh6Fec+wihPHO+yUX/L45U5moK9UNZR8JLWXpzn/oBsEu9JApMTNEuD/tKDxays/nXPlm8lnpaMe/FsjzvcuUwfi36eWbjkmdWDiOuV0ArBGdj9XeXlqPDA/7T4T3DA3QfUFenojRCIvxWXmyDYmxghTFHdNNlHUaAAEMv27l2L5mMntDwai3CS7tYp6wFl/tnl67IT/J7gFmgXg8DOt9STyxHy1Cji4bjPzkvCIYJSJOVEPWljZHvWXkxxnCkd3aPntshcTiFRJT6xD+6xlDLLZLnQDcjv/ByswpB/EluorgnB0DdVh1aNtNXJBm5L/JbcCEjjwO57DoOMNuYPyIgBtNEjKRiw5JlsxuGX77BeZ+JARJX2c+vpXQZtMR+m/vH1y2sq6jM0MMBtgnzJq+jRjHN6O5LGEQv/VEJlMVTHqyxypyN3kFPqXLq2T4nQu9hFgpmDwcb1ShnIRLLcKQ4NE7WD2Cn4ku+GrxNZF2ILQ/VxGp5sFZPdL0dgqYRnGgkCshqi5StB9dNBbLJCFW+8LsH1dorMApjznp3i455fCc0u4RhFUz4r63S2hlxM60H8bC18GJqJZpr1WhTX89V4lakyru1P0SQUeYJmVbtV31IGXHGih6T3zEsPdTX5REN+oxNiq6KygUZZx0ayZ7aNYu2hWzayshiacbjMCrpQl5e9krK8pdS/1M4XY9KUFG40zgy3jpnE9j72XyIE7weustFHR/sqtgnGCQSpeycyB2tAvrx2f7+qWtOOhXYZtChbc4DzvWiZ21pskfjAKCd4IwFHc29STWUzr/sKxv47SRZqnRQshwsJrkoXFrCuj1Bp48K00nJpjgJ6y6dlM6CbPj+F8ysaiwnKd3/vI1Qk4/QNJP8P9OQMTQEO5PQfF719jVjwLB8+A6I5SkTnVKMN3ffHFJ/b67+7cxu1F+HNKaw+ElT1YngTBvLBwQzO/C5RfaFCGLa/VFInuj5nsLgBuRrF2aCZICq0ggpF+JAKhirPwJSIFsHIRyQeKK4fl8Utb9Gv5XDNNoM1lXsfsovIjlVvLYPbQg9HpWcUkyX5Wdj+VN5btNXBXqEJCRjfEneyX16RasU4FDEJEMZTIiRwo+DglwJm/i6Q/AAnzcxod2LAkoCirqqeLbvLPXASkuW3nBoMGRVsk5k12eH5o4b03LIwuaqfIrZ11iNdTxmRbh4VnHxlcXX9mCyqYwz/t8GhTDHYyuokcUsjVy304RwfYn+4ILlQDfa+Bphlid/rS/Xcy0lwddMYmVPa5n7dSRgglbe7XE2BYZRRDm8OzCBRuYrBs0bsGGQLoGp4XitwULKY99WyTBSSSx87+GJ1Wg9iOe11xfyVPEUmcTMiTJ3b1q745tucmb8e6OK5w2TN1NeMJZ+2mwCCf2IvUFsUnQ6bzJ2RVuGKXusad5HZ4JtNGFGCdg7x92nhDW9rlq6U1ylXAgkcvdzkAkUWgTDlHn5b1SRkY9H928PzBEIlUqaiOmBA8XGw0U2JtpCWzMjoKjKD7U16iGF5sKHHm/9UnxBO5rXwVuxlQYslJObQ/Nw4qkU4wHHpDcOjFUXdHuvYBNy5WMYcVMpKDg9Rm1OUT7oMBFLXnOEMXAQfH4RC5CFmL32vu8f/CnW60g+ZMt6W5yrUk5OE0nEu5RKdeRVGV7ZLB8YK5bHYF7wj4vKpDbYx8EeeHJJXf5SU5IEZrF7gDy9WPALeMoFxpebayhZNlbJFKq8nkK2mkMRAon4Ja2IXN48z1JEP8UK0BlUn36ZUsxxd+bATfdIBU5Ur2qxyeg5IsDC55qV0h8TlzRpKfKu0STMZYluiwtUm/uUomOHuTqy2801GHSZSanRCoN37tDxk6BPGplOBKygByq43z1yADlf1HJWtjagE/ZeXg8hsP2DVBS4VOxzgE/pnou7mvhZsPEpgt7mfMAyXIz097YuYB1/9/OymaOl2qvtf4ekVtkFmSIp0/uem5BC4A/BA/RcmRaqxM1QEGjY09xD6x3YUiA3+DNgbulL+pJKN90XwrI1wr3eC+xYCVWALWwm7zOgLhUTq4So6rVHlFkmojLHPMHgjs73egQyplvCvpml6IHYuXSMglvW4G2IpuJ4aeM6zTkCCUgd5HapbGHbPz3rBQIA5k9Oiu5YzS6BjnVI8mf9TQE/lCBg4lexHNRIB3O73EKwQ/LsG0Q8QoVyZGFBI9vymDgB8IhRzKCDenZqeRG1iVQ3uahYW5YyZXN97RHFHogKQIe4o6grBuEApFX4TbKMPZd6OVNtxi6ahWqTHLSR/hidjhKJPQhysXK/iL5O6DYc8cwCYwgh2tQa8X6plJZJ5i8ZHof2tVy29fULetJxURCWi90N48ivuEcGuQASvdx828AmVBBNDW7C3CC42bUMOZziTLEZO6bifAz7uTh0TPtY12ZyGD6+vxJHJu2I9MlbNIE9fXytiTVVbjn5gjUpI4nDob8Fqk8bWapaRErEBJSUwB0toEk6Ota7rj14BBJxQxcQg1ZtoKGGW+wHKW2YDYzNaShxE7OX4ScK6kohdJobCqzBIfAk15fPyBu8HsisS3aYcgpZt/pceSeLlleuwsOXu6ZZ1LoCtsilI5xZpDBU7JP5+Awam6ii0khM+5+5XlhR6LBZY1NtNbBaLh7FQzgEm6XlW3pgFmJ72/rA14KK1m8HrhSGYBm3USdt3igYE3rV5CJT9RVoBDIL9W2eB1kh0FVoqoV/S8eAkil7Zzr/LYp2g5UnebZ9pWhWbi3/iBFxrgUC7iKxnJGDQJebA03FEV/TaMdumUG0zHim2+lRfkQ2tzuWpqb5NnoR2IkUjQNKY1+97aSSFRDj4Mitr2Dlx9b7bDiVHyZUoX3yL9ptDP9DL4jcNgy57/x443h/geRXQ4iyawD52KWz+K77gNO3cxoBQk2gJZ1+jNSIIWS3pQxZDoTbXUMha6rKRsETBiD5hpJ8ElZFwS8C29Tw5iHU1aLRRN0bdv4UCanXsYCGwsLeJVQhnRgqK26kCfoeIDkoabgToW56vUpCwCmq/urixPaJHv634ri6gHzyv0MxdkQ2U8KanaQjIZ6uazO9jiin9SXsSvrbHBW9QAzcZD/r7pb3bIJ0pkNbvnNeVjGqNUqi2ruXl/636oUsnQvR0KxXtlrq3z0f7QfF3VzRJN1keccaB7Jx+ir97rLYymFzNIZe2asXS6ZlWk5iMySxJC1sKlZYmcLIS6yvODS/6TZXieOKXwCpKYZ2VyuhFAqEIMn/x4msG4deX4iMnzVCuRLAs9BNIbzywh1/vSQrTe7vsHP3lFIqK2MeXvcq1NMeTsUDXVLbx5364kLLTPl5YVvhI8r4qIqPFGEdhIvKeJ4NWjs4cwNMXMHzuimH18fH/4ZrBAFInZyBQ+YM0FQrx7un5cmIY6REXTMCtG1aGWKl/Sa/8JBU9cpQ8b67FPHlarHoxwwQUBm5XCEdsDU8JSLZZ2Q3EFNDc4uXVp0CBlWBM5UGnJYe10QHcnUPcvrg1ZVjdkPHLOtK8YAwD7gAnjtMOQ7m2/00ghN0jEwJdYUiUzuVkt3X1pRP5mFoVyrVR8vfQmQXhYpYEIsTAgxLNPfuKY6a7yMMQFJqM7OcGhu1NcuhlRsv2fUpTg+HMg/QIA/DT6oCglDaFo54X5BRrzm3ml6PE3ksQRyW6aLu8bjp3hm7XForKp6BUX4jUrG1JCiMyNdOBKdLBpY+D1Py+HIpzPKWhzdCutG8eTy+Nx4GVwEHNcx6o0S2QXxPRVbshS2kTWprATkSLi51i/o3qCe8uq2IKHSgInDyMshuFmc4K82fLLeroQT0zZjG8KRoKdrXhCQMVjlNL0PP1jvq/44lHfYIlWY10B92DQhTy3Xm+4BZ8M3XFsjWtXwYY8Y9b1C+fXehnqcST5KBo7PXhJV8VWQlaXXOUWswJJWd8o1cA4hcZ92eNB1yYZn2wPJTnRn1Gg9eR5nQiGb4aWO4LNbkdFOOhMZ0RqMcccn9vIBmhlJY+A+j+rkMBlFC3243QJT62q5g3n3jv6TTIfoB+u6lV7H2dRFTfi8dhkiA53+w3fTSdeJ07fe0ipqNo1HgOpAGSLwLi7Lz7eONzwiYMrQxX4NNbzsz1Q0Ez5RZ2JrRQwvW9XQRNQ0o62XuVdmJhO8+oCntbtYRDV0c4xYHefEMFbbg4XhNZuvfRC4deD+1ZW2DHZpSKgLZCCO57FRhRiXuXtCmRs47T/VyXuHOSctbbt6Dgcm8xxj+Zv3YD1sK7aIDT4bWNf0YoIJYk9YApPUJsruw8jPX62C1LS7QUl1UiE/uPVbK/6cEYqLK2Ht8vMS9y/NjiiTcp7nyYasVK9HpfKfHgopijC2uH3ioPkBu+SV1Q3fQnfPB/NIHgO/9OkS94QtPAtBfmDUY4Vne1OgVHs6hp7SeKCxBDdeiekADOm7aNZ+ihoiisxq7Rd47dBtXw0Ud6whkXQPzjqCu5qvr4lYAx89lR6Urj9ZKa7C5QeP9t21d5tQihlJqGRumrnz2J5w6+U53URm59ZmJRHF6aAFXFZKp1Y5Ec5qO+7BA6SEwz8fP2EnBgeTkCRBoTUWoXyey7FlyB03UPPUSdP4mb6NoB6ZbyL4UsFh9WOTfJSTKwJ9DS6fz2PhXU20FVC/uWHtJxAwjmx61vplNWNaFuNSjMyHm7q+sbTl2Ss+dm8biiB0KoH6s9hzS/zzUaBFWjCemO1NHpl6ndoFwJwaACnZMxh9hk7q8BFPASQHnGV57Bf4EQioPSObnHMS/SjaNLYpVFGUvEvGHMp8P5LOdajDJlAmYRGDK3qyI5g8laSO8V9FJpGKMjDywGVfojESH/BcHwt8r3js0quRvUnVZED+qv+pthiWh+vYyLd3fEUXpOOlDaMLct1A8gj+X/4CEnmiiX5L5c/TbEo6KJkJHuzhUKthNDhPNtkBTIXDkFbPyEmGjt9RyAjM4qFZJ2iq6zKf8+hCq5XI5fZSYGJrBuju1VLGRs/8GG+6Wq2uq+4VJrKOzPJpuhEtAgkBtJe5Q8ddcrTMy9AHwsQrR8e3FUNRPODs8MPZmzCWxRjphRAC3wJhyfYXQnIvP4Ng4eOM3je/QEBflK+IuPBUA63Ul048qKYfFB7P+0SN1v5HXE+OxRmk8/QUV8ioVuemonMWJeqghUZrpq3V31fn8cBc3TxxAsF5NQBsIfqZUlr8F4oRxV4QoOxjfTzqcQTxwa+H3nMA97ykz0jlmbDWHE8Fmw7lHpanN46wAuUMudAG9Qsi+vdfGK3W8ZiGyuONRtJj1GwVRnE/hwMlP8pcZq4UUadhsfMuQvIn2nlDqoKag7B3liGNJBT39oFFnmmXqFpheMiF+HhsHAJoWhfqUK30tIKMQ7Hp8c7VuJE00pKDczBvZEXBajHNWCnjgRHUPQCkNDz2tv5SyhzRX5Ti2yobqFvfDswFt/8Bo5rOToyU9PjOwaFFhIa5cnrTtEC5H3h2jwkhMR4uh5gKOqAryJmlfqXZJUGGukSrVpWeYBUEXJeJ3czp+fJqfVPfxkpWdWK6JShiK5kXTwtkE4RDp7kmM82K2xr/eA1OWuXz7xCOO/USp2rQUdKWjQaaIUeV18CHXvAzLWCqxBzMSLzWS6hbsHyUQWw5dw5XKeO2gxtIvkuQieqOH84RrLswkjR2OaPmnJ4jrXqKUjsaDGkit17nFVSyAt0+j0qtVTRz9kmNczdZUIinZU2aMIaXqbcGueDsZI4qlmSHMlCWvhwyRMmdRz63K5w+UXUaxbB6DrSabzUYqJbaU4dKORK8fByoPNTJSMlEsGCX/xLGT0Vy47y+7nI0f2k2AXw7FD3IAiGneJ8OHCTYAH7V5iGEU+SC+EV3Ld6PO7bNE2NUGpdyd9supkP7+g0Q51rs7+3iLo4Pao5TlwFtaAN8i/s0HqZGZtlOtfgup3pXQKGHUTPxhf837qv2SgxcRaanAcP7LTdEAHSM2ZdlvM8lonw+76M97xxZftmPzQUwY6pjUZ8WufscW/OSh72Bayb6vlf0x3D6ug3N4xy2UBtMCPKgZuiP6gJL6NvOSKjJgDQE6PzOUdhP5t6oxusuISjvf0zM+1ZIgnOwS0Vaoco8PdpByaTTeTdYcInp1o0x+8N8jHiGkv+O4wDnXbcMBLpN1gZ+YY2NYGt9Dbc4giEAGRIkWRqTuRFYwAy7uhfwysX+YzWuCSf8Tkj3+La+AsL+Xg2wVeZ48h9IS8iCwDVO74A7ueHwIymlybFdzx9chydASiOkA6sEDiVHJl6pKg6LZpySyF4k5whjf6ZhhL+ydNbpogZo6uI7Y7CLu5yHqcomNCWhcAZR9C9dVY/2cG+50dA75wOkn4N8HbqMcmkFyNYb+Lvu0ui8qfMU8Gk1ZLcRNlhi+HMwwsK6XH0A6xe94jMwIgHpMQcTECrXOcmjB1UKRVBPRe/s7VyVcV8pkbUz3g9hEnL8zWuzEyQC0oA/taaxM6cPagHh5RSDIWVQFn0HlFLSXbX2xtqd1v3hRpXFcm+hFYwgH/qC0RDmG50kv5Wgjgo1pnFn3B2qHhi/Dzbpgf0JlPtN5TmRW9jL2zwL7oyS3MU+do4XvoxAjJdfbE8w8zejIcZsr058VAdh5u3dqYi6QJbcYHmKQGaDcuvOoDfXwR2Me5QXd6BZCZ8acUaP41uaDBAsSsus3yhA1Iw+pWNSWy4RIB0T63fg7rkQz5+hCSA7XdBoDYcLaW7N69UQ9jYgUBlthU3JzQT1YYAsAFBQAp6sWhUCQC6v+6kz0lobEmg7JPRrJ+c9kCavGIEmZGqw/8LM3QHtAFTkH6PhY/8dXyjzRSOHnWbWcsYle4CNQZ5q59G13yXwzcyxV3bjDN3/2VZcIm4yi63eX8gNKa9oYBx6cdh+DUL6CEsOHQ8hd1sF3zjnoEtuz1LzJ2boXHpqYGs5Rypo3khc5beHKJGxbmf5kwrfPiEuVWOl70eDmP1JjpgJRvbsEkyXOebg4A4ByZhfHQ58MOiiTciKKhwZVfHLbx+XRWIpK7+OlDfVOVunLQjTqoc73AgplCVvozxowiifHBUwH758cmkZbUkLfqNipkD+ROaMZLqEdmozkeAD8d3n8qRdWksWi5bXSwpb2uymjL34VjjWzMa6HHfOvdwwGz9UF7nTFK+ooI7gnADOZRCD4preXcZUIUCTpfv5T9oeWl7xJuWEY4lRAtAzd5GU4IwXI20vbTqZf7S3yr+N77v0VbXAaSj499W/Cpb1Dx4j1rH0Mbo2v2D9XJKTrP8zAJnN035ljJJAz2nrZN944KOBdhKMY5QdIzB2+J8tmfmLQQsXqp553Jk8Dn5quT5h4YCO4ZQS6uAb0kB7Ooden1XlWVnBFwt+osUjqJMsRHqry6+2EWSntLtQ5zmoKk/1LyIDMiHKbAvZnV1La17Ynkp2PH+l9CNrZ00SXxZ3H6RLgxGZnF6km5iT6u2z7NbfM2YI6LTwxwjCWRAxa1Te2SC5yxyiUmP7g96FiXef5cTtExVuXdwjg6ZIKf41G4NlNOE8rAgPHlJwfZc7+M77djVXbr0Ws171RyJ6lCjyw88bC5qx+cuhiooEHK/3K9kb3SNNzi2Crydg7SE/epfp8iuGHur8rBqRXzrtQZhe9Qvr/H4gZpUHNsGWgCEIoGvWVNdezicMaHAVnjd27VJsjQwbgT9Pz4chGl36nqM1FuTueBP0MVvFIGCBkojsiGrVivFGNra/IC847D/rooa2aZPL3GTnQd5+gCcZFv3kIwjwBIYPD9Gp1kItp4Pd/4vG6+YCiO86K5W0RX1d37RbWUXBUIWdvv2e1DdUrvgmBCMTx0Ubqh9bBCdzb07YvaeRtcPICOpH2yZUlM+Kzi7X9lxzzxXyvAHqTczy8laWY0kYgrIOHPzxgXtRopKvIWfLMLr5eCcPITG7T8217LFuDKwtWydjLph4L4XSOufrxoXgHaSIijUEE1K/VmYDGs2FUFX/T2b6JRhU3YgPsV3jWqtqC3wqYc20k0fVWvibjWrRwI2xcpASJDCHEq8pyUyg0Capoa7Hrb2rzDDUf3H1fLms0ZEeIJj8CEpeKa2mNQfdU1PYf7Qj23WLRVeEhzN3BBvf2WO64+Maz6bB4ubva4RkApE2O9WSCKd0eOu0IN4CbB6JMXuWXUOaGGU+MUODg2ZkFOBRfhC/O4/XFkD05Qn0vU1PMWSp0RlVZq03qqtiyUubpBxJ6fmT/KrtjPX4lpkTGvL3dcLUXKK4iinp+wg6IoxZYcx/1j+ypaeYQFVvPAKCcC2qCD2RGEtEBIVMrPCKi5jcW9KiBhNuOHXW2+uouEC+B0OKqm16gTFo5lCRhj1Isk9I8pLP+orfJhHwhe8GmB5WMUnME05IPabCNTVPqIOGMZqi4V9eazk/tYYllRxDb2JbyJiniOeGRe5rsmX0dd1HmXk8yYwuvMz1zyBgpuQe6HsM4UpeUCashTJdH6BzmwFwbRdweHsJJeWR/w57dajqOew9iCIfm90X1aWBoUwTuwFJ8rPtP9ymrRU+eoR4zlj/6au2dY429Lxud6lYlAeQlkTxmabKQlldd7qo86aDcg1GU+PSr1R57dFTL69FErw2o3iRvWAZaupShWfN2oHerT9Kjvv+W9xRPiKYRkBvKL9IRjVkMSF57tV/KZSPkzg5DV/wjZpne94qFEGKoDb8Gkv9XzgSfU3o152Rs9aOM/cvewFsp2s6bwurK+2jNRo0LjtNjKwLg5FQBrWnr4PDKIUItM+noX7lola55MACmojcsCv5B5PtjIbwkLl2IHwbBjTPKjE/eboS8ZUpuBnUioldclyBPQEauXZRHatZO4wNgbC/HlFsHoKtgbBecNDjjNhYGyNJq3NE591o0J1PaURi6J6a97Jm8jJ7eaXOwgsfNxHqlsBov+wpcBGj35P3BSXn/s/jX1FWQNgNODQv6B0MKMLF+xWeoRLeQdpZzulcK3xrLFGiIjMmpsPewxLAuPHu0HI2FsgWb4NlgzppBoc+A5eXSIENoFc9US7RmFQf158pSWBg3EaBzOdH0drXuxGPWLEehn73YZ4Y8obawn1yk7Ewl8EsOqohmEpe4O4/tc1w2lNz90ThAjHGPr2VU+jMuD8W444Q2j+p2iSkDIZ8OtD90eccNoLKHDAsfrB7YL/oF1gr5rPis6qEGYEzTpgNRed+LMG3ZQocyO1KCAFv2khhoIrMZAE300ZH9DCN5DiqBXYNbecMwTDe1NhdWLb2qSOhkGLR3WwWJdbyDgbGkeybhMV8oI0kSwJcHKFyI1MZnMlvNeoZFhB/urWKXHw0Oc6wbmqLKF2day0dahjTYBMr3t3TQs/572+LdR872uw0ttq3fs82yT663FgC43go5XZAiKU8C8Bel2n90qgwZkzRuBaT9Ta02QTk5yUuEJP5HLYMGHBvaelfyB4giOG23OWNVpxFHINaHoOni/qqoS+lCyNYwLfE/Z7GBF1qVsbgUNjTVL3VvkWfc0W2ZGIdDaApSxyMiK3QJ+gUnsLlCMf8aKBKfcGYM/KPl08YV7j+7sepzPFuOT9Z/iOUFwOqGuMl+gnQNgNlxZxtOV3f6QiBML/vvKzC6Sk+a+bke1WKVORxnZOprbZWP0TX1G3Zt+tUaL1WpmE6IIYWlHKxy7V1kE5SDzu4Z467rxE3ImLdL+aSnOW7GjvpnehduIPNGHMmQSv7pXwF1LwfDomrjl0aSUq1xzTNfpmOWeflSTmCt8nQs5NLv+GCfof01DWM+gztNU2oOGTTDqHlrJZymBWmK96rlbpKzG/MeM6oSfJHccEkrp0uL2cnhu1aA/qlJ8owTvw1DK/lXcrcrZeKgz+4gHnB6BWTdhjsxmB0Vho8ByZdR862bog2gOJzr3n5SqUkROw5Xl/ngqVJBEL4aZEgN3/4blUcuhiSxeGiNyJVjs9QT5Qnz/40YjKIxc1obloXiuI7ZGFLDAXVIX2fVRuZrXP+OENuoJBHUP/hbZzd9MaFXl31kL01k9yf5yJaZG5wVSTL7zbVprIJzSKlovbE8gTJmnzmkJfNqHqMnJ9Q1WEtvXOuVzDJZ22/DNVTnb4OdhsdrlbrlW5vvxlaLa6PwDwmAiTMt37ixsMK2Q9WzcYwdKFoDZxRJFVaRdShMGCU8Q5yrkarsHsw9xTje90Lzz0nDAWkJK8z+UCvz/xcDMfdKaisG09m4cYhqvcSNFiTxZDjslONlyksaO9oxBzWCX19r0LcQUwmXnaOOoFgzcYAcwgUvCrZ7bs8puwX0XgZNwSWVjkKI6KyzMSJxAdpLA9zWxG5pOwz0jz/Us4GH3qsesODeSzp1fFmIqem/Q6sAn6Yb4IQscQipjBOn15dPVW2UuqceIOUVVbsQO4v7HfgmB+jkA/KOGfRS+5bs8bHCo8W4AEZ0Vd3Rx+vwtWXjAN7cKGg5JiGZlg4KsKDboeT3WcewOdQnxnAmriMj4dAT7sawjfGPDWUcYnFxspAfM50zQ1ASpCiUCzeW29GYTsUv8Soz/dutPsS5vGIaJacF16RV0cyJe828Apbby+eLyqxw6jVZocxaA4sas3B5gLkKlBm1HzULKgHL5qDAKEhDunU+OCU/GF2jlTuX8eRNhUCCSDTHs0C6MpAUsGOTo9X5jkNhSzTxQaas57vjBhFRIeoSB/VkoJNJHMCI1DGJFVA+8tEHhonuBspa/1f7viqnGmxqfCtYX5RhrPdZ6irTbrR6oWl5XsadzQGPo916S7coSBrZYJOjEWVen+HLXZRXFkHNA5hSY6aPmMh2R4iS5cdOz5czb8YoKiu2As/j2kf08by0Oo4dX0GJ/PKQVEKnhtGv309TwHyo/p5L6Vn6sSV6ddnDph+f54G9QX2k0rqlraIO9pxrzOr65CATKTWtjh/7Zk6tsQ0576D3/calRKvOlRj28fDjAJEAwJf/Ie5MhnmfT/mYJ5da0gpmv1E509P1Hb37YCJ5IynSqZbJHxU5vBEhOJyFaZ9kXm/CA8LdN5GDi8lwn5DRgiyJSa9bhA/qvAu9T5Zl5OCYBzaxpL2zIUJbL6eLDgPLkY6bUjvPLHS/foEWy31lmUS1m6/IiSXKPWbO6KKiEfNc+DyErvEBWM2n0j6pQZWOe6codnTdTxnNxLeR1jFYZ31LuFz4AMTQ5fD/HTAqU4szaJtwylwN/2fFyEeE30mpRe5dux2dscpw54cbMjMHlNU5wiSR62dLhJ1I4f41rdbR1vFtDfIvB8irJcUqqUeEWCqCtVSyn3yZSwd7Q9ttJ14tH0aeT5naY5aWig15L+t5mJI72GR2yAvYO7nDB6HSyqc8vI8eliH9dk67VxSSz7PJAB4mkl81Wg9UiC+jMDiAq0wi4oGe9QcNkivq7t5/nXpDDj959JT1mOV9UQ3p23X7vS5p8WmQNCKzieJ0A9UHHJRQ1MSf2l++JEGSDZSudCQcK/XbunpCY3rfGmsIq3b22cW9G5qxNmIxqOmBn6hcirke136TwW1R/dBxHT3mxLPHroNISh8BZgeccP39qdwdFnMOv5ERfLglHMn19ZWUAfRpNJhZFsYk4tth/EaQBAqnln3FEVfUHfQuyPeREPKz3WGZGj10NKNpvesXj709jtId91LN9pyAqDVsX1ItCH/xRdqs/jebOSBGzVI1cdRySOJwMEZeipL/X+m1NNQtygs4UQ5BG561qQPKnAYt/1m/pbGFe6iB7L2e2SR6JOD6UHDvF7qJIgOhMUSdy9BvkAnFOan82kbTQNETEY3mUMTNh79PsjdYlu8840FCL5jl4h5ebLDo53UIIJQEANXBcikeBqxLH7rJFk15fM1dxkrPHzxn90HOYLPzeiEHZuZs1dQzD8YZjun+2AkTUJkUVzsW8khVVPL06ZXMSMPCramFchpteHTNfRSoLk4TVKU6o2Bp3twzOxKEuLPLWhQawwjFib9dVAuze9lqgjIK7VFGcGzkyh1Ts5y+e9BqcrwbIYs1yk4a2V0LdzK8W81KmVI6FIvkbBk/Y37Lie8IJuZpdAFwYlyTkvhmnSP1vU0RrQdu1gDsJBnOh9a/JCWfrViLHsraYdaKlQdwNONmBr3rUcowrybSNQ22dfPRO6/zf0QHQJJvLXB4E6BKlHQEDn2KXQZ6Dqk3iuuOsCj7PQdFd41LjAellnFxxlQQxAA18hoS5ouG04THnDtivsxxS658xrOsjhqzTmge/pTlymHAs+l2FDvYF7wSXWEQsWfM/z8jAtenMf2ZkZspCkkWGZ+kEBJCf6RKKuvjeMbeutn4+/pMcOZu8GltlNThhvyW4n1gfvK7nFzJdjbW4yb9i3Vo6eHosvEiaFA1VixEQKWxALw1sjNLBVRQi9GgFH/SRQO+udtbEVIMLOf5Dbh8RCG2Z6jbEeKyzC8pvg31pvApbSv8WuGAvO+3Anv9oXwbM9gUS74x1YJ5u7B6Sf2AodF0rU/0jqpkQ81wyUMccN/ztKO+9YXphpvKJUL2ipN0iG5dAPLs3O4agiYWm0OGgQ89+V3c/zlT5k1zy4opGWVxqhHHWzLpoQhYudVMbDvkX4btGPFlT2pbYiI8Fy1TQOjXSj6Zr0juoe+sOMgfrLbvVyMt0urj4e2Voy3ipP4OIcZ+tX8BRcMngjqIAgzPH2P0d1ZkFsK8iTNtYS2QS8qbTP4gufrunOX4gDoe5e0U9J0Mb62RidsDtea2/cCiXltZPFaUCoFgt3Csns43IAnFkbhGhEiZF7eStbB+K888ZdLz9N0h7TWmr+wbA/g038OZ9BVQkBHl2TG4PKR3XZInKzQTAWPng9sITb7gRYe6nxtzEoqIGgFx/LNQcYqf5u7VnqtASOoa3Hd/YmFq7TVXSidDzqimKCpFQoCvCM/Bxo88G88YT5b+ZuMEpK4zkvwRnhP1wRJDAnc23gE7TN27B6ApwJ+Ke6OXHPOqsbw9A4KbnCMPEKeUy2uPwdsyQi/Qy9+LVVMo8lk1nSO6BOnx7cm4lWgewCB/OLHJt/RKXDE4Fu5ZcC7ij7ab6Mcuq8pzlcSOPU1W492Hv3IFo9sfE81Fr61ZHFMSorEdWEZpFMaLguavTcX9pCIuX49mRoE9B+oWvqdhdhNmbnQ6+3SO66W8CKVHl1aYPjssqSaYvht/wt/ptMA+kFjbY11u3RxdwBXXSftcL+Q2PL6+cMZhK7U3UzxC7TQp8EmyeR5oXdwXsH7KL2+073T5H8aOyTXr/RenhzMxcJ3QsmwAkoEN9M35l6OV8WVIgmXYPMn3u+19q1NaFrpHROd8h5WpeEPKRC1xAsITgND6og+2lg/6TEb+LJm+RvRQUeXDyZ25BrWDJxkJIfj+0ERXhVP8TwlR6C9rJZPXwBY0rxRR5ppiRcA66aFmwcz5UWOq0JFjn8eBKHtW1zupyYONpGECCrZ3Vn5hgRzx/uz1MlISzH8Sa9axXphlueLWI5Pgjo6Oylf1LjDU0jvlNhSEiIHnegeZSvezIx/LmfvMj0IalL5TQ1wtC4bXwKa+LZXj3g+lMPgEz9VCAHsqv3ieIftWRK/V4yrHvdyOQkOP/KuB7q0kq86x/ad82eIF1lel9juaX7Mnh6ASrgOjPe9hMLJ1EeHojvAz/cRHIvkLn95/kOdVnfEafYqec0T5MtzAjbBeAtJ4GWokRSo+a/O2MdfWow7rsWzSqE3CvG22IDDPhiJWLQSijSkUO/PGUWhWRRISBX1tx8dI/xTXH6pYvrHUCtClN4uIE7jTBzn2oMLOjbvnBF1mMJCGZJe9uxWhqnC07FhqvHJVTY3Igkqtv9WSoEDhxdd0qsa4iFwzbq+VYXkg/cvsJTFwYCcm8oj8iyU7ZwN+T1crHgkEFNeDYW0PEyAzW6CFwuF6/WbZlXxMyCDCNiFcL5sGFc61C4T61IQZIAkWwfs+w5/qGKalOvwIn5gT0lNHq49Mfi5euVF76OvZKhet37uzXrS8IgKWl13uBFtxzgbc5C8sLUFuGXqnBAscMojYmNP/na4Dj8NsT+NS9AaMtN19qIeiT8jCPGf2mWKxXrBaBKltf6/RQiuaeDFjJ3AD5Z+5CXES0ffFBQzVN70yb9IEduV5mJ/esGkXcPxRf/JEq5Tf7CCCZaQDS6eYeJXAMv1nIaHw9gzRfI4K3bxy/nFkZU9OhJIbuMuk8A9zXYOefJIseBaH0BoQ8YA2bWHliIYdc/dEEOlaftN8+i6h2nCWvhB+MeFvOU59yvfQ0w+KvKYNrO2S6FqwYzjoZ5FXx1aXfTGqEFjgIlR6Iv+9P/VBAHVnyBpHT5DBQh+ZpGsWpSXpHvcQVTqNlAeN78RKIPexcI3SEFK93gzy5vjYZhjCDriNc0MflijHL9N8vf5Qfne5gn42tWLzRvwJ0kAEBEeteCaLxa+F4iDg+jxAlKmJv6KVWZLYyJXP3rqc7q2iWFBosMd1VQHHjiiOB83HsE7hl7XJDlCCSipYDTWi1NWxYaZpxAD1mYvfqEVV1n75z2dsechiAG8pZqfbbJrwL7E97xW0dBhFJP7t6Y7s0hsIrO6/+K4Tvlntg0ztiaMxXj+JEKfTqZgX5BCt7Vs3WNMFeDf2Un+OyVkcpgVByUejizCBbpXA/iEG1KyKC61qKVvHaEhWGrc0I2rzf7HkZq5F3g8/2iSLEcH+8sY6RKE2PCV61cHjztHEQhXI2DkIliFQxnrosYTTSx4i5LkTsqbahUn6boszOiq79Cb89PHmX2ryoxV9TdaJVOozbQqEeZrUWXhMhd+I+OWdRJ16sUxHw720xqPaq/WZN5mWTEp8vSaqT5Z6z0mgy/eJdmCtAYKDJQO+1/UQZ0zuwP2u33FXIARkSot42RlqjZoL7STi1S0gV6MV0M0/Zu5CEZ/780oALmf2xaPCc5OJ25BeiU+7E6sOWoekiJWV9Tzq8DuFP2kASL602e0SnB0tcZ0Slbdouo52TDmk6umKQhuJGt3nHLGff4R/wwOhQ3jMutUP6mgbem2TOoaWld776JyJclBP/362/H8+lY7uqr9S2rEvma8zvlEnU6lnVsdnRzJ7LKIgvmgMRdVbFc0yv5MM5ZljZOSL1n59ADJ/y4nyzER4Yjuj/SV0w/N+FheUwQJiQUanu6SIRln6wIwkY6T/Ast7Qfz8W4M/Tk8cd2Dd0xDoFzoRAEV2bbEJfRiUxlKc3RiIaJt5X6tqrxTYoGStdqOLMzfkNAOyBkgmMBAh83iEkzjHVKhuilF+UN5leJKXZmmUWPfLp2c5jMf02f9FE7npOs1/MQmZm0Zw4k498hfLHsde5PUVgzfewoUchAFOF5Kh9/oDte/9FGHhORMJY80V6D7wbiDgvpw5Sqgo2LA71WLaYLcGJiN642vJrBq1dxSnnjBt48Ib/k5fpQz7crlVPZPc0GkySihFM+JmyUJcJVhb3u6gqo1izCfjQm+N5m/lIEbMCDuWT211i3aCOU79PhstUd/fD0Ra1O/IJ8BrISCUNv8aHoCuaG0x10Y+M5YLptQcgN+izSTx45wc1phMMefnhCLQWkijf0K5H/POojgCmHLSCMgrrcBnDp2E67mFAT/YJeufvbnTtBT9cXcno3xFYvq83GflVoH0ogrnTK+/d43o6AbH84ith9sxeH7NoCgoV/mwSfMXoYYEH9GGzgxY3TNTrwx3uCQUv2COHzdjvkhD9Ephs+G1ZqKZxASuzRQH85eNArQNC/XuoCr2NHP4gFmHaHpMrFkbNlN8h+ZHvZhOQu7wWRY4V9pLGR0J1kuVplqGisS7yJksmk6yhK0PMOZ3emAzIqk+CY+Pd3qA0vWVyzTpAhncP+62OMkgfaGHFd8rwBU61z40ZEpl+D0wivhTtglGeKhYGts/F932kYfwBZ9IHRIVanPogjwmiA8SV1/WkADBbhdmnoZDDvrrJGkSUbUyJMd4zZIapvk/QTOo76KPYs/8w69c0yyW0Z+G87rRnLFf2f6hPoDGpBObk1sx3uckZg+IpGWloo4wRtLciTKsg7SgTNq9qcrS0AtKmBSvr6/hbmGiskg88NnakTYaLIlO2xbqmuHlnavHERHeaYEW+oaDrYHCbUxiiTHhEBRVrBSZ/gSg3nj0TYszDRZ59+e2OHHK3O+6DnBogK1vmk3ec2sbmJM2Ox6R3T2vL9EtGhrBSBJ+uhGHL5d5NxX0c6ZPVcaXjHny3eu52ybHwe4bYeR7WGPTmSRW44dECRQOF/n4+FAw5Tycc/Du4jZb9/Nfctl+pfx0n1K+MwGhlhHehIxH/ytqfoDNxiLlR57IT4fboYcTIe3oXVgNXccz0Q5k9REb6rx2fjH9kGbbfhm6KnMmrhPnY81Ac23MMAIuhP6gbptmq6S8sU/TXvqv9x4jAYoyUmzfMtKPWHSrx6rkb1BGeCSV75FHcvtTHadU4CzuLQE9oUECCtheIMnAdvKEMnTNOdJLb5izxfVx6oAAXE/QZsx9SWJwXQOK/l+sCCPnJKLlzblqzQip/Yl8+JKknUAfcbz9cBxFIfcdR7V5Du8bDWuADeg44JRo3PTu3w4O4f+4qH7aAsWeNJojHJwyJlYI/o2yDTu1xL9GJrPVDSod6zmX9B+daCJqZLw9uPwBRJ1OwjZFukukYH+vKCGzTGM3KFg4PGsAs6v2ho/eXBdvz6T1GqDgRK1j56GKqDQrSfAbp3W8uzZku6MxmkJMM2xMLzLRJaI0w+FHWPUof7KlAfDkmZ7+Sd6NK7r6Lsp3Huh0uVdx1BVQeZoTjPXRRDnKsz0ecmui6NzmBMzdViS+8xetyg9DCFmD8JlzcUEdcXIOXOeYHVJDkDiTTw50o9lwO4u3C+lSVOfNvvXjDpKKXtfo2tL/xbCC/VBZK9yim483jdcQcBvIcCkIMF3+43IpolBB91aKBsidX/2niOj29GYIf0tcuQacgQVCobNE26lwpc4UjPe+3qzvfBcQ4hdhhRmPoORKrYjJ1EqZhNZO4Xunuud+LexXKApSOowVSz/KAczw2C02VJiFbwZtW9CefwvaJ+T4eW3WTh9mi7jkHmj6XUF8ZIAE5HaYJ/Tkz0B0B8QlErxbKj0pBdfkoDIW00jNz98bd7nbzSwwdTQOj7ShWdmg4UH56KL2JO6LJkJbP8VTa2yYXwrOnpMjyAulTuM/G/6Of/c3HfLaU80Km7jLqH0ENKh8ANbh2RsolANI6gHrs2wiHHTd8v1fC7oDLW75ubO9fjSeDjxhw6Zd3WUAzbWJxao0QfX463QUbr8v+7HzuthxC9cTe11K9cg185PPl1vmplBa94SXGWFYMqDe0UL4g2NozHBkP+Xo9f+vgyJcPFXIjmJtjAurOP8gHETY0EEd3b9YRG6aLudAJyIJZwBlA+pZ4Zip9eV8+0bez9gwUN7fYiqvzfb65l3s8It+gs98s7DjCxPrSV+btRWkjSjjEnAilQTGQWOpA4qMIpNSfl2BNKFKFc2gYSzPTKWBw6hhh4ZeEeD85cbstHDZiIVY9cSMeglaNBwNAtSuKK4CajkylYSP2QdCCwmu97luyXNPpUjx+6Ojh3Ad/65MkQorTMdMe/WLblZu+/mSmeoFAHbOlBz4ejCpTwMXV7gBw9wj9uWmk52MKeErtN75Lo8+F1+Ys/E0kGIquFoeZlTK99yeXpGU6ldWe8EibuOutr1CeYEx8fUfyPTIl+J+UzetysUEyG1mRqHGkG31dHtE7kZ9Rd2AamZ1MTjpj8RgUao3FHVxSqwx03EwHXOfNmZf+0GMlMAEoaErLpD+CWCHrekZiiazveI8ics6ZJ4UUOB5Mj/sso8jvTuRdTrfh0eULtUi0syLoGxzF2rwc/NyXkOju2LE9tZf5hAA8jXL9O/bEfc83QnrnspRbkOfowiIqMbKadP3Sk5XhGVf09/ti29cAoVuZHSD0xEROqKJMHG2urz/HLUFqhHEA0ToMUXBplhUkcH2Fh3naSCeYJPbvmBLrn5x4gbMXTb9hfH5pQuZWAV/H1yi4t1jYe4cudERk9j6jorwWnowRU9RB6n9oRm4Z3uBrKDNbBknON0UgDhlgtKGMWXPUeVLliJlOCiCCi9vXdvWwVjsdYn/PqlSfU4WhhE1lLlao5Hj1k1jgr/tgPhLOujNL909Dl8uTpbHaAaajlQsAC/AUZmdMuM8RS49ZPPbRvG4m1f8GZWYqdgfcYYxjlYTfzNNatF5gwbEY7lYwe4fsXos5/sSiAxXAvJG61GDGMPBPxFOhlDfLExL9f6wMndwWoq+P5gfkLJ9zqTfLZ9cayOobyzX9tVW25Xnroc+hzEChK0SokKLDJGWxKNZTKYdJzRifgspkvQsSTtJ86R/U23mnUOh8wkI77HaFT+OQ6IfEhqJZfKfVI6x0eQkJziqiu6Kt14hD154Z4b4/cinQPL7DnkECgPiBpxwKzmHt0BwhiZJ+An8B02cyg9qFp+ca1qh3P33046IrVOtKaVBW5nBh69yQcQ0KBGkbmXtG7jicMdWRDwI/smI3P3PyHQ+vQ4uIq6RzPknYabwD/XZqLAd7IPWQzAyKXowpVeyRcYw/5Xkg30FzrtJbfTZfyCsvWz4B2b5ZVVkaWPut/v2owVIHE8ZDM46cINtNP4B7+XQOr/Q1AzE17otcHhR2x9Chg7ce1Fiq8lPdIKA5VaKo4rhhIMJkYjNq8ECbYRpcl5FurXG8wYtV7gqZqLjqvM018EvaQtHfgtQJFJgTv5rJKvuVSj2TaXfjDczGqZYOHfbyt1IkBWXQ/nPZkqEo+5VAks5GqHOAe1PLramdGwt5jrwkHf5F5u/VNNNsCD0eId4/JZqh5CPT6vHukDhWRboTUuC/KDWLrMnkYX9k8mKlp1SbxEOjllL71FyBnqs/Y7zh2T5RZUgtNeDuZIvHVPjHe/LISL60AiiOsO3J2Ii67fTpxQsKVMGxJ+eq5Dn3zZK6OsmxkOkqbg/xu1z2N3ql7Bg6ggytS6NRwJGBh/nRuCqWF01VKrM1HN0bGMYa3dKLeFVE8oMjimUmfj/LlPeLnGZrihEK4V3UfGCyb4peixOQGFCD516y7nHP1mCq2fMnG4eUx01Mb4ljFZyLwwWbNdcwyLi7G2oGQzKz7J8vxNDjT85BuxJqdzv6hv9CKm/vom/be/SwMeuWtntiuZ7dr9tpY6b+sfif6ABp1DnM7JNv8H4Scj9gIz6GxX7mf6OwBhf6VNELyUB1cjPsA0NIZTcDmbX9bjX1lXoxhl7NcKpQWJcmi89ZEciYdC5SMsiCXCMRyJB8Hf3GJ+7QT1zvPhoddEuYj08XSwvyfTb87W2JWClSiqQPDEn34+9e9CscDhYPvYp+hJr9qQt80+/QkJQe8y/FH8qLzu5uzvQhEG3Be5DexPLgK/mx67BvMIzJvrTSO6GjOGFeAXXHuwC1aQoQs4bkFr1HMqJo0bXg7FzPRQhdv4lfJO+Hux1EPs0NGrOOgSQYVNFLLhjYeoPbav/XeqX0yGm8W2LGg+C/t5mN2SdjCPkPAtxMfu9CVl53hxFwIbaZ0x/KCJy1ru9M+vcc/I6yzIrUeYAT5ukg1D/pTB6ed25l08s45Qge2jsh4/iAXnPaK3+tludzpxm+wVcziZpdY7hG2b04v05qbyO8kMD8c5MY5XJQsBLpyvXf8C+Rv3wjkIqqlHzpuEKbBEHYFc9H2HNAhsi62E7SNWvGLzAmVwtT94dCy0chnQ2SJ8PV6whQTP49KrFypFMoVitzudiMYGmmxc16PjOX8eKnITYYY9B2Vpsp39Xwzi7wwIdy4GKs8tWVKZmDPJnSfmJTuE+ehcPdz0SCQgPC6ZYNUIDx8YoPwMCjNr7k/Sr//dEXX8ztJF4KQd9/HO1KZVsNodeOmyFJkIE16DUFWxecgJe91mMtudheA7Ml7gLTeIAMCieVsNN2GxVShKk1xncbSlNh90ix3mFJP7WigpAO/O/Rb6FhkNt+QB4/ORrUYANR7nyy3qDJLS6rDJe/TCBgXF/LesVbPKMQlakAl7sNm6h8y/ddTWjBgNnZIdeNI8IDvGd3TBFURQefU8HA9VEkzUDq1Oh/fe4qsB3yeDxiRSSQE+Ap8/CwfQD0tO/4fCtK+qcVViUFp9fq2l3HBXhe5bsTYEGfw/egBi4ihOKWWqD1buwpLR42gTEhdAVs5JcJgNepdnnvMwcm2wBPkJGf4c3QlvKXTawqogPXxiePbYSdQmUHZWcoi/LtLrHrLqmz42LmqVBM4uFNyH1oiBnrhUmGAMuigl97CcbYFdsSnR0VYbnq592tw2yjCrtXn1zJDyoi86tMXBWfo5Q6I2QnJCtqAmEvl5Siai1572TbswFUkJKLsgFOFuS8TAp4IaIAeH05C4YG+1YN8/RZcTQzg5JzUmGlPr9ynn/Z2ZXuFfj1P0r7FhG+sEjzM4+p9AE1AGRWBJiZ1MhWQl56LLEZZe+lxqAxq4IDGQzNYpDD/P47S2ywAGCVU31+CLyu0oHFc2XUa5wm3I5nmA1uc0swqX14Gmd2LfFj8j/gNRVDDFVRmT1YOaVGhYUEEvLH92fUDMfpKlCLSfI5VT2QeVzQn+VxvzFDVPkpolMRSZblHUHsnIbZXmTpowm3CT1yrLFYqEMnlEE99E2Ez0tKUDqylihRlXMJMvrjaK/7OnN3Ua/YZ2FPk25N5zmeRC0mCkfVxZA6dBq+aUeLX/eDUsZ7NGzcTY5eEXR4byvQXnBSyDoHIXRpiISKoZogeXWcUB4Bgrnrxz6UYmMx9FQAmxe/hWq4lJGEElbBWpixoQ7OVHa5GraFOaNiafXWWnwFydx9bff286bHX8GfyeiULJzue+6cCHVjuA40HHTWk1j/KRMBvfYQjVFofKeCT3giy0S4k5rpAhnqKVPZWyFDIGgdi7Z0BIf9fL9p3HUHlJ6Vr5asw6LiC5CfeZfM52rriusST3PaP5GBeFG219DxM2hk7Fs35Dc/t5PRc9j3qfoiy6d+iJ8dZ9zLmobg5vTMxpMThNQelWcsn67N38XON/KFiV7MtS1+8dvM7RZfmRBw9xiNu6bED4E1UOnSi8UsCW2Fcvzp2aF6zR4ypwvZU1scQxgXfmhlnAPcMf6pUYzFbubU3p3g/Z143OtkCNqx6mY5ynl2RErw7tCZlGDLaU1JlPc22oFGCYhA2o0LXSTo68z9uyMS5RQeY7k0yeI6hf/1uQGw3xh2RnYObd6CY/AvTf96QO0AiT6922IPaDdJlk57DZ+bftW4eRPY5TpPVWRNhIXREq9dZ47rd06BICoMwjTGzAFqpN5cnJFB0crnuyicpvUwudc2rTbZQ6ZaWYFsmeFAEIluVq3o8UvngV3UIwq63sPVQr9a6AXuteREyC+n81hFDRe3hrZsZ4H7D6Y3kp8ZpulJqfS1OaBpXvIWLjS+kBFhiu/d73O4cktKvvHcsqyHjG27MT24X0P3WsW+6WOq06wVI8yh5dmmQWlVto3iOEB1qvYDtv3PHGtf6NehMa8wSnyhHi7VS389qedctCs1rh0tDX3AArA4VG3Ri+E3Bgz09LMiAguVRWbAUuIlA5rEdxGf0cRQIpUAXiigTt/YwFCXjcNRJ+p9qeyEDnPhvvunt9uaAQsCE0L6TSR0Qq0S6aJSeuBb6ZL6plkgBf2Y9ROptKWieKWzTnaE/7oT1RqEqLYQZTRwRn72qo8/No8p3dBAkQvCluOkmGif6QdNpehAyd5btE0imGSVu7oWryHlAHvGxcs4j2KsdOhhSBZHRG3aNnIO49v0J1+Hfhvi1AIlei0Pyp3qKW6U4tyFod0V5FoVeP2lbQXy2wx9gFp/AYnyuMZankc9t4O5ZijzIfZOLY8wXQhpGj2HZFGAx5Fq1rDsaIYQP/DFgI+F3mLIWbY6ymQ3BKhqca9Ka1q7vzX+dpE9LDZN2muoJ6UTsFqynzyCJI099j3VD/erWALT8tlKYSUhriybE+uS6wNhm1T45/ffJ75ALIOvr7dXazUsVYZf7HopxsQVDCYXkjwJQxuvL2Dtq8JBXp7koGMo9Whtv/IU6LKJHRHaNrLhw3jZTHU2YFKe6MM3pKnFJ6VIeTLquPkfstEWz+I8TLFnYxDtOtcyfeJE7WKcpUm5T2/PyBuFF99+zYFqw0OUT50mvDErZ/vNFNtG5qsmvFmfd1uyqiIS3p+nZpxQhGYsVOgNImV/zy7OaI5lpdtYTMwr0UOLit1FskrvYepL6firQyoOfJYoSYWpZwaYlPeCmdP741GH5EtLQh110Yxm7P5dfuAKfcFeEP7nGACQE1N89/VSGZhvjqyDkc23s+Du8Hws5FiMwNojZ+vgYQM8D547E4bGUKXGyvGpBUr3YxnEXDIDGp5XWDWlzfadNyOhTiI+9f/nlJBPdFHL9Cp0wG8HiTnZjuDUM26XH9YQdYrfxR4mSRUc5sTvUhY+03ReHkMkUmAgXb94xe+AqTTV8QdrMh4xrg+Dg/PA2Y1gbaqlbqEos6bg50XvPJGHa8jEuMPBPTManPzA+4u2w2hHPABRxeme8dOQtgPVGrn+B5DBPIvEsSpxGnc/8vmfjE5TINMVboji58cQkt1hpZCEXiunfsWFU2Ctv0hxQSer5CgidXIURz0I+UEGPBlFeaQb8V2LkqRCOPaofXS5gnRi0iSkjg6CN58DrH2sjDILdb1xiFCSsJ1cXY0WH/6VSH4ylSLUfnUhacGqpGhqbkHG6FNgn4vwjcDroG3GwLW7L21JmT6tt4Dll7PURUR45l02L7z0Ln7WsjkZxB2VQcOnM7WMnC8lkW9nDCUf2cIjdEYeQjR/arNJr0I7ewfQ9mmtaYO5B3p5vjAlhC/ie1/KH4b8jXZKK29x29YAwvCGjHH6KSDihJbz3xIKa305aKTg5LKHeaclZOK7GpHi7nwvtTos2syN75ilJ+WQk7wExnecz2r+0kf9SU7MfVQvMEQ7jniqijqbYuHCrlANwhttWcANAf6HrTWTB6NlL0zKxCQfFogfEg7U/oPjr7Uv6plZMNWgnt89YXcxcq1CvVp+GTGiHaDHsFboTTSeGGzq0Niiz3x+uAPZPNSqQxIxTEpaxB9DpVkUmk+qGomdzZia7nCLz9dwntGkdqiD4UQORmFBaBG9sVdptyGdNJ1o6Fnfey6EoW5skQZweW+9yHdzs/mjCnjbVCi3IBamiknUBv3JwUPLOsWGx4RYkvfy50AnfOnQ/wkHXXsgCQwihisEJmgk3rZbNqkYj5TcjIuFyHv13Pq3mh40mIzP0vLaKQ5Tr+fdOF/jyqUrP7GDZWozg+D0BBsbht/HnFLtvU6KPyCsK+3z69NObIO2zpWpp5zGxAq20c5Bz21Wm0GILaJ7M3Fd3Z0/m0EiUGLE7pGisLdxxCRppRQMSUsgXHxnnYMboCM1rSLpQOkEC/KWQ5UQqM/OabpbnUBDPIrdmlD8a9aSOqYqCD0zktVZQ7o0uHZA+Rt6DVwUQy9cc1Utvb5oMh0kHeYxGDwgCCfYfqPS7gErN0z9iqZ8PzQa+BbonhhaCPHcMwCAiniwFdQKaOwBOCq0DEIJ3fdhjZyBsvlz7HOLnpsLCScyWIprqYu8i6tq0si5uwIUkzCEHSO7PDwRnhTIbbt40Omv/i/9aEMObf4wkSxrk0F6GXsqsBFpxP6e9CWNR8vFbu0rB3WFw1Ba/c9U2kNT47j/6Be8Xlpo1g7hrAYN/kS6llsmvQL38lM7EaDg1csmRMb5GLK170xZj7sOPQ8xPQ2of08QSc8Y0vp9bFoUJW7kZOPKkndstBMX/Eu8q5l9+AkWUEvMy/fkKZ2NGsdMFlZ78k6EfjIRb5dYpN15yowtaRww0zS+C58U3wq2VL0oqZp5yV9OL2hzKsEiWBcADZH8t4PCX+U4idIXwoL5gtGVGtcv2UcJoWWSEazIjfFQHxuahR/th71ln9/M/+UJz3XcjG3HIowxMz0A5pc7JFt4a2khyKf1TviTmQvLPfAqgVKVRO/Tri3uT8Iz6THWq+rMYOiKsWU4g4m3ztZyG7HMflLOoBkx0KUn+6v/8CrxEKyn8ZqO88EiUPLPCAcX9cSmqy9P4apR5hTZ1lV2vaOh0FBGL5/ooqvNtPY3x4gAXjt9N6qspYeI7trmMgao7k66bmr3ajdR3i0W4nmTY4xdtPouD/DCEfrz68awtRjf2e8cHR1VAjvmS6g9kTKXayPjs/D9XS2IJl1DovZZDBYIYAGQZb5DvDnHc09E5okdL9G7BbivTShgdOSw5U9EgYmYFF6kYEh3zSMbp1cGHXH0rJgRteRLN/740KCAjYGPzUhW6YZqm5J6v4XV7s3YUlghCMEtIncIq17QXabhfOgZ+Niodsy4GD9MPYOhbQOulcr7mLzHprrJ7V8pCZBklVu7/ZWuEuXGo+pyN9FIjkMz+uPnXWAHIO2HeDp4b0ro8Cf0FXLDwZqI0q/+hcY0h9bX5+ki4n0T2ItEmbHi3i6K47pROrxGcrrg7xjmy5b3W+sRjLUDBqEDdXAjzxvfNxHbtxTgRINjk38nJjOjXmqku/kyxeFTNr4kUt19Y1/8jgrqIeu4UhAbBZd399au3bla6NgRSatOKoeufuV75F8MHAIsPFnti6FwtO4RJcOzlRmtKOh94Fat205G0flu116TR63CK1cfWQJTFpaR2kg9l8X+i/j0wFDIn+hLRZuEMPyeYtsDxjh4XFuLOQc2V9+DWu+JDulcGCr4JBxvVlmsqh9E+plqn63ZhLggwOCPoXQDxuSHulaovIpmB/td67eyjbKu/K2n+VCxJ7w1ZnHgr7IN1DJ6KRdtwEBexrwt5AV9ojohdAIuaUvc7Q4BGLOI6ZrgYErs/hhwADpEhnN+SS1jtx7Mu2ZrhpdC8oG9E5scGykZk6COwtGkn1ZTHKkChB8GOnFwpl99zuagP0qYsLvRPeIHFGwTjiSYkRZFYB+QDN4PgBxAFWvA7QTB3SGOGSOqnA43UFwCD8RqGfG6voD3QTs+YhOgeuzvccWrqP7hrTry4ADyTuBfYPHE5DHj03VEbnxCWclUwKCaZkaFIYk/UlsH5PEZkF2HmYeWUQCgpvZEHQlDYqb3OG5rWrabzWbNydfjUUt67JM0Xk6Ew1125dn66pS4f/tpgafPt7d3QwTUVUFIAqQD1q10Y2s477hf1Dn3LGUY3bgp3giWFklaPfdh5XgLx1IMaiFzQmQi7DrFNTso21Cfm6vHD6sJB1D/K5spOTLMAdOcf3EBf7gHGJAdhRE+SdIT49zW951xfSIsrlyZEXHAaD58+9PO/OaudftsBP3axgYNSOhPiduBNe0OZYkZuI0IL4kkCTJPrOMgibRLJaXEe250SJhTF931K0Tj1ra5Swn5zVhqDCdapVMcbKc+MhlKi3MnsUzMJ1L3lFshx83wSJDUQ1sRwRIDxsz/RLEk4jjYaWcchGekrWqmf7IOI8HvhPirjlDPYnGnrOJVxH6K4kJULUMfWq3Er18ZyDDXzgv75/IehESH4g/M10ErWv9R1PNYGWed/qbHUyV1QvfteQzbi9ANGI9m2ZYjREOoeVPWlleirNRjqgUz1uzGMbd7zaGyJhYtc/YBX0xozIxlBNbd7YYaES4n3trVpvtoZypCr9R8GAt9EULPDUrwZou0NeuEhVsKu8auzGehasp3l7zbboC2VjIL2JBmcfTDV0Sv50XVyFO7n0ISn9swWjTvPfnFeq/iPubTfMPHfNKL95e6Wu44OQs5Nw6Oqv2hvOBkXBmy9AOEnU8n9akbcDv4Xh0Wtp7xZQntiSVRk32NKECf4bbJvPmJwxEmuDxhpTOX8pEoPpWN9bIW+tisr2kB7CxWiRHXPkCrO92QC3tLvpcBJiUArho3bFUO97CE4QnMuRVggxdTI3EPMOYBd3xkNqBW+VzEDDxay8fx74itmlC4snR4y1xlI6lAxsbTYicpxbJQaV2ay1PBlBPjGvPQ9gCEa8bIp8DuKh5j7jzqKRmQeMb/9LfS8dZfZutDWeXGy81dOedglVEu+pHkoo8UUGnIdRbXL/aPz/bWZJJkTvJcKSjTbwidY2aKWWv5ZtZ5uDpsOti2fPFtfo+sljL3SqUXc+hCww1B5jXjTducPeU80nZXZZA1mudiOLJ1mNQt0sukjLOJWl4RjZ5oXuqSoG578SGQ7HNWKSFURf+yF6OnsWaAs1GGUgE0qQQLOBHusE8L8AGwgM+iBDTrg6UmPspjnf0zEIQgVtOuFvv9IbXeB468KcEpcMPCVuPkunJ7l/wBLoplcD0gARCChfoS/qK3fMe/RoonCzbw2xu5xC52DF+ogwsTq2oGnDzjPoWWLZh6VuGY2P4oq/jqGoGrrN+ATDP3yIYDU0hb7mA2bCsLUaLJlx0JprL1zwwNjxs1/SqsyyED3RUCpNZGyAjvDNiuW46bieUYm5DTOWig6T9TqYpZOzrd6i6FVMMV/ICReUrhr8t0E9GvaQs6jO4LawDjOHxojRxieLktAvyDuZ2WCNvBfsVixDs7vujfIb5DI4SWJydeH/2HI20B54s3+v6aHQuzlwKjsClaRkjALDnxnPDID0IVnuqAjLIVqX5pXbhyoYgNJNLweV7WZ03ekcm5Th/ZXZsgOdtIvh+29UAG9dbVGxHQ8QZgSAnzjeMEanxhFfGL/4GT6eTtL7mr134kdwWvyhOaro2nTDvzs8Cko3CUAO8IWaUUEWRx9uYoBYmgp34p1EP4GxeD1nshg6I7r7D7Nx3bebjrJRpCrMJKiUh4xO5HTFl8ZnVdplG9oyr7+0tegZbVkv2cakk6kRVqxpn6a+7PtcyWQR2wmfTaM8NBr+UcLduiGBJyY6DhdX+fi+S/o6vOBhUayTrjBaadlYNEpHN+hBm7xq4/hOIJpw0nvhMwBHmmT2KD3I+jrTMD6Wku/+agRY+U97VKxNzp8far6bzZs8KUp0EH5OESOrBm9slhw7gn8yhYGBEaz/kHfE8swep6XlGxUb3CDE8VcAPorz1IW003X6oHDVNdmYvJHDT/ttoJLvkgbbDz08FMTB0GjC1j2olL5z5KPSngdAZmOB402mF6ffcFGBl3Qk5Y32rLDS6frVNkF5mdTOxXfkqH3+jJq6cr7oRbP6f+a9KwjDzXu/cbfs++gXQzIQ8HGOgw6hYKcBmeUs2h9LVSiX8AtdnQAFzGHBW6TKsaAF9oeoaagL4w7lTTK6AQgRMX67IXtMSVxmVDTEOkrsBMUgsvuF/nhBhq2Ok5p2icrWe83VmmMGeebrZtWBIpsw3Z6qeVlN+qBH5GiE/qB4by4mGyMp0qzZIwpcr+waapif+kCj11AFg6M+6Xg7E1lJ/TOPsJEl2DWfiMqWCo0kuz7PGSvO2At2oEXjxxp4V0RvIMK2aOx7L0AthEf2+6fFJfaTlkW5TaThT49pnBoSaTvlijqvrl4VevX/TSQtux9dTYN+UC0NphZZpY/zuXMQaY5odbwsF/R5Uol3w9MMPrA2GyV08MMEI3gfiVZqS8nOjrv4kIAren2uBHtzkxFBQyhL3L4djO3i11+x20vLO2fhKjKnAzTWL6beuhPbShcgO8v+OdUdeVV+yDLFH48WLx5YGW/4IEfB5m1Z3SVKEkC7sn+Y3N7UV9Y0puqa7PbnBT6y2xmK57KwSXrBKm63p+KS8f4m85yIbThnobTVZmp5f/hzMLqAmyYgVwvUEfEMML4eCA4O+17yheM+PqwMoyo/zasDUBxXN/9V2gioEZjlr3cREXJ8UFTczjbu6X378jVCXEZGVGGfuRXhbhWGAxE/LQftKIx8bohnW/39wBEhVAe2gGl0BDeyZNz5E7I2iWKNdtYYNjQZ7rsW+6tip4WXfVaJv1q2vWlu2Xvz/htpvDeO5q9iWZK4Z10LGxmxlEiztlpxkggqedAAuq+4SKMpTxdxcCDrJLVooKmZJTuwS5rYB8BHgOhqYxn9hjeDdN8rjXB+4UEDzYRhO9AM4gbNO2nHBvd8SA38/AA/KhcRJm10Wo1EgTJ9YNVILVa4pTzhLeAA8eGAMkIhOg30uwCe5q+hCFb8eSRb3y4Wxg+11N+7TG4XTbYQEO+mtp4VomE8wuMysYt461srKkKOXueEftKiMZcNQ3sFkW78y7UIzQi4nNx5p4v9MK/cz7Eq7MUdhHNt1h2KgQe4J21tw7brEMHK/MCY4jgVkxyoqNMDiVTOiu8fkuvxwg7OONLIDlgZ0+MrM9raAaoeJ1yL8p/OX3eU7qftgeICX4punfzFBtI7u+Xx8+1DsRBx3K9OO3juPIxUobIF12DD7hTFtk6fjeOdMRj9WkgQXdR9fVXB7De/1LeeVN9DUpcMvTPSxUMu/czM7iPzallpU3HS6/+OYvzqt9Ugcxh57LIaG3G1xCVAHQpNlg9p1+nD2kKnaIJCU6tncFSY9AWnwr0hccE2+Qyj7v8/A8S6YqptlJHJu6cTYEbOBpXOtDYfauRuUc6J3f6VQDbwlNUd/wG1UVZN9Dgpotl1ayI9g7aAAc7LxHygMoK0y7IkeOMnYlWaS8oO0grKJZjTZ/GoNto9b9I8OONHIVBiVDaKUc1zO8zomd3G0sLmtgsrm4uKU8themGYd8dDzPfMXAUxq50iAGsopq5Y439wDuO10S6S5qOKudtPvCS4fOlt7PtS13J7PRKbCSHi33gqjb1wWo3+/RgSYgDnoOYZRCgVxKUoXwbUboxPFM4zLXF/jvxwGtmWJmbK/k75FVgldgS1YTk0W+a7mt0aD914o6qs7DIRZsYE39Kn2QxBpwnIbof++tPm3WX4pwW8zmuifRNdMH87Vf4F5dfwJH1Z5nDC6Y5BbSo0ZHwe82wWfDK/uFoaZkE6Tj9/Cc4LAOeipwHlw1HM7TGT5effKLZvdvcM8CKlr2VB7hXOqwT6bUdskuC9gdTdOhvPeIip6VjUSg9ukwjF49OBZUPz0/oeG+zwo1fHK9FX5w3bsPBthJZWOeozhbJK8Ji0Yrq697KRp/HjT2JpeUtvcOGZOXz0wybE+oVhU7lFr6RLibcYy7zZ/1PZgRjF0TIboUsk4j142Qucxzv3wcnBis16KsaBm2tg0d5BbtIZAqF9C/s5NISFk983ki0/NJIN4wX1/tOfHw8Ing0O6l+VoIfPH0TvbzEVJAZzxpXHu3xPR6nva13pIynvJa4E4WlcKI25HnDtpH0YXhdHVM8rQFRCe801nyKh4OuSVfpDporCFRzosptLxAoylV6UhwRF7Ppo9E52kXDL+VWz1KwB4C+30/j6Upkm8wkiJsUvRRVAW7qIAiTDWRnRdkYWysdxjuWy4xIpVgjYRVjpy0wxjP/0wwJCYLXoMOfR+toa4wZUZtjDlu9k4A9WWvuDup12HjD+ULIrA5qfPbSktSS9WwXBw8PK6kmsMa9XM2b6DM9qzPPvqRuRxBTwyoau3teEcAvYIF5tOqfZQccFvY7rTDrA5r4thz+9NUgdTrWyFo9BF6qgdl+oPKcbM9RiWG8SgVO/KCYoSiJjX1n61/hNfBOQ9BWTy1FpeNUPnUzC/VQHugv2MjzrANV5DhNL4f/NhiZBd1hVwcNNXf6vWfHPmSAT+mkDak7ghEgqAvANqZ8/NEnnC1YUQ6XlpuAJsGnUdCAmOCBjgug8MLiw7nrF+UATrsBJ5YCuy3T55znkjIUABRbPGYpwS0jQJ0Mnwdb/fQHyDCfwEh3tfLTT79SCLxguN8a81MnlObpY1/xik9lql8r5KBYV+JAMUXvxCDMr/sAmssx6DqF9hpPQEEOYk+3Fet6xW1F5FpwT38OOgfwA3ZASfA59eBoNsOpg/2PTeQix5gNnry4e9ttX5qy9L9w87o/PknqHSlkVrtHfOMDqxlnzq+lgFJkoTlgYOwbjZNOmmLLsmvZL6M29Lc7XTM1lFg6yVTePuahzi5knLiJ18L0BsXpWfTa20Yra5rM2KNknueQIWvWh0xHeb4y7jlUgRbDXIDHbDhBWi2Bjy7xiMcIAQjJbEcn9O2R5lyQEL3jZcPoaRqFicc0ztxCifCpBI9sBbwapZr1YO7QB0qNag9n3ildcGkQaG7tpEUlEOCWFb4QAtRGV8c8/QegR0isa7HGzuSBF8AaXzfu12M5EeItdE++Tp/i6mNDo44vzYfdgEyKXxJohGIe7nLzF3xR60nXyJqDHQTOg53cymfHj/w3/O7IJc7MjJWaqomKGb/FcwSPGzjDJw4Vci5kP6LwWfvXPDNPYgeDb9Ck5F4uI4GVl8Qrf0wAB8Od2MZZ4gYcrWwrIsTzW7C9KZuJaDxWbe8iaea20OHErrW3HLJiFm90mjxWbKHaO1xwFb/Xoej92MZ0Fj6jg8zv610DHmDuAaQcAvMqIHO5pReAy8/bXFBRxVZ/8vCHD3ncVDnJIel6zyGixp2NYT+qDmGfqzoCmSLjKfOj5irhYz8n6bEZW6v11OmZ6rHOhCeCYbBK4MiN8SMJLoSKViAWQPm4LOQgGnPDV9WMAb/bDeC+Hi7EwQF5LBzebvsq/Lovsas8Q0WiX6BIiIcWTluNrOt2qNPMx0cUU8fzzugwi0spvmmfgQQmnzXX8CAjqEOqYO0p1hSFGejeo55L7mHRB/msm5PR6AIvmkNXTnLMxtZvxwXmVwGQlHNY9g9SSn4pLuXR3vqRGof93jmhFHO9GBd6Vj0mzvckR4lX4xhNm284Jyl4TT8/x0ciYnBt99t2ryAcfNn4tK215sr9wBKwFoOJ8rm1HXyU+adcPRXTlKC9o76nC4LyHUHlIcTfluQlAHa7NJYPdVRxED8fax86/9XcsIwsq14zLUv6JRBelnpEAot4ZOncE8qreOkwTF7BA45CXUjAlQV5sLe5FU35dPBm8dXp1cajRd+JYPaYby9NhX4XMdtgTtxZvZ2HKBf/wQqsZSchfq2DXmnqiSlnCyHdSImnZNny3Fw5++hlVG7QpWtu3EY5vXK9FBQRuSIEcl58vh6m1qEw5yk7zqjWhzjFqCfr6/r47NOIVQ451w1980CzhtbZU3do/jk2UhLcClpmofGfV0dbUr9Mgl25Ak8fFokXe8tLeA/kESV4rmPDwqU9lOeSpGgDYqmTjuHdZBM17dgkatKupxOI5pPXseeR0tKY6DLJJ6IXK6uEKp3t05/gTN+OTsmPYU+eCU1wPFZSBFQdMgYrWLcOkka/6LdGIpo7DDCcZjsFl8ymDsdnG+F6l2aCn+TYBnXqBHk1Bvj1QBbSUO46H8qt1p7Eu1bF702T5Zdri3AMUXOlwuKjyFzH0L3W66w9RTsEY7+eEdibtmbuHuVBS12klwFG2xVFBZhBRts+mDOWS8nXRa5rkSOluufLcGLsG2fmvVjc2sIhFVnXOYs8Z1icHh1cSRA6BupfGhXVySnCvn5MvC5+/QvOKj6jh2Nnx8kejpaw1zLnCupLJ5r3SWjEm9XAg2I7iLDeK8tbBM72bn57flWI+C2JkN5AqLg2hnImWH3tJq71jNexACbKdk+3ccWgxsV0Qj6Yias+a7J0NE5dlVvSjDZT8Bs+QWQjnN2HrzR0xzIwNN9E8tbUpHyeKMyM7MwNovDXDmIEAsTVXhMj6Jfc7pCck3m+fDvU1/awAJeArMZUGwXgoxHzUN66EXEsoAgwu8PJ3z56mPec6+BFpAYUHgiOjiZmz33K7de8WghkLnoFOnw9oVarSSavVJ26ELxPYb3sIeF9PXSHlz3wjq/RhY6Z60wQ9ZOhUueei9VTv0TM209H0IruDXvl1JjWxKZsYPjsp3oGJLoAfqjBuZAybubf4PIBNcxBGpkDWV/7rPu325oWLmOPqa1ccYVqc/es0JERHL2jGl7wyu3z6d2l2Y60nqPZvFXa+5Fksia6IsWXuzDFVbsif1xyjZ+LBqZqFEO4+MBRDu9k0vM107UTcviF9VMAVGXKM/kPlJoFsw0yMdnR3Wy6N7QrB4DIQTnlMjTqzjjiFdirn+BAj3sxJSWu3MByh3LVX0H6+jjv1x1ViK6NunICS8llSEu2XC53dXkDVFnEegl6hf/VwpyHX+NM8uvrFkC/lmRTvjHv7vIaSXKswZrNhaoa3fyg94vAPXBjAuYhNUmCIn1I9MlUhYkmKLoUDJ/cpzV+BL38ghBKSIrEQlgwHMzo0Ju75xjQQ0qbDZ60ToL/h06ABWORD7twZo0nTPe/9KiLIlpfMDk48TSM/Fl9vdMWRGoVVsPehNb5891U3rgNeg0PxdySZx3t1tHn7v3Pf/8JIr4EyQ7WJcer7CXTMQ3hMgii8ykGkyOCAqWR1jxYquHckW4HgDpA0e0Cn8OaTSnI0T/SBEiPtDRqfFep6gfmalW8be3/h9q4m+kkSsXOlkkcHZ/Sg8YuNRlu7Npmmm/FSIaMqDfeOLyPzqDKwvskZ/RvwHVLZyHHAwm6Lr3Y1Zu7GHEBJwVkNxV/tUSunRrpNkvdrrdnileUISTw5C8cilH7rHezqGszXqYaZ59K37/3Ej3QjXxCGjDUMGnYn9oHUNb9a4gLqDi5lBwApgFMa9uRq6blwLeKmB7WhD7uv6o9gcr7OtaoRF9/B2anQhlcSklphv3VT+sR+v9hMRLFzGMqRru7Tk/69316X7EO545k7BHe/3/9HPG2hGL/wU6/HPyAhg1xKVjEVAy3l30w9jpZx3S7L3fYgnnS5e8jWPTCL0MM8LKRdTngHqOP+tGuV+iWxalMIehRgphmVA4h23CA8oH4fpXUYcQySdzYdSf57NWkEz5NAQBvfaJYoZfeG+NIKA/2lbydfmyPASBW9L03Ec8XPIAN6YEsqCP7X1lg+JqAHYxNmVlgRZHaGb2WIv257wU22P71ZMWR7Qw81oAT2CXIfgZ/LNJg+KJLEjGNJwHV3G8FKD2P89vb6eJXn/TqY94J4/SUrXdvSzbtUCtbI8DbEwKeRB77b8Bbl32dMp7Ij0JgHQkRCr8Mt8qC+T69Hw0FE/saDSDHx8bcGp4APjg6jr4al8byN5v0i1omQO2NKDgorPQdRuUEA5F0pXzr37CJXTlL+9ImkSIkgDKBRHEtzVscaUsjb4iZKpo8u7FMp2r3bVLvV1p2e9yh90I8ldmAijG+ShjrjZqw4VN0PbIPS8CnqlBu2sFJDjECEUBHJ4LEcetrP9ME7MbmWt+kpdkDrnxKd1l73Cb5xhomCxh5r7MDUe7cKaoaiN++uVug/o1u9aB/vAW46ZSd8x3Y8bUaVZYAzgAjY6ohP9pee5mDKPqY0/Jcx21QA6TiP3WN1qvS3C/EB815RujSC/PuMdLpcTwMwjG7peaPLmMx1TAAb95frP3ZsiAiTi3d7UdMNp9vJgFussMyp9ieW52V/4JO991KyBZ5x3W6fhDdRPi9qpC0pr+RxiFbagJ5rC70zK/JsXlvo5QdwXbz3PA5yKTLBwJfr1GGWDoXCAJZrH/dMODCbwFOEreptdPX8TcmEcMX1s/NZhq1Z3ftESZWI89M5jWnAqJCw07AllppSolE3lT1LkZBKGKd8CBnMIMW74siOYhD2AzHsJqZ1Uc/UZfM3gb1CmY51qcNmCc5bmPv0Nj8GHcCkZhLl2s3hhpLdTj1h5hgfsBQ9BvgBPe5GihiTGzOS5q2354fY+hyMM6ycpFUX03dTL+JZy04T062BTRgE3p6LnyOSQv6NDxvkQyTxfSeFKvI6spzPZCLOmJyhcEyNegJlRXlCbt3FuZJAYBVg45CMyLbfQkSezsP73RQhprP6A54qZ22UU4cDEt6AJtdAP8I2TzFwOXYQKVPEfTDqCQYIVQWtUgqRragciBSt+zhmR3pOeupQsBBpplP1Uf7A8BUCLux43763TcTZ5AVuLlKLe0CwJRp+T9UZ4izkvN/lbqf1qDE9/Q+PT3bBvox4B2QkG0PYxi6JNSif98Ol+0//rOOtN/cjTvkjqm6gd7ff3C7PZSjBTY+2mRu8yP/DDjcmUgFZwwdziwD1Irubmh3nWPb9wlS8Q8cHSklNtDn+b41ZjBmwtetaD4rPJc5CQOF6pb9EMvD2X2ILG0AchUQFUYDXC1OwCkLZI7ZZlhDX+msmpCCzMHyloiFPfP+py18J179GITAfKIThU4tFZ39bxBwi6DfzBCtpN6JifiqdHsU6SjLQjE2CiUNZskOfsm8WW1Bag9DLzSLdNQdzdJO9D5BoZTXYcr4S1vpMR2+ehJO84ifQ7iMk9vt1hcVNpVJbip6RGhBQ1m9ohXpocWDtAQzUXS2kSfKFSys6De1Z4lAjqehmrvOX/QBiT9eboDta9c8MhJFbg+ffQeQ1ddu7X70ZY5upjJqZN+0Pb/HONMHPVwEMZesRWbF9RhgbIpRUk3VuvLnX7QCn4dGMgj+nRAfrmcOtNQJiz3MLoP+4YMpCczTbxUX+rsSe3Gzpm8m4wSr6dvl7grHuo7UpekeXa/jR0hUlxxWr/iUbenbzWiXPjpEsSzoBP8h7cx02IEkscbG0JdKnylzs+SCtHFUY/HL2e8dUdJL9SfBswzWDqihxYZTYHHJsoqegdu3m1IENaAfrrbMf8us6q7EA3azWbQKtdUS9mfDUOJuKIZiJ0qMDReWFTOgiOsvr2nCDvvCLOcTzsfQ4ZmWcjPcmcNXe9ZQpWdsDcTwW/92jmcmsIxrEQsqqlpAr5yeWGcFQMO6ONW9CXbSoqj9yq+4N/5sd86lKkUtUhn9uU2GFkcVNxd2DZL5wipV7TckuvyXU1k3q+eXHLN2bRGIdYaPmqAn5nZU6gA4fNgEnxKgqljzqH6Gkt+dnUIeY9QWODuG1fjTLUnhYVJGm/vi/LlRycGneEK5oy+Gdv0UuwWp77xORFbX1Ef03OW8QcGnn5P/KLxlsR0Z43wP/+zHpiJFkeSBYXS9OEmSNMEKJa7jh5uyEgvdSC+kJJGkKHd6nVQcGqFRhDgcJssabcziMOaZI3D+YpExddhpCsMrtf0QAfnB4YUR6rt0SP+k66jlbX2Dc8S2r87QhJ5W6B/2mXBKYRLVEPxCXL4EdXy4yfxW/Vv/jucHG+5kc9kQU0DU9CzV5wVqM4iqTVLTbNy2ZEw12ea8IvS5SwnR+J3v9d7PZ7Tlo87FXP2pYCsTLDDeACNTCoPaCjDZouS72jBNzxBQJ2b7jq/uVEufhArbTJsk/vYCWWTCHVcMIwRujuoHwTYJkCS1p0l2L9+ZLkMLObz4QoajWk3urlrwLN/nJYri5B4THUXMJvM/sy3hGFt6FYKhw9Qn8nVeXRHZ9yhxm1YSCU4bVCKLoLt37zDW59pDsBmUJSMd5SEalWwQcnv6csbkHZWJ4s0DaKztsQqypAUmpR8Q8VWbqzVd2TOrde/JPPOJr6kUT0qC7f+M9P1uGNyc1xWSdJHIwDlVn1qS9Vl01XZ97ab2H4Qf4oNq1V52TKYmc4mmsoKpx4IlOO25tmPUM9oZeoZ2QLlb6Yfh1bwFeg9anNNCQPYKbYakQdn4U2xrRr2SyxUgoj9bYliAmF1CXh/Ek6w6rdWXMpFCN3/WWvygB2B7kCUCnCkgM/IlTGi4ukncDWWtf67vBRskkWKs7pCZzJby3fCmMw/fAObL+pMMXfyXSP+NeIYwbCvdjQ95ta98oj/FK3kCpx+tbbSGHrArmmGiy7MgkaAWmBD29M+X9nq2XF6x57jD3nlTqWjdUjvC0CnXH7x/t48DU8BtM0m97yEfC8eyGgAjSWDQUd4xHn4BtUMEZO7V0ybkD22uX0AiX/UbnWeghlPLtLeUiF+6IHG7cyFrr6/TFUZ62Hsh5Uz5uGgOGtRCvtxDshY9R2/KKNhXNl3L7V348/l6Js0MZ+Sa24c2w9jVKaZP/sIUfpoo2K/DxDcH+ysF5hJzcA4/XS245TF0bNcPy41lrvPL/9CJ2hvn4cwG5nBvlDW+1ZBG0832PiqyNXYbLBduV+K93VhfFaEFGiTDcsF7isnpPy3syz9PjNzeIxOrVHsp+PhngUkEuI6iD8KbQUGg9qYph/uOwF82aiUIC3goI8SYPijHdnuLo4jXtW81xwNZKyrW2SplMdvWXsaAmrvLBfjz4RKcPdL0A+Y5yyQXOEfZwDl2vWxW8A5DSEe6Zs4TtNPgTHqla9YifduI4DxgBwZYwpIHGbtI9Qycvnb0gXz0Pwe723mV8Luipqn4yBsCvGxNLYo29CnxCptyvZFd47yWadu5uqrZCDeq6bSb5+DCf2QqfzlXbNlWhOqdfkwJjpwJKrQxSzPMgP8n7GnnhvScafD+8X+iY3YsGQ0XNyN6Dy8cV5tNk8RXPOkWUwAZG7fC2lvKlixpJ0lx059wtjBQcZN5NbGbkAEl16VfSFzZO1a1oz2OFb8Mf9YMMxY3JCAktAR/iJap/SDRgnDp7kOeAIATCW1dVNtMeLJXSJ99vtrm4b1TgxSHMikMatnO3wtd0c6EF9T/JtJwdIRAxUcsceurhHdMqCPeBFsNPNjA+BF68ajaXFgP2+7c1TZINF2grW86+a2XmC5mmZ4o5MC5p6UiKaWJ5cQW0YUz5iWEj6LBK5VVtX6PrL1d5mCKWYmWqHBomkukG2NPVv/xObQrjEk3wIK2ttpXy91Rm4B0UOFX3FLlQ3aKdJqSF/QNgb8nOp1eDne3sr/qMW26FDF02wpaHc2maymihfxIH/wzTheQBusg5RSnw+Wrh3PJNmtfa1FZ2glVmoW0M9hwl/1ygZxSAkzcUyIuMWR9iwSn7mjl6yT+G1w2hxggPv6GWuOc0CoJTjvb1FLSnOngP+K7Dt+wGok6R1KQRhpYKngyxlpfh5kXIOHxeIGbOxqH/npmSU41efi94x+YJkHs5nDqAxTREdWZf50yXNNWC9dw+tAF2pAQLA6cZceM+i/DQQOXPcP8ApH2QGRcYVDNcYz72XCTgyNWg9joPRLhMTtU06cs4KH+HT1vTOaonknkcZQKQWDuQjutWm/3CsmSEVzHHtwITsEqRmx344oIjZOUzHJlHG5baxLqu6tDm5xJ8m8PjD8OsvK8gu5jBn5ibjeO376/AKKRQsEt+5NYO3zYu/XbafifDq5Qdmc4/TuL/l6kzrARTVw7LTi+zIEbPbHQq5EFwT1nmzyIknEGbxkX9mVXfmVE6q0oX785jo2SSqWTYSwkgsl6k99+/vdyF7x/1gppJ5Y6aGvqVSFkZoL73eWcvrPm+oZEgMK1N46Uc38vj6rPpFK5KcnJrKDzZnG1QhxLUxOglATVjR8nMfwVZ5HsKj9KLSMgHbT+jUZKW6kSz/ARgqMMnG0gLeq3sOBQu73KeXvTDHvM6K8jpZJFin9kKS1BeG4lEo0fE5H3X5TS4YKgcbHlRSWEOncUfo7+V18Q/LClj46T/8mFuT5xrIGm7to9/n10DCxh/cva5vaGzHutdkMlEOtaRaPu+patSp9lzKav92euNonJSnKo8DecU1V40MUUGpDtutR7zXBI9GbSLkJqqPBl1LZUH1q5UDw9AWdxBsHl1CfNbNhTZeI6PkvJAEf7FgQITE7wGFSmeVS5s6OxeBaj/1xADBhsGa7UYdu5lHI08x1Ee+rrzFqSvycu8uUSwVur8+VPqO1G7OCEbNoM32a+rKmYflUCqi2LC9S3180sMRsYySiZLwEnLIRcoUuax0K2TmC1ApWn6D4kdoOtKog110Aty8/tPYVJ3ylkiqvJewci+OwylCP7mLDefMUlBbYUWTvNvIT9dawaGDD61LgHv19wmrQEzFcCNOZfSq6ExxYxSluiUJinR2D5r4XaUeC4e58VHIXNLO2kG6zOVKwqZ0ze8A0ZgzAvbjG/moIV2rJV0Mrn1nhKQhcPTDjYx4zTHejE5jYaTbPxn35L0lWwOKk0p5DMhXKZmiEqJawDFj4LusE+NhxaBS0+7nvjm06/OvQgV39pKfT6x4DgGjCZs3zG12KzfmFwJEBEw7wGBm41ilC7hCWLKYfbBx3qrHgkg5OlE/dQAQaEuQ9mmv6FNNaeLBYDNZ+ZEcnZJsR7qIciabeNYY3wy/nUmwDREwIv3rM+3Gi9hgnf8xCq5iDH8KooGALp6+07LRSAjT8f7cqGX5so+T83fqzPmVrowlHWUECGBsob9TuQa+EMY+iBrlptjwc4pP9t+UkEYY2xcEptTOX7L3H3PGnW35bi0QwcUqo9+p7Lz82UXlmacQTWCJRAfXwMRERExIncOhd6DONze8knQwiFmuWcwAK4CchIzCdr/J3GjRJRAfGkvVB5FTHlHgaZTFwnFyBayKXxLN9tpzmEFhKY28kG2U2wstHIXuFDzI/T123HKd3YFOrkNSZQCsOosjVU4iaalrKIHzNqSWvh+LSs5Jm23rHKOFxyS2180guFwTROABcnRx9HPw2Pn+bE0Eor465+nV6wdMLzWOFBR9Y411DqkQrSo9mdRqWUPha6mSbIvvtEORyzdAZriuU64aGggvjUCNkxzIRxc1SmIQskreppNoqrpae7LDSYkK35J2AMZue3G7sTb8YOf8kF8B9NBASxb9Eevo0+iwgz+POh3v9akiwsDFmiyTWpdbXixed5rrL1/qgCbEjDnLFoR5S/s76JwxxFig6+qEoDbVI3w/6CTwQzZArHVp34YHUPOvBsFaq6S1P6ITggv/tzjWzm5Zf1/k/3ZjhLsSzM4GgGyegxaVjnVUGyCSDvb84Ar5uuqqvy9bLeQyyIzjvqe6JN4u8rZZLSaR5LbR67K+LwFlX1p9l05R4uOEU8HET4N2eFmq6wEv8VbaQ+aIj8A2f/YgShzXvBgVW3cKKtrVJHbBgkXmJ/Krgy6rMMrWFveFNNXOZOSBmkpzHWeLi8LvCXhtFLt0D2TrxUWtLywrS751LZDTk+ea9WtPE6/F5myjMkVnqaSFcSNnpnpWC6uIquLMlkAblWm06DyXMPIVY0ib0jtClWguLz6qU00adImtuE8BNnq0vavJbkhpUz4uwNyu2xI321uL/lQOVGWDHuYJ1ixyVQ69LBDek9j2qAvJbRaATASM4ouACR9mbY+xYzJeNeYDgkrOZ0FR6m0nS6ewWLyg6lqjTKRnD91+2Y9m6oNz2/3m2TMM/Lv1WJRiMcPrQl9X5kK8+YAkB+pLy3MZXoYHsMYNyjbcgE/Ude6NJWyNguEujN2/FlWSuYZHfUBBKircGCnk1th8dEhisdJMfiiKnU6aFaQ85c7qkbyE/BFgAJoDXljZSbeo+gjpRg/2wI5oxnzHUQfgwQXztfD+UYIvy2STZWIXqhwFs5SDDM4HIvuA39Ve0mcqnpFQ1eQQnZVn9Du97DE6Clr07lK9qIudTwCROuyEPCqqDllkcAbaVs/Ch+zm/8nQd+3FPIm5w3UX40d4DeTlzkrNxPpn/PT3dHEp4tO3CaNOePygMKJZ0zLU8oBhw5DWMF3+5agD9B79Rwl4UbvP/YPEHVzNZpflXAPCt8VTPz6JN/bn5JkFZROtEckObT4YUL0lxv6fkyHtWZ0S057jApIe/gwz3oFAxcEnUyUKJcTJI5moBslRrtdQ8r5IViI0Osme9TLak1D/amRjf+RGWA26mZKfJI5nbeRxtlscPvl57NuvFszCNdz2cLTFpNHwaUsyxoI9YKzZ6OkS06HN7TEpFVJNRrt+8MbO23vG+Yj8bNTo1ovceqKY9qeon+j7Axa8Dmk68sCZmHIo7MRk9UsshzX+9QE1gGKTBh0thsmQ+fQzudx6lsxJhp+qU/ftKY6vNHmSYbViv25+xml3JY/p9eI9HuGan94+Tf2knlZbNy2YmP7u/igriI9v1vcYrpf8fiM8wuY1CXPfKOxfFnAv7sZ6RPKYWbuExbURIg+PmrY4G5QwgTaaY8Nlk4Ai0ac4n1lahNrBSHD24/SPwaGVmWz/ieT+B882dNXyesLlaNhiIYF6elmsUxdAYCPet3dxppwPuXrVR6Zda/US5mlNq8D62+tx/TgBNxamAQbfYHE5rbHPH8s7kOeWqIjHnnPBprKPZrDCMeMo/Aye3LmxipK/Uaz0CHIKoA/2kMt7rjQ507hNbLGhr8hbRrxrZbZG4+UWQ9QOaIQlzC5vYdqA5ZkTKytMpSQrpgPtztNniWpbcQMUgIDPQv86n2TuR61e+t5FZLMVuwLOIuRB+BiQ+T9JoHfjmxJW3Bb8rjm7NhzasgUnNZY9yk+aM2GO2Ucs4HFeOjubSwgljqDJ5bxuwGDduLMDxoMGN2sXHxL7e687TNbPp2I2cyDOXDf9tov7qVWyE4eDce15fVRACxkSRD2pZUjIJDGZUgb8ZjdKKv9VTVl4997x+DNsWpbgmb8124ZRT1n4dDoglWpn5PDjnTzh7fgwby7j9KjZujmRNLngarSzfntW05655ua/vYvymQ7dqeMF4lqeg6LSvNhJEiA0lHNmhshYLDZTV+WPCJ1z76cHssrKHs2F6Mo6o+kOz6IAWhrJWa8Qtm18VuBgWlwdgM2f65ItqB8J9hxyXb6JzvxKt1i/0vFBMIH2qEnqdTylneesXGxT53uT3xSRtiGnlYFvlDDzwcUbp+5gk9JzV3mUS9qsS34fk8oNQ61toCP9bGsp8DqRiTH3Kv0hwS4m4wNFELKoYjgiMcQpgXmp081lBJ1gjFupVSJ3nS+bG4+Np9KbpT8LD6cYTNIMACSu6GdiB1hJKGWWDNb04VeBVffPkNxQgI9+Rgb9MQgDhI3zLdo0BWKksOwVLNAfjQsWdtA0ls3oV1Xy6q9nG72kmbRZGBTuB6+uCuPkbKgePxdb+TUYqeXqeEldLIme71Y+NBVsntTCC8Yh6etV2JOutMaiHGOrGOkDUcKJwbwgiWjVvWaq8HYM4RWHpkVZUa3LcRecKLCJXTwDWG9Pg1K1UuvUOTyV7+LOCoM3P9uGxvDFTYC/Un0qWBvEJ+dPEYDae72Bdkmyd/8e/hiE3euU1FmLMk0LiuvksXXmi3YcY3WbqUEUDjEQHiVX6Z2MPcFPcDAw0jJF2mJEjGqBdOQLBNFq877o1wZjZP03gYogE8oLLHsDMXiLdoVfJKE3hLw5Fs1suW0PXK8oz3DPrltyQpLfW0BIGaVYBLpvcxI6RwlBjnMh36GratoVga2jW9YfbSzposTqkIsuvq2O57rP7atuCG4Q/noK/I2qN5/WPILEAUGUra/fTXiJvmHKYJOLC0V4u85xgcjGq8+Oq3Tl1ASjEEEt4k5FObc4A7tTqYVtavfnoAiM4pkg87o0BlavtOphPBJQyLQnmbt8342ESL+R8RpC/tDXK5ILkKHoHY/YvLNQA9IL6Rqtf1ENWq5vRAuipAJEBkm3xJ6rf2hXjYwzJBmVR0sKediGvDBavCRwPmHgRTlu/1yvEwaxUIjXw3DR+XYmkkkGdnI6rf/x6GG9RDLnUUf5G+fxAH9CNqR0kxUBwiIEnB/9fwrvnwWu2JXbV85x+zVu9nBhwzO5THu9o0aKlThmGEbFLRPhSs9PcleGK/LJZ2uBHi18IvLHmwFnRMSo+sGATuZsviZ4656KLjDtS8IbJvQr3tNXcZOu2NAgXLvgj4cUNMABYH6gJ8pMGLQuynkFIiaTp0qD5IAgV+VDfW9sO3d4agJp9YrZZyxq6izGPxz86qQuQW/N4Q6PoinFtGbGPXocLda6mWtE8VDk5QjUJnKM8gzqzQdioMxhmqrC8xVfDjxvk1AEh5+QABX1Oeeq9jpGEq/v35egVoYWjMShxg0hMVNihNB5dF1AYrg1k7r1uCJSYy9iZilwlY7RT0Gm3dyJ3Q3i6WdOPbxIr392guk3e9gZ1Ju4SPJfod7hhOgmMJvWoFnYe9BaWjfq7mNvVO+GBAkRsIMrSFlZu5TQrL2Ip+8ZpcUDmGshiVv7w/QDLUPIxroToz+gTfzBsSbYEsDqKHQB144pvhiRdjBtqb0sWjN0DBYhO3LKYODK8GvLpDvIYOoDcK4IggLmAJXFthpR/zz3S3bHV20IsCp5UaZcHW4oMhyF7OBCSG3Fq1oLWdqzFUiYEGDmO5qC7eeuYt+BZ+afobmwVE8iFQbpgM6NEXOiS0aUmUHsO7hpizedVUtsE087Etaoj40Kn0BaD5vYtaOhwd9SodUvvZkBYHVlvK3lj5kgx+TeCQ6fkTtwIS3sgStUMSUDOU7ptFlnQ9zc+L3P9BGe49c16S6muhE1CaesqfY0I6Krwaj3aKGE8j+wuSlvCN8UTqZW3xOrQMpi8DE6D2avbJe2xH1Z3SfiSl6Jue4eHmixFyC2FP6/zYI7Oej0ce6TkMCHfgdoYA7rBBOS+IQrZLM3rk4vi5mVdzV9h1jrMiZeRrrwM7n8Q7SYZbWRt5d4p61Ao0ClgDPOFXUsVRvYa+VsqesywEQweYelh6q+mrPi1cut1V8mvU6PUTpUHbcfkVFd66d39CqhIdTC2FYa9HoWbrt/CaH8C62qTAxcbZYnwRsvqI4i9D0bjehcQNUwSD+xIL/ouMR5Qfliv9oEgkT1KP2rm7ke/a74cjkd2ICQ+jiBAtSlaBN00HgGYH23VX3EwuDzEjeY70U7i8XKJjfNOihDlSkUQsvF63j+ocL+u7bSFczfGHVf6Zvza6RckPIdQpSv2gtQ4joSyktDIyIzYktaD1JUuHGxlbOP9zio3X5DTOSDtYcApVnju4fsSuNz2nZ0h8iluxqgKPtPCug4OntUIRMjjK7pINJPTwv4rhkaULQ5gJM2oZNXppDn36krJ+Au9LKFAHdUQc+WIgMQNOtCsAZp5YoSGOqZbzWG/NOKSOxcYrn8Y8Pm7oOli3/D+Z6sVame9LD/XVWycFdGy5eEUL8pxOHWv24FcThDQ7EAoDHG7Cx9dXhg031eWlKizW/DfJb91hp2+azaAgsLjLoIetMnjlenUhrZ3b7hGoDWFUvlxEC06km/1fCwnLokzEnCyUhdA/zG24W5fLZ961uDWQNqSKCd1sb65q27DAzW1okLdYvgG9xyG2/Tgt/ibViG4+FR4UWbFvKCWDKRlU4yEPTw2Cufsm4QvR5ICe6lIeJRcxE4XNy031wTVQkpnR9lW3VLiU3QnEYKcQklh1l9/MGshiRGYIsIpTaZP0l2CGYaVFxi5SlR7nBW8n0hq6trFq4b9YseMgPGX6Bwqa3kri7ZAZDyCC2/J9nuLpidTBc/A35iS48cs9nJ0VZ7vLuORRUrtM5CboDfHq3+k6Wcugrw2+b8x2Ei79DY8BH2Bxjkb77jog5Re5IrHlWtMnSsZxk4gNPDuPG3QotLHr2f2bTRLsR175OIGV4BJp/0CK+h4sYFRPURSr8FphJcVzMa8MOLp02GU5mIGL9nVNYrcYC/w2yirE4gemLeu/ZE90Rl5vzT0mfP/O0XLiDnKAShEl8TT0nN73NNJBUEydoHwMnjFLnpOlz/gAbDcFA4PAApLkgXDKZBjWZYpsORTcxel19LDytu572VK4SonPJIOObQKkfiKpPRBqPWLCaYAXI5uNS0b3Auy6WN97xWMJaIszj9j+mZouO8l2bjf44xMGjbfRJ9gF3x2zE+I/6KWVdwSXZCW/nSYZMybabGV17O6dX59B6KwNK9cvzmc94vq3Y6vcqFdoz/WOvDbD8EgnAm8s0+2is8a92bkljNxJiUt4N93xquFYH6fc/A2s6feExKvV0ymmWqU0CxOgLbMok6bGSql3R40gt4QcZugm9OOBHkgl9vpJR1QyW01YWAb+lp7ZmDc86+OyG5kSFScD7m6K/E5eYspUuAc+Uoi26skxkDmn6GRF4xS/ys3yzRjcT9JbBt1shCx3LX+75pRncddC8y62RoreSK0ebghQAMhP8twv9sAjleIZFoXM9FeKvvcHEhOmpod1oIj96AjnP5BEPBD5w6Qkhd5oBYNdeWUPp0RiUwX7yMgszCXKwpDpvMzkeQi3Mpyklngk8tuUr9FFkC16M2GgNIJJJdYmfs/1AJYupSLgkOUkQ91bgTdusd27plbVyFTPmV3xTthXi7CMqBPmQsjcTuvXO5HnMNi6n4MQs9F3d76JCDq/HbpzkPPhHMtzQfPb6BWu5zsjVXo76e744Ce4GP7OBjKblVFHrYLXIWuietVQWLk7I4AL0QScY3UVRwFBhFtLXSYxEgP9SVq5QH/7Q1IkWpfVRJVJt2B+7Oa3ZV5DFHU3BRLMZkpylsTjWf69eDXpVWqkoX4FkT/hxOI9fOj8MMelifulAwJPq/vmCXC/a6Z/bvCEWtQK6tVTcqX+fmbH4waB4MkDhMF9GVsdJ5nzDzPvpzlwttxeR6rLwo0wLWKPJKmWvA/0V20CsX8ciq4ac8q0Qf5hHkH+XC178joOd9jSblLWWQ8zZqkzYRt9Racv7pHtZyjY10lS+q0HUM20u+gAk1zsgaVleQS6mJ9I379gnkId/Gm5+TNSxT/577azUPNrGxKXP9ZWg91g5rqZ6NCFx6K/pSbpLpENGAqlILnrQsHwH/7TcyUK+2ebT+RyYa0/eYv21rkFDfyu1n3ovDBMUHGlRn3mDnSsNyDaPZlj+v4j4QD9hsarr6vmu1bir/xdTI8RsTlB3Hi00Vg7EnsuvFgxS76yxKi2rhywOYfmFnygRhuWYPSv5CVA0syfbFKcOp/Ec/NhwVYTZYaLA6HoeNCtZYXP6qknpJoos7qa9Iow0I36+UBDJ72KMXz38hOvXZFuBwp7e7ztyPBsye1pjma2wSqJHkhUFTiEEdxN3o2XXHrw4o+Dv4Yx3GLSBRif3rhprc+wYF6XGj0HIY5BMD1Ne1+8FlRfLbNMj/oz+fCgFZWbqb2s6eFueFtbRRvClthHqlnSpsfqjZ1h4HCmTo17vpblwuRfCG5X8y6mfDq9ryaMIuhxMRxJOg/3bRj6TujfxvjhcX7tGVoECherLrau4ZaS3O5o03JX080BYfIzjjh9JUmnS0h1nXvnGwjeUOWcuVzzWfFwO3Z/tS0TAaC2Ndt4hiSBKe+XzCEoB2ncNViLpf38U8XGPcbJobyxIm6X3tmHhJf4wKpWXFPoiIe7iBfLt6cmNhAjnE6uDvo0d17/9upnOD85vXq5kI7/CvijBwI+83TEb7sWI9eavTBM6U5kZlHrZUFCpKvZKHp0GGU6juBA75LSsnBhMitWp1l4OU/PNtfHI6mt9OYHNg6VA+i5yMceb22ntUOR3v4n/S9efv0x/Zq6DFg4Pos+UDOkz+R71c+wsWVzwE7gwbC0cxUZ7B0gSMpjnZTMWU+vz2IrunSekNkAOu8YNgXpFIMJcV0fmSE4f5hyqQL9CkAUpFKyFUheyQyPZKKJfQSPI3mYIxVNke1leNkbB8IrRnYfGZ4I1TQyP0SoKoi7+fp2VsE+77x3hbL1IVl9X+PfQp22Q9H/XQR4nnb/WGXHQfNwKovGGqJ4dS4BeUghFKuY5ZyY86YI7LXfyUBnKg9eJEqj7WAfIO2NHkm3m8GBpzLndmql2/P09Bpg3207Ne3ZD7KJaCW8GQYtuDdS2/4sNiHwQ+FX87DHVPS6vfErzLGHUu0sV9hDbu0+Y+qimV2Hx4EO4tmC/YfNMGRjdJvuc1d10rN0d9js0832Ef8AN/uS8LNoyBK5PPaw8A0NAGYRp9M/hLMWbvEEPktZZlvorvPNFrn74x7bqpkLOuG5SNhuZynlesmVJ+VIEqKyFwc6ZlKq5Bae+tGeerngF7yxMrkRygn8dwKtIXj/S3XulU7aDl7fkmY0rGmBDCjErdTIzr+jW7E7+yapvU8ecxF6BsO3b3w38J34yroh3Gcp6mtNgrbfVSKRXw+IuaVUmpipPV9Ccmp9tB527xuFNNIzcnsQW3UG2kytOG2AHu8Omyi7YEt3Q71iSmxkPvoUE9p5SCjw3iGbmsCryXe2pRT2Ys7G7xwyPvogaznn9o2/PQNWoNCLPV1Sj6Yh/Eu2PeRvqDuUUdP9B9UL+ogvRWUTMNTDMIlPrXUvwmGAwx7rixVd7oB8Iir4uUUd8EjgeHFNPOv8mpydTk1iY91P9D4Adb4hEFeaRZ4+wWjB/srwVgo6wPSBa6veSgb0F0ios/zfa3pKENdPjwiCm7Ky2jkNfYBQfzDlUUZuLoBbgIHREd1Hb6Qkfl/WAXLmIeifhxHXUFQM9L3ltYcIHeedRlg5OyWwYb2OQu/TsbZRa2xU01lUnwbZOXpNkaIsJhhcTen9QkhgffgbwYWXYbrhN9RE3Sclr/OOC++TgxgVEi4lP0KbLyFS73lNXsZE+TxdJ/OnpqFlPSyONz+rNZniH6ihmyqVyJ7/VGNI6y89bULdGkKqa5Yf4KtJ03oU1zb7Z3imUozxtbF1/Qpcsf0QaNDIZaewW3jrKMiRov1Z/cmvJZnPcUsZA2BGWML8E+WbnpeCS22yMrPya6gO38aQTKTTRGiBTdUhHpdLR4aMFm903G6nesVx0EPQ7LS0p4BKEa1KHU70Skb8mvpnqj6Ugu1hbGacSAhdt9Bwju4Whci8NEwADX4sTONJJ3/NLMWeDZDyGexmwlSPXZ7/6T/z7vSPbMI48fK/Fz0nJvpV2K0jDI/GcuIder+WMrs/+FUWz95LNZrrKhHgitWcEzVwvUN08isBon69Eoyd9nAVi+XnZj0fK7+0QKuPxeO9d2T7orEtT4nozUHLSxz4/cg/eSy9rFq4lOI48zfzBbBOErUIgnqj/OoJIXkPlk0//VrXsnp9wymwEO/LwGGZRqAnDGVfyCPxdLUTy1ZLlQhPVS3ts9FsXPaZAvT/2v2yrZgN7UAyv15pDUEF5GMWJ9hX/oC9hUJvHwv6Xsae2S/u0aQ6KW7PJfcpB983PBzM1itJyFofzZ93Qgi7dbVKTUQrJ7UT+TC9TMcbFkoZg9dLd/+0bLw0q+xfo39YLAKIr1Q63NH8/bxlSFEZOUMKJzeF2mb7X8l8TqluIFFri2gBODWzIFt3kN51BHbcBJlThvi3Whsj/EOnI74V2a9UfGAq6wRBmpsC5qCH7ZFXobjzqLxnlMiJQIg/RKyuALEF4F9RI/Hn1k6d0ePzCnLWyO/KTuNdo6iYzA/X0gYORlkXZ/UV53SW8StgEyRhhoY2weM/lI9EEE2GmJ1XDRcnqqYd36vs/QB5LOBxdxNwQ6Uutem33pzVnoCRi/iJ/BAKaYxbJeWxg8iU3UNoO/f56+rNdktlG/2bK7tbJUvyXSWqMR4W6f5DXjPNKBfaPV9vlBmXl/GKuR0vQH+/dokAMPLnLzvEEf6jjr+qIvAuTRdUG0xhQj8WxWtJyy8DyYo9iu7QELCcUzfgeG2jOFCnWRDoHHuUeizAlVEgm5BpCFpX6wvqLXSuk+PyVudhyxJe5vKyioPdOhMobvFch2tNF6FTKwmBIpYe/FxNMmXj07S64IXKs1xNuuFd0r1b21ouHatXbo5+ZXLoRj2LFmMNGoljK0F8fJ0d10ern7fLe4ZMzE62gnFsja5Gq4DG1zFsZmcSLga+tzG3US275HAzc79NcFb2sNUfcXL22yhYzDiMTi8gYAuBP66zHV3J7R1/aOXlUZH/2cMbLNnRyu8W6JbN/cViSQcZI+JTGxBDpgITuLc1QeVtmoDnO7qhkJT/zpnbkvRdfhQDMZs5Ym7XveFkvmangHfJ1HLgVDk6gV2p7D7CJ3eOciPkmtbvybMqa7bMWTVrcEt25DIH5G1nR/agM4t7RedBgjXdhu1lh/2lm18D/jxjIa4sSCYWQqFeU0YUGiVtq0q+AyqX2W4tmwblDjlL1pSwIKnGyivDD7TFR1hm7HwroIFuvqgr5ojrmeoms373HaFE+1BWXfkxUAxE+RnTrgmiWy/9uQD1vfwLGqwRZmn1f6Ng3ZUAzz96IBjnHgk9a0/7ObJB3aw/nK4iOzz5eHksrhmZUAjmVRmLE5K9J1n+IReq7zT8WEFUWc1k11DisnvQuzpRqxFyupRDyQYFFuUA1jqDKi2NDuOBpfFrx0KLV5P2OgQo12DxkX9r0XP5yrk5HL0lYkvELrPotpNyAHlgOFEeOVpFqBEsbqokuBNXLI6UGKgY7sgikq3AjcXuIz8KBYevc7gI3JWCHUgkRfvlGiQtYvKeUqdm1v9Q7Kb/jPvSQKS+Mer7AuZJ+aAHG/fyCaE4cYZCUq1ophFu2zjo8msW4xMSzuVQHTqYMxsj32i4O43TgwlOylY6NNfhP6DSyK/vLXdOahReFK5ahMHl5N+elkEZwUpBS8rQoCvC7W5Pa/28DtVpTmgjLeM7PW4yE5aQ1/bbVXzYVKm/OuGznpoowk1PgphS4T0zu1/j+7rt4voBn3VFSKLrJS9lubcjRufDihozQnV2khZ3KTUizfjWOHTezt92NlJAGutxEdnYkU11T33eaOKO3WNc3amESLBoixv6DDVLYJLWYYnbq/xrPyE4aythXfGtQJ7hQxk1cDbOtMWUY344TD6JUJw68issVAEluG3XeKI7/nKniClRbQvLeneMm2g9qkoQvKX+M8s84+n0xnipN8ZT4sL6J7Numh+neRmlFJTzH0VgNbCafep7YIUKxmTqg6we7Rt0A/36glZido5MgGvGox3q63pAwxnCXKp79nSPSQyDta3JRhZApLahIMLw9LQ9QsgFE8GmjH69u5oNqhzBLthjT0rv4xTfvBanaVtLXkC6QsDE3hJvE4qGhrAu4v/SsFMZKNUtkxjZE3VOX0djr2z/BOw8Oyz7zfQX93RzdlLahmdSwByqnFE53vGMOa6YMKfU4gAQRKhN3O6TiIWuhQi65L3ny/lTyD6l8D/kMy5Oo7qDfLgGB5DuFDNxFscmIS3jKicsSUGfrXRAIKcBSwdZMWETZvE1HRroOSocvMpdixwpjn7AXgVNeOcNBSTSsb2wJmeDuqVwgqtTyaSRb63TFiSkoqx+E5OQzvaDUYPqnQpDZU/nLZFtpZwNGQMihIY7cV3IzNRtsPq27IF3/e4I5Y2tZbYDTiA7pYUY8l/Qime7qDX/x3NtZpWQNy55X5jdzNjsSNYWQFy767fA4decHPxnR7LeAD4npYbfaitYJSvEtvuySXOUQvuUMh6gEgNw50dolT9m8YhMNSJV78JYSWfQqCyywL/ZRZhpGcv2AGZZkU6hGt/ItUTmtxxrUH7cNdEJLJSsE9h5foU3m17hDc84gtf+SJQaNYXKM1QU7Ifl6tWzERq/oYxU8iTP022NI4VQcCCj2yzF/+tesZ4Zhv74bHjMUaJm8Tu1n6oPsLQ7dR+fWJSjipZLn4ZNkaEZDY9+/sA+YBKeFW1CDmt/COa9GKAYdcqP/Qr/j7JO5i6N5tcT1LSlGI45iPuD5oHPyFHJNB53ocrrmm5liBFD4qLLwT03VMx2mGxAqnmJ5OnqpBsYR1sULAtdQCSBp4ICiP2qdeO4alidtDg5VDt7mGTc9eXdxVr5A+cC7E0F5+ariAvRvYVS3zP/evQUVNU9KTl5GQCY+3QBr06ziICi5/XKbDZCM/UgAdfoqeV/H7it/g+3V8c/N64sLvccJ4OL34NNjLZDZwxFsztNMTLkEcnUXtntpEmQ7cUEHzni4BjfYJes29ULDO9GWqdSx0ejswFJqhJztc38U20w78RO+fuluZt/7VXs6hmzMRnwmXu/GwGOSt04b29G3uDoafUUGHYk/3H47W/oEGXM8hBQwr4ISKR24xjInN9eyLmtFNEDMJztUGubvNWmGaj8t94haRtcMQff9YYdjgBL3LG/bbwQXSolBgkZohaRR6FkNrhfzb2iJuWAsz/ktw8gCntkK3sIrQqTqMQnBHmHX5Hmya3IDTpPVgSs7L2pfypIg6SeFlvPQ/ghrnKDbaYkhGX03TiwbQdYvwAEkSvsaN0bNHVcF418qVxblR0b83+gc7YtQBF2Q0jbGSNRpX+AjZTjpsuArVY8DHHUq3Kru7wakKUmp/cGQVAONNNTMJ7RlxDqD09Mh8E+b+lw+BjAmlIR4FZPIQnPTInVFLQ/gcX/gapiYCHNWW2jhSgeeYrZy3+QhYFE42LlJMVFigT/DyNuNTTG/Fxra811etZinUnCddUB/bx5kz49Q4A0asbbXIs6wq0a2itQVNdQtQBo/UDeUSndNHMjC1hp0yG7Virj8ws6PPoqnGgJ6DK21k+IohpPZycFWrstO6UNnw668zUGz1Uv+JBzJSWL93hFu/5at46P8+21PwayDG9DcMHDGQH7idm+EsCJ06DGlYzcruXu1OAKe6oPnDfDhPhiNzN6Vefs40fO+fAFuL99lvyyllVl5K5RKZP+TgNj3ibJjE3VH0rbBZUdwaNe5RyiF1aMKtiu3On+Vo6c2mLFAAWNd7K4TwaqjCKM5XzZIeYlk+XOJ2wJfPnYr3XNGbYYcQjXXpr6A7E5fMeN62sPTZhSSbQNUNWgRgE791+cfL3IzbfOSsvjeZQGTQ8KuGtMWbZ+Rlgl7YRF8Ybij4U9t6MIPiGfw0iV04MzlgZBhPjYd4z8a5FA8cn0hzeEB4GicHT0EWU13yetEILFEtDrWbolve9GATYJoe1ciaeiEdnXMczJTkn3o08xx++O2JjW1GhJKEBxige4ZD2aGgXHhjh7JAHXhgLaNsZBy1WUbHFeSs1hDSo9gruflVYS81nZhh2VHg/Tmj2eN3u5zabx9oZV9RNNE1XxKrkCy06XZ4OIZ912bhazQt4UgEwcOznxMNawVhsVlMM/aSlSm/cUMoKSQ0k3IR7iFF6IBb5oBRYraRffQtPCQ9WEM1HYRZI6cIThr/LxAE2nMbwDISSZ4NDB4D20CL9pLezJrXo9/CYWVHRN6wLvicVunT1sEhyC4RTVezKRpOC2JxbB0FrfMt8aFnPshsa8EhgXHSU/vTOqmwOp9TvIZWUJhg/n5Zjy3qpA2Nnn1N6oObH/+n4aDScSrpdb45LIrerij/2+92ot1na5Ty0EWyqYrK/xFHCPUid/VUl25NQMfqEWGCsw84wg2L8euhEeaaXu5rHB/fhpnKZDKzecNcuxunHsIx3GwaO9zP7Gu893mV0u24BNpTcNTIq8mameKsTXfooOkrWFdADZOG3N1MI0r7S2ikHzUJfN42+W/OMtEz6pVLs2d7jzUarIigvrhencUlbz7YRn5h4j7D524t6EAmapVGyYd44D9MBVGb8koOZ9MU4lwL60FvgO9ucRM6ZMrAp+DIgHvKFfjr1OHMjd+UKas6yxXYlZ/DXZh3ZprcKhLOHRuT5ZoSKML7/4NJquuH7Yx+s+V6nT3WsAgtmUsUyKEAZWnG/AH3zVUjk7QFJ/0kqqMp4G/p8Sd7B1fsEODbnOAEucJVKg3X52nCaRStdijOanJl7K5IhoEdJsO8kDYWtKoOMqRHZArn7WJNZ9hlUYqsBdBoZQOrIf9nt810AyktxDavakvQKlV8NEQ1ykZZS93xVGuaum1QxeZKLNkp1M89AYAWI6mct8U93yNH5KbGJLEAWmiPp+/4nUR4a6FGQwFUHCnC0Ca0pXLVllQ6xB5RB3irIUPWrwswQK+zl7+JWcx5MFaXzsqLbRxllt5ibPEvXgEJaIwEY98mgHFI3eqLYBVWZRofkcwf0T4Qqg2xoV0qpgmunX6z2X2omImfmpt4rHes5rhEt2gO6yGzU2sVmI1ocIEhUysTr+2QBBnd2kqkgU9BBxpYaZB2xF+gazlaYlBDL0FY79nmMiYdRwfxz6sJul3jcFIzkWgJeEtZ9AvrbbtYnFxpBa4q1TfK/R0i+4vQB7U56kPQpfiw3NCQusx6wxefDLvKemF5LdH1FXotB7+Brf1MrqCZDDeNtJZhCe55NJztp0bzBl+/zPaH1jFYp7uulqGvRLAlCkKVINu9ryiO1+Wi4rmz1IbabLQvlEDvIBoMlmmVXgg+ZMCA/nDKDndbhr3N4U7jt1d5ZtZv2cWoKrnBl2iXAd6Q/IMUbjO4CqwRhYxUMAcrb9ulJdqtoTSDl75SDswi/Ig1fBv2UrfAYwE0QhBLUJOOVsWAtJHrwYmE6CmhqhDBMyG9xQgrsgKV2q5jSi1+uNirEZaR3kjV3653cwurEGXSD0pVb4L0Bdi9+OekA4h51RZdEfO+A0uj76fN/O10Y+UVdf+A+5FTtG9EixmI3Q2WP4pva/Fkw9d0qb5fMJvHkDU1Fbut5BRUr6Av1aNBH8U5V6lzGEURlOHjJHYWJT5cFfjmGTFnZ62vEatgzmZbLbuJ6EZZM/mfBJ1yTRGDHeYRkjHfzXy/C9q/ReCbWU/yJCvXXfMFnaZ1f9pAfhqpdQbTUhcpWU9Hk951vupBYIw5iVBm7+5Gaeqf1eNBDbAkZ03YhYW0EJwcu9XhvGu27QBIZNneI0fDE8box3JhdNV2kwqmSXJq2Un5v3l5rjXXNGYplopsDNcmzJ7ByPFma6MmDJCp/uD0ZPwQpgoA4RpVCayUuZ071zrjpWCd/zdzXStqglNuJukM8HArY1MrA69EVmkHgYwWDo+iiNoAuLFMaOZONSwXybdBCs29dz6BP5+nKvQDnGZBsgSmvON2CAR/PmRJWmKw2hz8L7egIR/mkAlXnLhg+/0zdVWi9h4ODtsD+pkTCbNwRymShVbHEetff0UuMANlFvrxkiqoqwp6djQRWr28cdTSWhAUtPa23yq2K/2sSy8hm+91lKDehC7fRNE1a4ftTgQi8CWh6DxckEs/yU3n2ZvsEl4I+lgDF+JXoHCmc2AzgP7yFX5cPA4EmOaoAjDVobL3MkHhClXPLiMlVjn4dS5zvQ2XsBo5TxCiuFXXAcA46NEXt34mu251yMGyWxcpNkfcuTVNDgX4eFSUa5ytbZUa+uOs7WP7YNxqglYf641CjOO28iQy7493mhcrUVOM4GGoc/UYHEMVi6V9tsOOizUl06EMh4yN6dNjfMalXV4kzyGmtXqxc78n4Sd8YFhocwo/Y/fAoLIjQW/U1ApIeV4WmBL+91ieV9pF2iPWHRI09hBxD376YKotfxEzhmulHVjhPG8oYJr0gIYYHDhGuaW/97Z94Rk4wn51+rWJP8SKtKF+zB7GCkaz84DbhQadnekpS0B1+mnneKA0SDrsvSLoS7B3baUySOiWrlAp2hKf8C5I7bgScE01ovGrAvjrBHKxM3xhPB+sRZ0o+pup27cllo65/HCAzqvktPHhn2vPRoBWQxdqRtZ7BzuYGXo3uN4NDmRwCGxpq1Fb1uiQlqhM+VRbI1HnVR+T2A96MMZqtWSQUh6Ziwrc3S/yeI9FslzHt4BCVSNi+5iR4nFRtRXpY+S7liZ7WB4ueNCflEzK52O1fRHvmGS4+v21XAXfeuLUmiC2Hr90MqUwrZK1gic2vA6fLwaEYB73wt1XgAUlkC+p76slm6Gw8aAZfb7rhFK7GynVMtlNSgr32cl5PhXZPsMLb6utH+JbLt3+YipDlnkv3TM5I9dvMyc3g25B2lcLzkZwynry10koA8MPynpZV8eVUbE/waeedhOPO2oXjaT1DkjFF5tkwoLJlgTEEqum418URZ2liuBVefc7O/1053wcMtEB9VJwTQctvPWF/4cr1uITMV4SOX91rUg6cqgcyHAYSHywM9tBrYsmf0XU+KHWi7fLN9b5RntFbxvRsEO55oU6sF/tF4jZY8TTp3E2va6grqALdxG8CeHocX7qoIggpjL1Rhrp4A1yrt07FwEFzTVvw//BiznODARz7KMn1oCW4vkRE3mAteWn9r7c3BwuoQzrRPvhksW+Vjt18frlyg8gzCYHJnoV6EKGslm20Kj9SSgNaYEgFus//377LjXPyfyyZ5C0kJkgsOriQQw0Oa4lCd3L8PGs57jQFGViHYYF+e7VjsS6kwiU3awEmQk5lxYM2ApijRNLgSDENP6Ww0rPuCl9LeLq6OXjMNCXAM911ZN4xLu+6vNjYR0qOKF8SWDA3HqGK8Hfym9E9zbY0RAGVc0p9tOBnI+Ctss+b1iYspUnYlRz14FGR03p6VM/5lPVi/yAZ4GHn5ZTmbIKv0CetfHRXHa96z7f8ZpVSV7P8K4eGhL+gD9+6sTfYG5z4my+dkLyta+vSKqTI8zCJTqxiLNmwD4pS2WIDZPX5UVrv8+fYk43tZuBIgnb73ZvYp+IEMetp8uxKDgjm6muRrbPxUQ7A3F0MSnoF3hpeBLuPMIQAKIzSBejbgwAZ7LUl56Lw45KGB0m7ixCXiROdc548uFHAABfQSLDu+ocPkL+7C7B8QqpmIHFTnzE0Z9RgBOMrJuDnM1prSaSEQKHbOm/6f9Dr1cRFy9Ae61SIq0roxSJiFxB/8NF7al2KQjo/QzhEb3QCj8AQ+T+2gNCWA+Pn0t2KgHAzHzSgprSjpjqcC6xcrQ9bvGUet0WD2MWXjnSgeNGv8f1/Uk14nGNhHGqBelAmzZrGSY9In3r/HVwMHX7S4XaeHJNtzBWlNbMV50khwCvhYdABzOVWgQ/V6CkLjk1wacU24dvu3KZRqITE1LSALjy6tTU1I71p1prFGF7uzLCzNzgZT8AhquZeVgnq4GKv7xdYW4L9BgobvMIUF6sX3IeBEMMoJq+QgGC0yKoKT/Io1M2XaS1MSqinVkHMOuCxDzlBwWVCWl5oBq9T8FWxvihbZWqNukqFx4wEVmrkW4ZLJq0AlMsGS8/WV/XDts=">
              <a:extLst>
                <a:ext uri="{FF2B5EF4-FFF2-40B4-BE49-F238E27FC236}">
                  <a16:creationId xmlns:a16="http://schemas.microsoft.com/office/drawing/2014/main" id="{DA83D4B4-5F3F-445E-8AE2-9DF0E26CF17B}"/>
                </a:ext>
              </a:extLst>
            </p:cNvPr>
            <p:cNvSpPr>
              <a:spLocks noChangeAspect="1"/>
            </p:cNvSpPr>
            <p:nvPr>
              <p:custDataLst>
                <p:tags r:id="rId1"/>
              </p:custDataLst>
            </p:nvPr>
          </p:nvSpPr>
          <p:spPr>
            <a:xfrm>
              <a:off x="259831" y="1423003"/>
              <a:ext cx="11591637" cy="4777905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7ABD6F9B-4AF6-48F0-82EF-6D20185A9E1C}"/>
                </a:ext>
              </a:extLst>
            </p:cNvPr>
            <p:cNvSpPr/>
            <p:nvPr/>
          </p:nvSpPr>
          <p:spPr>
            <a:xfrm>
              <a:off x="722256" y="4915927"/>
              <a:ext cx="11249023" cy="13255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AC04B05D-47E3-4D40-9CBE-51C25BD3FF6B}"/>
              </a:ext>
            </a:extLst>
          </p:cNvPr>
          <p:cNvSpPr/>
          <p:nvPr/>
        </p:nvSpPr>
        <p:spPr>
          <a:xfrm>
            <a:off x="8429491" y="3541170"/>
            <a:ext cx="3502677" cy="143445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b="1" i="1" dirty="0">
                <a:solidFill>
                  <a:schemeClr val="tx1"/>
                </a:solidFill>
              </a:rPr>
              <a:t>16 field/NA reps generated &gt;80% of YTD RMR from customers with &gt;$25M in revenu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64C254-835B-4CA0-93F4-1F376768CBA9}"/>
              </a:ext>
            </a:extLst>
          </p:cNvPr>
          <p:cNvSpPr/>
          <p:nvPr/>
        </p:nvSpPr>
        <p:spPr>
          <a:xfrm>
            <a:off x="722256" y="1905354"/>
            <a:ext cx="2595102" cy="307027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b="1" i="1" dirty="0">
                <a:solidFill>
                  <a:schemeClr val="tx1"/>
                </a:solidFill>
              </a:rPr>
              <a:t>12 field/NA reps generated &gt;50% of YTD RMR from customers with &lt;$25M in revenu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F723E34-B03C-445B-AC6A-8CC900F5751A}"/>
              </a:ext>
            </a:extLst>
          </p:cNvPr>
          <p:cNvSpPr/>
          <p:nvPr/>
        </p:nvSpPr>
        <p:spPr>
          <a:xfrm>
            <a:off x="0" y="-2976"/>
            <a:ext cx="12192000" cy="1115746"/>
          </a:xfrm>
          <a:prstGeom prst="rect">
            <a:avLst/>
          </a:prstGeom>
          <a:solidFill>
            <a:srgbClr val="0075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lnSpc>
                <a:spcPct val="90000"/>
              </a:lnSpc>
              <a:spcBef>
                <a:spcPct val="0"/>
              </a:spcBef>
            </a:pPr>
            <a:endParaRPr lang="en-US" sz="2400" dirty="0">
              <a:solidFill>
                <a:schemeClr val="bg1"/>
              </a:solidFill>
              <a:latin typeface="Gilroy" pitchFamily="2" charset="77"/>
              <a:ea typeface="+mj-ea"/>
              <a:cs typeface="+mj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C78D2E7-35C4-4EB1-BF87-99B4A634C5B7}"/>
              </a:ext>
            </a:extLst>
          </p:cNvPr>
          <p:cNvSpPr/>
          <p:nvPr/>
        </p:nvSpPr>
        <p:spPr>
          <a:xfrm>
            <a:off x="272193" y="1708267"/>
            <a:ext cx="5686293" cy="1755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F85BB44-8650-4C7A-BEC8-B41A708DE1D7}"/>
              </a:ext>
            </a:extLst>
          </p:cNvPr>
          <p:cNvSpPr/>
          <p:nvPr/>
        </p:nvSpPr>
        <p:spPr>
          <a:xfrm>
            <a:off x="3600657" y="2268814"/>
            <a:ext cx="1735968" cy="40553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‘21 Avg total comp $78k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19CBFE0-3E81-4BF2-80FB-365CFDD67487}"/>
              </a:ext>
            </a:extLst>
          </p:cNvPr>
          <p:cNvSpPr/>
          <p:nvPr/>
        </p:nvSpPr>
        <p:spPr>
          <a:xfrm>
            <a:off x="8429491" y="2772140"/>
            <a:ext cx="1735968" cy="3945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‘21 Avg total comp $164k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E621090-EF13-4905-905B-ACEF25CEB8DD}"/>
              </a:ext>
            </a:extLst>
          </p:cNvPr>
          <p:cNvSpPr/>
          <p:nvPr/>
        </p:nvSpPr>
        <p:spPr>
          <a:xfrm>
            <a:off x="716630" y="5207827"/>
            <a:ext cx="11155997" cy="874494"/>
          </a:xfrm>
          <a:prstGeom prst="rect">
            <a:avLst/>
          </a:prstGeom>
          <a:solidFill>
            <a:srgbClr val="0075A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2 field/NA reps derive more than half their revenue from accounts with &lt;$25M in estimated revenue, while 16 derive more than 80% of YTD RMR from accounts &gt;$25M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B160D007-5E34-4EA0-B936-F11CAF1819ED}"/>
              </a:ext>
            </a:extLst>
          </p:cNvPr>
          <p:cNvCxnSpPr>
            <a:cxnSpLocks/>
          </p:cNvCxnSpPr>
          <p:nvPr/>
        </p:nvCxnSpPr>
        <p:spPr>
          <a:xfrm>
            <a:off x="9297475" y="3247395"/>
            <a:ext cx="0" cy="2327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7F8BE8F4-6918-4F43-86B7-5E07CF9E5922}"/>
              </a:ext>
            </a:extLst>
          </p:cNvPr>
          <p:cNvCxnSpPr>
            <a:cxnSpLocks/>
          </p:cNvCxnSpPr>
          <p:nvPr/>
        </p:nvCxnSpPr>
        <p:spPr>
          <a:xfrm flipH="1">
            <a:off x="3317358" y="2490086"/>
            <a:ext cx="25826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F536F326-F494-4560-ABBE-F57FD8078D9F}"/>
              </a:ext>
            </a:extLst>
          </p:cNvPr>
          <p:cNvSpPr txBox="1">
            <a:spLocks/>
          </p:cNvSpPr>
          <p:nvPr/>
        </p:nvSpPr>
        <p:spPr>
          <a:xfrm>
            <a:off x="228120" y="94010"/>
            <a:ext cx="10684225" cy="691947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bg1"/>
                </a:solidFill>
                <a:latin typeface="Gilroy" pitchFamily="2" charset="77"/>
                <a:ea typeface="+mj-ea"/>
                <a:cs typeface="+mj-cs"/>
              </a:defRPr>
            </a:lvl1pPr>
          </a:lstStyle>
          <a:p>
            <a:r>
              <a:rPr lang="en-US" sz="2800" dirty="0"/>
              <a:t>2022 Plan: Up-market focus good for Quench and for you!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48C776E-4A6B-41ED-8F13-4DFB391A8950}"/>
              </a:ext>
            </a:extLst>
          </p:cNvPr>
          <p:cNvGrpSpPr/>
          <p:nvPr/>
        </p:nvGrpSpPr>
        <p:grpSpPr>
          <a:xfrm>
            <a:off x="281074" y="1206857"/>
            <a:ext cx="2928786" cy="564193"/>
            <a:chOff x="281074" y="1206857"/>
            <a:chExt cx="2928786" cy="564193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3BC2DC-ED0A-4C89-9D62-F298631B3560}"/>
                </a:ext>
              </a:extLst>
            </p:cNvPr>
            <p:cNvSpPr/>
            <p:nvPr/>
          </p:nvSpPr>
          <p:spPr>
            <a:xfrm>
              <a:off x="1026771" y="1272472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mployee Experience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9D37C2C-A979-492E-9193-0BE0EF309965}"/>
                </a:ext>
              </a:extLst>
            </p:cNvPr>
            <p:cNvSpPr/>
            <p:nvPr/>
          </p:nvSpPr>
          <p:spPr>
            <a:xfrm>
              <a:off x="2514941" y="1272472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&amp;A, including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aterlogic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E16CEE2A-3F27-4AAA-BCFE-457DB28CEE09}"/>
                </a:ext>
              </a:extLst>
            </p:cNvPr>
            <p:cNvSpPr/>
            <p:nvPr/>
          </p:nvSpPr>
          <p:spPr>
            <a:xfrm>
              <a:off x="1776028" y="1272472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o-to-market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7F952639-88E6-4D96-98CB-7CA8BD85E4EA}"/>
                </a:ext>
              </a:extLst>
            </p:cNvPr>
            <p:cNvSpPr/>
            <p:nvPr/>
          </p:nvSpPr>
          <p:spPr>
            <a:xfrm>
              <a:off x="281074" y="1272472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ustomer Experience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1AB2CC05-733B-4244-A67F-DC55964468D5}"/>
                </a:ext>
              </a:extLst>
            </p:cNvPr>
            <p:cNvSpPr/>
            <p:nvPr/>
          </p:nvSpPr>
          <p:spPr>
            <a:xfrm>
              <a:off x="1703058" y="1206857"/>
              <a:ext cx="823521" cy="564193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rgbClr val="C00000"/>
                  </a:solidFill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1598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EE817F2A-AA18-4F3F-B472-616F290BD2B0}"/>
              </a:ext>
            </a:extLst>
          </p:cNvPr>
          <p:cNvSpPr/>
          <p:nvPr/>
        </p:nvSpPr>
        <p:spPr>
          <a:xfrm>
            <a:off x="0" y="-2976"/>
            <a:ext cx="12192000" cy="1115746"/>
          </a:xfrm>
          <a:prstGeom prst="rect">
            <a:avLst/>
          </a:prstGeom>
          <a:solidFill>
            <a:srgbClr val="0075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lnSpc>
                <a:spcPct val="90000"/>
              </a:lnSpc>
              <a:spcBef>
                <a:spcPct val="0"/>
              </a:spcBef>
            </a:pPr>
            <a:endParaRPr lang="en-US" sz="2400" dirty="0">
              <a:solidFill>
                <a:schemeClr val="bg1"/>
              </a:solidFill>
              <a:latin typeface="Gilroy" pitchFamily="2" charset="77"/>
              <a:ea typeface="+mj-ea"/>
              <a:cs typeface="+mj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0FA670-4D1B-5242-97A3-5DF343E5C08E}"/>
              </a:ext>
            </a:extLst>
          </p:cNvPr>
          <p:cNvSpPr/>
          <p:nvPr/>
        </p:nvSpPr>
        <p:spPr>
          <a:xfrm>
            <a:off x="10070405" y="1277"/>
            <a:ext cx="2131533" cy="2438397"/>
          </a:xfrm>
          <a:prstGeom prst="rect">
            <a:avLst/>
          </a:prstGeom>
          <a:solidFill>
            <a:srgbClr val="57C5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BA4B48-125A-6440-843B-AEDB8EDCA3E1}"/>
              </a:ext>
            </a:extLst>
          </p:cNvPr>
          <p:cNvSpPr/>
          <p:nvPr/>
        </p:nvSpPr>
        <p:spPr>
          <a:xfrm>
            <a:off x="9919252" y="198782"/>
            <a:ext cx="2078432" cy="2266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46E37C6-B020-D042-902A-C0CC130FDDD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0143093" y="476518"/>
            <a:ext cx="1630749" cy="1297735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0BD824A-A6AE-474C-A7C0-7CD027150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FD11E28-60AF-B543-AA61-E2BD0459882F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31DCC38A-6707-422E-B0EC-3E8DCC21C984}"/>
              </a:ext>
            </a:extLst>
          </p:cNvPr>
          <p:cNvSpPr txBox="1">
            <a:spLocks/>
          </p:cNvSpPr>
          <p:nvPr/>
        </p:nvSpPr>
        <p:spPr>
          <a:xfrm>
            <a:off x="251324" y="74313"/>
            <a:ext cx="9042541" cy="1038457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bg1"/>
                </a:solidFill>
                <a:latin typeface="Gilroy" pitchFamily="2" charset="77"/>
                <a:ea typeface="+mj-ea"/>
                <a:cs typeface="+mj-cs"/>
              </a:defRPr>
            </a:lvl1pPr>
          </a:lstStyle>
          <a:p>
            <a:r>
              <a:rPr lang="en-US" dirty="0"/>
              <a:t>2022 Plan: Building on existing accounts</a:t>
            </a:r>
            <a:br>
              <a:rPr lang="en-US" dirty="0"/>
            </a:br>
            <a:r>
              <a:rPr lang="en-US" sz="2000" i="1" dirty="0"/>
              <a:t>New product category rentals to existing accounts</a:t>
            </a:r>
            <a:endParaRPr lang="en-US" sz="24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19204DF-96E7-4536-A1C2-F206E28DC5A6}"/>
              </a:ext>
            </a:extLst>
          </p:cNvPr>
          <p:cNvSpPr txBox="1"/>
          <p:nvPr/>
        </p:nvSpPr>
        <p:spPr>
          <a:xfrm>
            <a:off x="1530819" y="5677731"/>
            <a:ext cx="80640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i="1" dirty="0">
                <a:solidFill>
                  <a:srgbClr val="0075A8"/>
                </a:solidFill>
              </a:rPr>
              <a:t>In addition to sales benefits, we know single unit customers churn more frequently (10.2% LTM churn) vs. 5-9 unit customers (7.4%) and larger</a:t>
            </a:r>
          </a:p>
          <a:p>
            <a:pPr algn="ctr"/>
            <a:r>
              <a:rPr lang="en-US" b="1" i="1" dirty="0">
                <a:solidFill>
                  <a:srgbClr val="0075A8"/>
                </a:solidFill>
              </a:rPr>
              <a:t>Keep focusing on larger opportunities!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1169A6-0727-42D4-AB49-900E769B2510}"/>
              </a:ext>
            </a:extLst>
          </p:cNvPr>
          <p:cNvSpPr/>
          <p:nvPr/>
        </p:nvSpPr>
        <p:spPr>
          <a:xfrm>
            <a:off x="668429" y="2095611"/>
            <a:ext cx="2745673" cy="3504305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D312BD2-4567-4D45-AD3A-40169301ED79}"/>
              </a:ext>
            </a:extLst>
          </p:cNvPr>
          <p:cNvSpPr txBox="1"/>
          <p:nvPr/>
        </p:nvSpPr>
        <p:spPr>
          <a:xfrm>
            <a:off x="1742112" y="2164242"/>
            <a:ext cx="171390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/>
              <a:t>9 field reps had 30%+ of their add-on $ from new product genre to existing customers – average comp, $139K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BDD463E-AC83-47D0-864F-9FA98B6005DC}"/>
              </a:ext>
            </a:extLst>
          </p:cNvPr>
          <p:cNvSpPr txBox="1"/>
          <p:nvPr/>
        </p:nvSpPr>
        <p:spPr>
          <a:xfrm>
            <a:off x="3608418" y="3805669"/>
            <a:ext cx="63016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/>
              <a:t>35 field reps had &lt;30% of their add-on $ from new product genre to existing customers – average comp, $108K</a:t>
            </a:r>
          </a:p>
        </p:txBody>
      </p:sp>
      <p:sp>
        <p:nvSpPr>
          <p:cNvPr id="17" name="Rectangle 1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hEi4uAdQuad8hunTDmd8B57w36TXEJ1r0H3I0ycsr5uggjnMAVl3FusR1jvlTvaC9CXNJ/HRXEvAezQ+VoriTHXXjZcZWoZvqXtzNxEipzELaW6Bu3fl054x4rB0a29FuVWP3kuoqg1pXmvzysdE3On87NRRy1/uEbmlbVXbIlQNVcHEyruVLNnWbGHa46PcLeEhcLnve46amHFVkpA7ELhvnKkL7tXwSDbe0EMbIq0m0RcDkhaJN4X6LK1GZBfoQP5UBmIXgiQQu7s5dGH22C2Yl0YBIdYGlF+EX+/ppxXDQ6eTLKiJezACy+xKtEqHOFJ5pHgb8h0yuhzYp65oRG3PYaTJQcJUP/y6DZ2kemp0Fpu23U4Iz7JerrJ4anARjhqY0Kvce106lKo09LFbtxvFsz6kHy0iwUHRyd/O+3IpOvCgGJ3UgCN/Hc90DiXyrJzFQNU+V5TK+mTbfv10/8rBzU3gQ5Kww4++Zumo9QlpZY817jD/TRwLPJlLzNM1hxHmvVgoRi36oGgnUvhU+5p+fCGQNvnNT7fQvKOoJTQQ1vlW775k2WW6vdjU/yMWnHjFZL1JvyZac5jXG8JRmuc44U+k37LC8KVptoLNZmKtbFydsmSlJDa/T8g7NOIFY2aH/jijWJqQTij0yqrb6fhZ3Pic1EcjHAm3eOXWWDdtSQgppJqomOyzatpRjenjIimqoVwZUuwUgaG6s1ZVLzuPceg/w96Q8kPHlHSFQgRebhA2seF3renO4BuLK13Fo9OFNoLa/yHX4mDNLP2tmbiUO4+VFu93n4KqGKk2nY/MUkWqfC0sHJEeL0yl1lFppIaaiHfnpN0ThRbeM4ODDd7raQ7Jp2+TPgQk/3uVYxe0CiaAAhgNwWgk8GlU6uFqS8/u1+9mNg4eY1T3PBPwZJYHbFn6MiKa2qaKmzsZVqs+Vb4XH8XvJfoZUKpvHfZbfq66xsz0KdDU3/ABP29akaFeRt/Ar6KqzHRYYJsvV4T0KJIEw6aYBWfFcmaLffFN543CZGIXOG1d53vHdRrGGWlrP0Q/9hneYPahdwxV8Vln52l1Lq1FnwsRqDzcm5qLzs9/IxQC7PYoXD+BdqLJnT81/Gm2qdxqMak/vuGiagc5XlHuP7ZopDxOPAwyCH66t6zQN9eknd5RBS7zrZPEot7EIpQgIkWGStgptfycNtTvldZeQ56A86E9ZVdqHG8G1jup7zHml8wjXJeHqD7hiUfv8cEIm68xtyuwEwuk9jljna2k2XVLv5Jbs4MlwpqgsQO6NgrnPshNA2SVxxB+IGOg/wn7g36K4cu+dF7Zk/YCCF2PSc7y9IrKruvFPZyB094fArH8m7+G1WQ9OKwBhE9puAVxDbQ6C00zqANJnWjziaY6Uk5QylUtEXljqVTxEz312UFH/G6Mjduo+K2xOM8CUT+Db7MF/U6Jb3zLmbQHGZAT09rNdqYnUJvOIVMB9/GkgSstBqpEKNsLJFSs3LLE5qV3fsQwPHG3EfCSr92WMqELVuKvEmckrLmiDSPpmeyBcKFdbH2fCyFkI85demNtIYqqJWXkwjwTOI3vqcysCaQdMoMdkATF783blrW09bmk+pk9D+fxU875sG8T+HqtCiUB42DmvvZwT+sjDVprgayJPeBBDiBCns28zBnfygXXvW5OwGwsjtTSBgvVU9qpfjwYu/YUggbKko1CkIdzhhK0SYTpXUQagTq20dmDC+WxV0segqwyDfvb1YkxzF23JzFEzJRO9bEDZjlB60cmO27FxYu4SfbJUE4bJ8zW+26ZeyrOB2UOpHdauCZlKwUA2a/y1I1riad0/28l4PJYf/1XjWbiMCSnSOe5OVjrbuZJkUAXvA6Q8K59nDKmi+QTxqQiINyyRTjXGOEKRXSF5cOBBzEZjKXJnHCLgbaLaR0IMtY6OVnD7i2xpj8v+Wwlh+O9Cs8OvnvrwG+wkM6UcpfIqbNgmb4jQA12fEOD2l96mh1rU5wzT+x1GWZlVAZ0Z3huOLteaKHQ5SGOVfvoS3dPhMy6BZLSvM8NNJlfSt0LVlBGtBg/8nH8Jot8evT94Al+Xk34RU8jXBqj5+5M6bUSk52xrPsq0tl0EzzpOQrBpaHo/a68NaakggWqoQVWJsgT/BJuHX8had+j2d434/m0iadFbekzRd5l3U1NJZzaOZ8VlgFoLVWrm1iZIdTgZ5qtYTHrg6lz85DKeDMFFyEyQiS+qP6Y08Bp7PaKC2S7KmXle5EjKx1t5bA/bGmOlJOdhfvugVXDMpLQsEqwsIWu4g5izIOq1T00mpkboFxx0NemjFiG5aWztnkqrEEvS059yOuZ/7ZmRYz9+vmqk17zSPUHNtiVCehrjMPbokWaXO04Dutgw91hQK4QUiFIIQcSiCUQP5fvqcyMLWAvIE3PKwFPTPZOQykzyUQRW/YAVbUBUIy1gvIqKShI78wiyqnkmCeIUGe+20KJlhXMvTqYS3H23S766cQlh3FGs8HcUJK5DPh5ynZO1l8dycwSMUg38VMaMwvppyzFj5tmMZuLhhDOkTHoemFmzeWxfPe3foWxX2OrStvC5/ajYPl5fLUecBUtMRLgbcmYJrYjC9wAt/MkgtSH4WZDvtRnS4jEdiifi9lvSJ8aHy3hT2e6JhS2RTlKoDEWTuo4j7FdiakuGE35n046KE7EMToBJXPqbx05+WpLwxSRgsAKpRwmEyoyxvZvBgu8rrx2T/NPP8mpeZYjaepyvEIrKMFJrNTXO5YrdNMevY+yLNsJO8z/aPKeYjL6iE1gh2qHtTUySDGDvcIE9aWb0AN4tMGXF6K7FdLRmwsQ45jm2vBgRUbef1GBAO0U7WFdrDXLNQmhqw/ulUrOPFbaeGKizq2FT2j1WizOkrjZ2Me38NOQJbXs7BHg8AlESTGcRnMuHwxwv4D0qHMUEpNLz7/bwC7iXraBNg3Nb2JYSXU9fiIaXD43yOU5PbJRkhkSKaW/GVurA/t/9nGwyN2JIagFKO5haJFbtvp11jKNZQkng78FwZ+VZknMJMRBrodo82gGnukfw4fNbG+Cv3AFrsKnNonofTHtCNCvtVHa1xWkF4SQJV0U8A3/9eb8ADtVkrzEmghp1zBCRKBOB6te9NUXrSb9rCBjTtZ4M7eZ7QhH3nJVl25Kej7UiWFLZCU3i3miTH2KbYakdv+W5uZ3wHqq7TBmpSOM9eB3KJmlhw3jlgk/zqzWncc6+Ff3g+GTdwKw4vtPlfZiwQKGbsXOX3mpPt3GMbY7oRe5NDMzu7jaVCevOxeUleSmuvaPNwDxi93rhVfzVlRXL31jtzzI1RJkQn9DYhnEEomUMbBr+kxk5mFyWrf/pXJ985/k/VDsBslocl8OPFv4HlrDRzgrHANBihBlkNJVWftOUmcBaSKs6xzrl/3qFoOKvpAE7LDqdQc4J6a3T58noucH8FMmIcj3+nMUII4HaF0NDP+Q7NUvl0xz00ljw/zSpB0WalpqNdufZ3ytTy7FrN3VP5AxVwyDHudftN9BWZXlM4aSAlyZdNpbCs7U1rB71YZvNhQfr7JtafLUy2gOCgkaDcGAKTfIQV77JV1wr31wclOlXQjYKc907Sh8xJmtJ7bpj3pTU9C/sdcp+Jn78mYYup2mxWPONCAGfvBOSIla/N17X7X59JnZZYOvwloxXyseWVV6sGkHU9T/vtmaZwSCZxld51KJs8GhK+0KdqTw8Azab2F/JK2YUMhT/O4Ie4IcJ+lmrZzKffArLvO38TPKae/nN2vrl2EJVDKnYk6u0xNXemMmlC9soerf2NukjqI4nfpP2Jz2kW5fkFURxZ0Hrv1Sfn7nuab5PZsGMq8m7OdrJKzIWyx6VMg4UrtK6BFKAROujV0oR04qKcJVXkrfzOISAK57DcT5gvlUlnb00FtvOL/7T0VsTEjd0t+0kqoe24PwUPKVaFSFlSiA1Eyji0XygSDEYgc19AS3+6GbACYzCwv2piRFW8949lR0gqtstDKFlsNoNNl8kxB+SH4Y2HIxGltg3+VgZ77Vvs+NXf5iUrMSrvwWTvxMxJn9z6cgEZxmGBexK1VhcOBSfaMZpgvxn7gFNykU2LInNo9Af2a9ntZ79DnTuDd0A4ah/Ia/YfsQxCrekXfrrOi3bkNi0DPz7DYtIgozb1wMa/M3cLnV0GdgCBdOapgFGFS7kKhZkkurAqVUlDVOpgGLp3uVRICHFlIHA0Fwp07VKqYl6i3zywn2Be7oPMCWEJ+2m4QjFjr2zmZWJdQpRpMgZ7RTyxL95MnqwbXfZreRNz3/nOBt3WcJi2UxqS/DgMBqD/ddEwrn0FZaUrAwdtlkxXBKyYxXT2MCqgexjE16qTC26qCzk7C5AVaSZFebVFldyFllcfKc0O2Vym7l1RkbkMe8fIl5shV01tVyC97NW0ohZUjM+fYG1ZUlT1B2xBAHhIAL48oU285Nvp4tECOsuLpZxFla9a01gZnj0tyLC6qF2wAll8NVtGeYtlOfQ16sZWaLL4AASAMsYUYsYvE0+PhTU7Thdy8yMYk6JoFsbhIOKOdFGuU7NMFI8LFCCtLiQUYw63s/jNNfWQBfjcujL9GA1OHDgfnIjkEaVplq2D7dV3HtLEdgL6iaJSkj9I11Q9Nz+FyS2/vu4l1NFKjy3kA54f1CiOe5yQPMF3/hF2jLqylbajjEy9Ns7R+AX4FiDRORaLVb3fUBJszylcfEInPoUJWiXtrAetxn0D+z9XakDC1/UPPK2nIqXLdvJKJ4o+OSZtWT9QxCoQ8Sz9Uk07se0U0Oaqv6XIZaDzDRP3i2iXv7RInE/v3gJW/AkgbZZnMGyeDNogeeE5jUMIbtZJRYb0wwXro7zBEP/9Kiryq8fZDAb+HKAIhqc0We+X43lAyjov344mOiQ9zpMU7KvtIqU+ZCZK3kOnQLBAwRp+qI3La70W/q7wqIS1j1QwgzyL/6rSHjaauzUmUXnNyLA81zo7nSitMw+2MiCzTSG2SAT5la5D+3DAn69/6JCLKgPsafk3uQ8lYEOv6ndNKgU2mYLFjJyBCo5iYAw8ZYaYQIYjCnntstr/J+VzYQqYqMqWo16X8YPCFCTwdlJ9Z/sNBv5Q9zmjc1k05d92hWT3DXeEz6qbUcifve43bRvgaMvA7MXNVoMAzfYl8DPzStfdLQIB13hlVm+mG5mIjWM2TrF7aRpc/3v13a8W0zMlbGVm6TTzVZ62iQHA8Gf5lq9Mp4uHCK56thA4ChI16GRgHWeX4IPBTwnPziVkHbAfpLWniMNbi5yAQtTFi4UqhTpme0CzTkopjd/TFqXs+JNRnE0yZcpYSNnyIpbhXz2SQAcgeBEEkCFLPjLA04LwblrnEl1vO3gywNzbOXQHY3bNyirnrXJiMgDjbGKIPt0YCnQV2+T8HWYN13FwO05EssCZrS0zBJSulFeczBj/DYJrU2iHwz1CXHKY6uxHHHTaTiegVjlABcephErBTVZjLVm2hcwD/ROVrw4CpmGxdVQALwA9SSAKgwhEgmttbsdAaWa1Xo4KxwsUKNKOmNjDzrXYz76XPRjw/pg3WkqxGlnHg25dClvsSmP4aUOVilcFqdHD+3RUQjgu6kBk4DuEwJsYF+FJe64/OTdDGnvNvFNAQourrY5Dd3HKQt7t/YMn0xs1YamZlRLgXIYX/+2iAnVrFz4MiAUZjT17MOkldQ1ghQc4waN8apZMJLL/zyJXdv+OwXhYG7jg4B/ViCRJXthNRvR1lRk65rrYp1FVYf7yEToepvePud4tpp2yC1wnt3SDcvEJ7MyTl3ucCJTiYNqdBKLgocp/dhqjoHQPrNGC/12beIlq9L7G4Nw/Fu7n75/NrF7XItVInjs/qai+6P1aGRRz7nFzgLaRJ/GefiCia896pXuKx2S9REoOL48HlmS91ebTGg7Awensopp4sf5AjNXxhUKjrtrsUwaQDeWXSwvsoRhLCammt7myYb7PVH5fyz4IXq9FF6mFuRp9YAmijdhugbraf5WI7TmWJgi8DvowhN+IBJiA+PhylbRiWa8hkn5YAeb41UqiqXFg4ZuahZiAUzdu9CpSjHrMVuzIGe4vZe/kVdafMyYMzld3yeJdbKASTslAQJQiOz1riYvvIhfiJ3d+hmII4Li9SlvUlpeE+iIQwXOo/u1G0w3YDIx2QUzSpwSb6M7YQadT+T3axT9GcIamWLWw2Vv9hs6WwAuQ0729n7vM4VA+WQpvl0Ki7XkezE9+svfEmvB0nUPcfI4YfhS0UQEKtj6Q1inqPogWWziJz0mxZqcXyRjJRvkWaGEu5Wh3PKQ5awWIIA1DWnil+riIE7b3qxJz3QDB3XguxxXIvAHgSA7IzeiELFTDlBOoAzL8SBwqo+XwihOM54kKudwDuuxbH9U4cOcUQvz/IaWCycZBekBV8RlZRhO8ttQjG9v/8Y0NNx02WlyIoTinPRtI0ALg5DUsfKT2wIC38ZLOiTR/iPtR0vMMf8iou2JMjApNSt1plhox9yQlSjOjAXnNiJCd0nq5u0FZibyOZDCf7TXMFBiFfsCNgQK9/HCS+hHALq3uBVitFT9Byyy8fvTEqN5f7zh13He4BbQqURaHUzfirGXuAzJr6MBBG4A6LODZUQxUPWVr8pzMjuiBA8SKTM8zYku2+JDdI8IH/E/0Jew1f/BgS0M2WU1Mj2/fo4UEy1aAudX4Tglf/gYRBrQ7kGDgLyD5qvoSOjNlghJRATK4AGLNF0fj/uRzzFS4i4TNXxidV1HfLb69I6zk/UeyDcdTRNdoEbeey53ZX65kCAQPsfLbeYKcUJJOZQ3gGSsH0KJ7Xr4jsFadBjj0P2zN71LRdBASHC0MFg+EGdiTr4jAUHXFPfYqgwt4c75U2PqOdumIGSf2AYrOp/riD6kDeGIIrNwACDwTH3Hn14pRk9XSMbKRHGLEdnPSvzTeypW8sx0Th0cvuU/aX0BDD8kKBr0cx0VEVDaGZ3BGLcwnsk6KvL5Rfa3FD6tPrp+K3hotSfFqoN9Xbt/vXamjthOTPNAF/gMrEhKLYCULTlCK6leuBJOMR9yYsAW1SjVF4YByyhnAUMTBHQ2gEpqWOuiigHC69BZ2mHSNya29UDa4qUsAe2li1gCId+/hsPOtEGPqKnQBJMlksM5cVGh1sFEmKUTWme9ZrrnmnIwibdXqcvUh0gMTOQJF0Z/+sc1IZZ/hPHdCbaUc89jjAVOlBSzqeCnqfnbk08EtzmfQPChOTKtjOxVxAU76hR7uJit8laU0qTNEVomPcVqvZqEGwI3z7+xTuzETD87fB8dV4KVlgGw46CJN/r7cMclgbxLa4d23DjYp3EipHhdrKAWYBz/ZPHQEKA208e1jYm65JQiSuTDnZN086KCvry9Duh55TYTOmOfeE89CDjOddGhFF3bZx95mPKGxrHglbB4MsIulyhzUldAD40FN8HouPbjiQXK9dbHgzU9Fa/jD1tPI4OAie7sKdOTiiehiN+bQfMUxPbrR1D84sgq9xTE6QIRtiSgIgY40Tk1qVlnfD00d0hr248LBuJGtypBlGD4wUQ5gR+h4plLNLlQpX/i1OQq+KtrDUNTg4S7bj4mdhkfKOENy96/rKaaQ6HJyYOp9MbC23/6bcHGoL+vRHowGIf7wQxViRHu25dPF02+9CFOb9ooRP178pcauD1c2eZeYvSvkQ3MxeNfFyoZZViN8rayZcwl/EZt9DAa84b+Azz+AkMlGrdLZxkCwpivNGlVXNOwkyGIURq6SIcWwe03m7pVkiBdG0UjUlBS8gaZpiKJ1/Sk5wWDokzepKVv/13mGEazwWM48K/7lqj7Jo89uMg4+QvAaXceJQiFAXT2xbwtfjlhqj80HS1xNkwcz5bdWsqn+e4dLohOFPf4YJGyrHo0a/57K+61fdSaMweOHFhhI8FCjPekb7T6RpmR1L7B6h0110fQ8afEQMa5/lBDI+yh4QnMYDqaFr5jVTbTmrci9xV8gedxTZEOEX9UG69DC0aue+Q/ieZszNV3pHRd57IGRZqe14T49flHU3qP6Ow5Ly5EOmsTWLWzvWOJDsmCNY8kbaJmu0J9FfoOqX8ztYBazGJahs/VJTEqZlM/4Vvr9dkJ55fIXJC6cXrCUVVA0aONhijT3ys4sn6DYxqX5KNwMftqgINsLvEezj1FTxCJyOEYqH5MyWRzwaAmQ0p7ioS6WQPH7fH3AQUZh98Y6TjXtiFiavFFqPbK5th3zdEQENnqfcf3wJ8tkdf/QDiK33coakhhQD3CA2i6syg8VQSDKV2vqjAqrd/zOSHqno7NzVj0deVI1hIs7ca5tDcNtLwDiP+Ei0qFogTeZEXiDDAzPonsLTAEg7DfvSvMQDOlhAqTBigTtdp0DOjDxzTQfq48FGm5tUJvhfMG7vbqlmmypcpRH1Bqkm5JNr96ASyTAHXeMwdGzX8MebW3+Vb0Ad7MZzlUKLMBoX1z9JTxG56O7FvNCEFsGAeH6mmGXfth49fsgCgGbUpYu1zv3xNDmD+BpoGK60jnOmQhunt4GM0zqWqEMVBvlRKnLE7oKmx/bYNNaOJpzm1DBN/zreIcwVMI/7801ut+rv2jBWh7JQn0ReYZtBXx1Gf+26Eted0YyOY+l4kyPuDsx0kSyqXAC3fjH1pwZlCAM3Rggc0ej1eRQ+W5i56bZ+hvSA1O7b1N0xP1l/IuPnQgHZ4cB9zhu1laAhqhS8U8FyRJoDb8U4TXgu8qNyWZ5dN4Gq9B1Q/jOcdTa4hEjlZG75+bJCxNfC1PO5uDhrOT3V2OYX69Z858o3nBwBt7s6j4pMmJknI+FT2Xleb4Ve4aAw7gJElomYY1Tq/lSpDdMDye66etIYR0ACbRZIBlA+GR3w8FrElH+cd4prj9t6qF2JQMzW7jRpIlrchv6hVmRjMHvsjF4wg4yAUWmieT0FgwPDadHGKqWfdpxbEB6jbQwISnE8+gLmcGvNaIv0WnwkrvvuGROpQqbnjKtpqiLWvZXHn68g7pk/EBFocTBzlllOKwwndeN/cvJMvNBZz3v0by/XgWHzvvUFiZJvZHsV2eDpiWDIzeEdX2CTYr3jn9aVttVyok8ZrhbR1ADs+QAx9ygs8wbcI1CaSd0+yj5s1dUkt9bGBVHbWtszmHy1WAg4Rln3iMSRCmqCRXVI5HMYEgBdwY+qk0PEujdJjcQBdKf/sMpHzKsA4yEzhtteP8Na/XzUKLHR5SoWUouwBm4r3aNwUKRoCsWLIXziAD4NVbNnDHCgSOPMhFQrqRLaWUnl7cKVOxY7l2sTa+RQnop2sYJgvBJfIMmnJujhm/dibooWNOzeDJ1nc9A4LboVh916iXmMcSJOC5tB2ndYOT3Nb9LQwuB9GbO8cUdROkCaV04ZNzvqszmbqIpk3H7u3nw85jmVi4dbGkejazLRlmWQ1F9GQ86HK08ARGszyG48GMdR/SPDb9nVp5MNivr+1jhAyQ2WMuKFOmdPH1ZVptRo4EPH7ciOOnq8YDovVcKUaXe2hROe2IyZVMMMNn4Gp0SIxcGs7aUlV/uRzaS7jX/D8aT5E3eNzyIXYXNfr30TgI1cj0aF5DgD994O1MQFEMTwtLQfr/buQXWi5FN0K6yt6vNUxUdi2B2FseDdh+xPgK+3RVf0Bu2fAHzMfqg3jneteng0GxrBxJ4sFOoZooSa1yheYXiV3OSD/tDJDin7hQ39mye8VIdINbtvsmeTzuDYEZggVlmyUbxuJJ+ODEcsm6oEVPlHRHnb2VszsV0oT45YAAObgRr30qemzpQQ3tZRMzIBC68dodkeard2MeLfxln2wbV564KuRajfVyHi2VTV7il94obDjcw2qWUtqIOqjs9toAOd1MRxOlgvmuqoYRa/fKtUWoNwQ1t5jsLANjA76gUTyYMyCylgYNYQyAQrmDF4MA0jbdALS8t4+Od+kHE0f6QlUxRV00gIoc4m0A6IfZfJhcbDfmiMmn/IJb04jI6L778fSK+6RUmQByZQsa6aatD6B2tQQqiCmhZEzPQrwBw2nAApPDmKOdWbhGutRtElin6Jt7hW9i1C4Z9od58SV20tlei9j6qGsBj4rEYCNEF6fBbmKToDPN7Gi1WLVg8NrZe4aF3IMFX/d+ZSUHLFKITeWQy3GPojYvLa684qNaxaT4xQkvEvPZ91NwcaOGuK2IB6SZJjuondLsf7qEMB0VkbrjTlUTAZWT6wMxsK1vTbjJ2gY8fWwk8207EeohGG0EWQe8avxH7P9sW9dwPj5CHJJSpbueJ9TY0lftg8YgC9UQZq5XRJ9cyvLTnVEwdh/VrN5VkxmS+AFZys09CDpheSi5G978jDZPi+l2wLdEWOlDwahjYogTU/Z4k/GNPhhfFSSBGdeZFSTevOhS4O8NcEwamrqsP2V5Q9pv4qh0Dy3FnILrVMbwD0CJPKDk5frYW/Q9nRfcr7GRdOtbXgkMYeqyCzadpFwLNeeM9TEyMDjrz6xGbRlE+5WXQILxW4hzB3DrrFf4TXyOttzRmGf8xoNTvblRdiKTUYoSKcJY2IPWyEFekVexx+KPoGQW6bRhbqkJkTMfXKYJxHV1n4pFuEJQGQT2ujWMAWHNluXfO9yvyFyPUjf2DdDO6+mYjdmcwurqTYPp7u+9TWaVHQryFzGP0kQjwcBrf5RnVQ2EMfpzF7idrrU2tOSar3vEDDDU+/G9tcaqqCaSBfqU/W8Zuvtu12pjMYwIIF9BnEpyYZ+uzYpy+0ifRqb+jSZItPBSl4tylsVAAPHHcoFgv4CwuUsw4EYsHakCpTeR9sgbEx/4RHx5GHeNIDpwMgYKqBM962z9+PQe4dSD/5FxJC2SNaf0z47ia5OXthGResnAVp5h4XrSjRZacX44SR1covjvMEuk4xNfJCq284h17blTkqnwqrCu2Nrey6+uv2nn34ZsQNJf1XN4UF3Bpz8J0TzzjBrWztvvORLiebZ03ADR7as2B0KUhiW5fY42eXkpJS5EmEPJp2TkP/06sYYyGseHhwCCJiER1kCwVtXmx8/x2Cm66OZB9Ls3nKIofciJ+xHi14K2DqWY+yldesCyrtKRyRDGbtEnUjvfQw4J7DZS8Lm9Q+Bw5zRcC0/PJvAcHBTAmPVYCJD1O5QgvHvREtdfg8u45QF3mbMyr6tFZK7fjM5qQpeFy6/37sxeyDoI33cSG3BhhYhpgTewSUKJscGRaaLw5DfBlhUrOvjDERMMFkq/PCcHnu0TirmEPTNtZcH/ASUNObxAxz6aU6bjafzLwUQl6wHsk4XD36IW1UUmkARNBGeGVdmK6PSkOnFE40C6E+g5Hi8gABBHznRANQy5kBcySbPbQQUFQ55FEQskwEinif4IoEFQXz2p5+eYYpj+BypDkkcJpWVA3P82RBv0EWrvrhsOB/x2zoNCKWuhgLQX+R7QFWplai3uF3OVxByhXxz5VWHveHJeP4MRIXVzcmFJPHs831rgVkExJBbRRQ8N4REhIWjtn5VdQ+GWZbNhPn8mXZe4PGOJzWPtxGm4kPwEFfPGJyL2BO6GAD4MF7wqRXy/AM08NgnHs8nNw7CiJj267mqArsodVr5IzNvuaQKrIRJEA9j38JmPegzdDEeTLX84snvM6pOGOzw4wsEVo4XA6IfRFmeCbc05KG/0g0/idujDQM83h/Qkoyfy9k4/bb0W6fM8fj0l+mzhdgiDSnNG8TtOPq9e1d22EDc87LChDAkmQTgGg4g2z2aKr9VuatDXHbH0GctaB0sTyOy3KDiG0H1TJHMKU2X6ubigkwdzQj3LzNrchCNDtQvOO0A1pBd0IfLjey72YLRJzNr61UibOrp6/U+NFGyBZZR4WcpqHjcBLDQ1A+RQqjseywyCCBYKotZfTC8VmpeJgFFkIRbmQD8fW1/bdXrsip78J+pvTh8xDgh1B0/2ej8ocetFX1hO/Xu4blhT04TtyO+JaNW0hWrgZasxdW8b8u7G7yXYC6HYcf/AyaeplwYbwG3pI2XA4hTD+dDWtKkuG/Gz4xzVwhabZ2eWSUmpysdzLr6OLIP6F/rwLGyFTBI2LS4CDFllaf5E28MGlNRoy1qjacsbFROqIQXI89n9lLKsw6JanB+GrqImAp1jTDFXBwMQdbzju8ydIwi6xGfh0xtI+QUG9NZlVnLh4/puBSzauM+vdQLbcWKZCarKOQSYy8MtPJxOEjaPQfZLRYLWnuw+292fiE+FSxm5fSuVAXChUqwoJN0LUjondEJC16BYHzrWQWunJhRERisfA1NKwz4EubC1LeeKmRc/CYe2J/aILluSd1L3W2/BjC3hxIRcsPzjAoCfNwJP5I76SogSebqIIg5AR2oDpMQ6PPBwOGuZDKEmnljCZE2ZV2lZQTfNPcSFPLWZUZYHvsA4/YxHKyv7KE74lyHi5tARynOhrI/RKguDL+7msSEZ/MJvwsAdZh8t/faxC+h3VXx3kqb1ngg9zyJ5eE7niSsKB40nzPs2hz+0g4ap4MGx7nIenWx/ShgQt8kFgrbaVrpRzyjf7tbV/2Zn3LXV5BKeRtdqWfRjNLeQyasU3XYKaVxthBoHHN9S7zoERBKJoUytZKxmyMApi5WLcHJI4YUu7Cv7K/OYWcfP+UGF5uOZiZzRnRu7NDa0pXKoFOrOQHGdIB+dTOkGhuMTgxlyhcGrqMTHzI+U4TGcG9JZ15mr0aQTz1OQRW5JnR9Q1wIJPlOyU4IXWoYveA1h/HM4ZqR/5BK5odG7FST1uJ0c+AuqMhTDED2B2iOP7VNTfXJ7iniYxnX/qj4/Ho+7Ozt4dtYveBX3GTKJsppBtzpUciwS7BoSyZyjA8Dj3nnh7rWYtt4oby78kEm5YQOGj3T7vtFFwtG5/Sn6O+5E8VVaQXfFKbptmXHF9njTdhMfkNGAd/IRBihQWTEfnvYjfqNGLL6LaN0RJ6d6CTInnqBU5kZPV8DAVeuOHiwicUgxFUZCgN5kdlI0NRSrQuM5V6raxqTdAd0bLFqngTnoAEDjqaP3cOpYYsJF21nmr5BuhFLBMlbuGqUZRnhCiOEGP+RA/dgZ82tNad3utsIkC4YteHmyrPvf3RC4nayGqMU6rUu4z4k4A4HvjXCX0HgNlbwWC27Ev8ofU3ND1W7SprtndZIYBwKG7FhX5onxSRYrk5H2PkpFwjCReJo2aS9Szu5SRZ8T29uUZqo6i84g8fMH7HteXBrokdbw3Xkqwn8anwYbKF9YYSyXxMcchLYj5RnC31djlCv6mhQLZvgNPhM+MZ6LCsK25Bp9rJeFUtNItzuHomtzR/3DFmWLe9V6V2Oh9OA7OZYCrODG8Yhk1u7433WoNSsLQ/v0udwplfeHOtaafAvC3AYj81yz4fIgKcI46Xu7RayOqSf+m/xGtBxAg8T7Hksn4wX9ioofDOYm3v/wNAmk5G3MNAyK4Y1nUh891uTdAUjv8nRioW985IwtJdTDivTljNrmHKIYm7g8zCLo/p2XtNiDyV/Y5k+9jKRzD/d15LRLixZUheV8f/RCSTVwUeSGpQDbYp9ZTLFUchU3pvVKRowGftwK6nurIbLK97T0nH09KVl+n7IgnyiRO3ZALGbrMDzMfar/0mZiqgkwpGvLffYDebDX9o69kHZXYY/vxh7ClH8xS+0Xpa6jV4Wxckzk8w1MRZ4av1+PmvnC4l4W1NwcyYtdzabZXPh33SPiVQ4y9ryHKOEmohapEZTRvsIbtF8NBrwSi/7OnZpHay9rHjFAxh38d36ksZ8FT68zzbUQHS0v4nFGlePGMXhZYIP5x8aUuJXQaNiYkiWX/dFGQ6UAbSBTheByw5WKAwEmrxlm2THoS36nRYotLoQvlUFlxMoE75sdBkfGW+5B2DOEE56vyO/mfuXKYitwPOGNtXKTdHh/Co0QIa0sqkeykkVgN904y2hQA/p0yWPjAWI/Vz9WsxcHlTff7eFYzH0Cf5qsfbYOZyY0RX3nBe+ilUoyuKwpmrmFfDsq1NIfYr28RXdV6OCDbJx0DRAzQze0aMSe339VfMpdkCI2g+rpvgNFMDOXKf3rvPVpOPdbltrtxRd1dsdwyhaxoa9veTpt2iY8xf46PhQXQmoa6SXRykYKFz/PlzFudgpN7lBRY2x/tBoBnH2uqG2WS1eD6r5d5mRNzi3MRcL+2ABLRRbJ9SmoCLElPJ5pfUCA4qLO2L6wNRYZ1dd3p6dfD0KhJxXG4Dib9OmEsDT8HgNYFsWZGKlQZ8Ml6ej8kkVKYfM/yQymJU8iwGl5fO6Q63lrW+XV/klfqePD8yNdnk4HsMPWgYl3+q4l9gvQA57QnX0Io89VeFqRHPdsyhbXFCdKVXX+c5NK4Yd46js97ZYDj4DBqLr9jdUa3NYin9tuGNbVS/KoBF+ZX23p0yYPBH//a6mOw4l8VfokNlV0riGIdTNCiWC+WGewAaPr5nixNzYfAd7Rht3e8s7IeqwjXtuAY+m5hjwNskHe+clHWSh2XXBYapfHPS6fEV3aCCIuUCSXHAa6DPVBRri7xjxVKsSchgWbdmVU6Zo+WkFjs8DM6PfsmjCZGmxi085vYh1o15vwZ656mUshmhX1WX+EpuDvAwnz8uFS1DviZA56Dk7FKVBwxs+1HsemU1ad/tGG3cHwhNaWtXHIKcEWoxTVRoE6noSlfP44ggwII//I/poDjhn7W5fpoN88MFs0Fgs3BI3T+s33+Yksy1yDV9c3n0H2/zXaPSTCp/bj7ER3WNBOrN2LbFxaaMcqmaCfyGomo4EyYoHiNfg9awhTkgRRamANW/5Nt6ESj//LsUlz3mwpB27v2XWpKnGXpO70QkIyFQyT8qBN5osyPBwcosFlf6sjsN96ZZzg0TGNRQpbIB/hWHmly6VyL62KbcOT0s6atE8ORQn0g5e4kPLYRhEkSW6q0s+qeo7FqtWVQo0rfKH49MeOlo5O/TnWkB2Qlt6wQIZWv/yRwAc+jH6xyXmZysLFC6eLh2IeJ2eXomxD44akULs+LMg4yvxb6atO/3aDg5mw3GSHWt+YtOnK4PJOjqsVNA5fB+PMzJyJoWxGAzbNl5NDTq0mOvtl2ceszBDf/pSBl529gvh7hX7d4dAJRWo3pBbjBhn4+AUe8NDaJrN+bEqPceYuc2D6j16tXm4oBMAC4d0FiN9v/DOmMv2UimIwU6q+61g9wFwZSEQ4QLwzVUup0z57iijMpiKjrnTSv0IOxlIbamWp+29t14q3sL4acR7zFIdrDIKZPvQE6NzIM+qmwpToV0apXWQ7/b72O4Fon5hiMh63rp7wCOgfSuCy44o30h2FWWXSLMEvFNWdQFYFum9lEr8+s3d+ngwePmFJvelPwVhGHDhdzy82eaXZ8CtAd7/eaH3DqP9LeM4cvK2ASKE21IsQ1/lF387zZgpJwLPqnBT+T+66PXYJU7N9WRBq7z255hU7xeTSEa0QmODlIYcr9M33LcIx+YvLFFyML8SvNNvixmPHBqZsz5PiZFMIBiqp+ieW7FRTGxjM2NJEYos842h36vsVfmArmhbTrVSASe82rM1Yg+lgUIJY1e6230oMw0EcuiNqgyNL0m3eotPZGQAXZ+eitvDsKNsZLU/FAQWkyVbxd9LuLSAi5vLz5+KLJNDy83TDSLxr8f2hnotZxsbBvVFcgsc2+cZTaoMxbBFwCyKwzWqPIuCA86kDYnAG0MgCTSCOIXxy0uk92o71Z1HOpNMetH65QQwStC97j81lBMigD2ES2t7AwKR2Ni1DzpYpdoJ6kQCusOJyEXYNzo1PYMePEebV8wjctrSSjRj7knIAuTlnX+4AZtXUQv5g0HrzhacX4LwOza2tl2FLgx4uxwmDBAlx7vy6Pq/w0NlMQ7QzctMyjz7Al6diP0pBmOELBhzA6nt52LCBKMRHNY07I5K6gGiLkR3YIUgv1YwoaiES7Zj1gX/dxY1IehFmg0++BMld5Vx+/qlNvgwcs3Ud+0DWBKNmDS8kQWKQPax5rH6PTO0Y7XdiS+A/5KH11TKbW17doSPVyIvpLi/zvxfBnOwfFX8cUHB4x3V2jcwacY5ZXf0mEMlt1fnvv7OSqRgPMfrOyVEqDXasiEozk7DMLFquCUlvZhKGkTkzDmTR1I0HiVkEX4G+t3HO2f0Nzl6VAIQpxbGlX19OSP/KUbv20+zTO04VuIijgzG528fBeV0qmULrqg4Sl5icNf6eQ7f79vneo17pDOVDJYhJcDhTxk7XJu0oD5oHWck9L7I1rRr6vg4ix+wJFobnoQMf8BxA9Xg3MBYZG0CC7RVUTIyT0A9ChXveBiV+e6TYUQwUgSXb2xKNB0DAOYRqrUDWkCbeQL/QnUtCj+mqMKKf6d5gr34eaxuvvb5gPhvNoPRIgy1771xEbclAZFQ5XyzuL94keWuZ9wedl5a0mC53VpyjYa7R9l9dh0AS8X+Dx7KAKLr5CCccEB/JCo5wziAXRuh6tRHG5H+ml9vhJbCvXTCT/lQvcKahSe/NcBamOIdQgufsFlEb9/L9succZ4S3OrnD262Xh6jijotKw6oL1ludfr2cimGzaZ7nnrsDtwqaQ+TzONBx5BoRCdx1w227xt8+Ev1yTEa3A62eW4aI6YjDkM7lZarmQdgjP2XuWQWW9DkhzvMUdf/oZDI2CuITERae5+P9sOX/mx6ZQFdU4Q/YhaNnD8zYfRsbHeHKTtlUj64EFbYr53nVi1JI0vf25yxBAduVScHJCIIpDXUk3qS3q9Td7mCLllljuMnU+9YOxO+POjubJ9dSOZUgTgQGizndAGPwv32mwID4KLXv6mjQGRSv/z7r6K9Xa/z6ek7erIIGP+NgAsKaSIBQXthH48XM6KLHBCPW/eHrOxqXzwPpffbocFVxl2ZrY48mYArJJyfnSI3HlAoSNuDPnUqDVboRbTcLCJqR1IPmgl+QECR/CNyTkBt2nVlZDqDSKBBm1PnQSXgEuDP0L/UYSjXChZWdk8uEk2B8wh1AWZZKm//Sg8t7xHsKKKCWhIF4mvdCza1bot6JcPXJjVAh8SeAlnVrL/2mnD9cRNb7ZAPCLqXYwCmGRW7sf7/pyBN5aNF5qEkpXFr0ohdGGCSnncYuFdyaOKK+lLMxupweClzY9A6F9zZG0f00FrE8LzgitA3N9SEZquu+ts7sDGZLB8MkbAKvN1W6f8GQuqA+5rD8ZRn7Tj1hWZV3vYPFNnozlmtf8IXrSvXyMI2LwyUiJTyzY7rLHSL2q3eVYHhrMRL+xWgQ3Kj9ExmYogd0eCPU+fiEX6QFGnf7PyWzc5JjpsIIIMD0MymEavxW9UzwgTYjbW7Z4xypKb1SZAFEqAn5xC2KRgQyYV2Jivw4VPZsYIQts1T8ojRux0nioBSx70640FY2vZk851AL6qCDWUANsjNZXwj0AzZtEKSWZ4mRMFZ72dmpkoMoDvEejtOcvvP2VVSXj7iaIm4nbHZ7HHFxCzlK/zGotjf/VMCHUg2GKs09weMtMyObjx8FoRCfuPxwPgYXHjRpoHfCfd6b2aHl3+PJauiVtSvTK/BLHYxnEGCpyhfOY8li8BKsXozLSQqBgOP4A4XQeWpjv4BCLG7UMTtMYnnR9TKyadKFAA4b3cssK+jpFmV+Psl7dvqp9JMWypph0KBgWtaLbbxyCCNysSm3j/Vav5zSNAoTovSoTQp2SfLFLTCf12c/SRIn+BD2eGMojMx0BwV0QZH9XWMz2+PjQ2C8vCLZAzoiJZomLhpZkO+KoSfxukd11J/KmlLeq719R760tfXcOEWGfPN/9MwfRvbtfnTnrLFRxVm3+fBU8bF+UpdW016M7ODu0MIYfJh+BZP/QjkkXKX+nchuTlL/qWoatIgQKy27VqL+XgtYDUXg/t8yTbyB8wg9wOS2XhelKn87RANz0RKtHRo2SOmUlAacD+H3aPmKxawSeAWLKrURGYMSsm8FZYidapq9GaI2yWh46TIvD2a+NJmyOXUadXk1DMGadJ90XpWAGbcxFQiwOLkEncWw5qaRv/8tcanpWieH1vkOyDmymZJDuL7ov7bwjd0fxYhlArbdsJw1n1NB9/wkAAL53hi+r1OUjuU2VO6TsjsEv0qEKKV5CAxV6rp+wbYFCeHpwdR+XiDlrz/5jrxYIRQkyg42CgdtkOBq8BKtTgFXHqMQgcrYQ3d+zCMlqwtJCUB8uYrgavAJrE4zu1deKwct2Rm4FlI0e3DkW4e4xXmCV4nNp7INi/2ICrT2607KyM4QdItpvDOmVDZlYHJmwG92Qf1O0Wnhx15Mx12bfVG15gEtHE75+AgIgY4GjRzE6Qmw6fvgWyfxAAI8AVcVcbrWurnAPAbcLOjYL1KEqLpomksWziFBMWLOM4uEe4+5droIUrrrAWFPstyRchlrajsVlG0nzFgAL87hMo8EelqODPaex8EeHGCNJhqGLgDpPKAMnUPeNQNcaVZVvRSiavrPo/VyV8E7D5X05uTqxA6/qWU171/NarR/p6J0tOECmkJLpK92nTsNOjBC5jQrjHpRwokeRG9KAqtAA+MH67Zho6pTxnUePqP750qePVhLhRXXzHp4LKAgB54oCIUOZIo5eliGCFGGkv27Xm0kKEuu56/a8lWFAcrmysEyOnO6Iq61Kr8S/0A5Xq5QBDl0SMz4EPzEUA0H3jkqYWHLIVSYnmY7x36ReThLJxDtPvcnNamGDnj/5Q2+oDfQKX8mUEfkJIEgGs9+r5ikifoSbH1FBP8/YZ5Zm+6gZ1gi+P0VEuzsQL+1rEIRKzTp0NzjFNc1ARttnSVbt1kx3KJltVUTQk5ATP+4z7ToYEePkbqQ/WZpLkzJ4557ZFItbmTUDBUOr2DE6Cl5iK0Hk8XdXjs0+JkU4WZJcQQQSr2r91o5yU0ZbA0MXzvxRH7Lza8LXiCGc5ETwDEPYsylg/YOubQw1mONAHCaQcTh3KUP6bqPE4WbXTu7OFyDzraidp1CmF86vX11XMwPhL/+M2gt+m95RDqxMDJLF6zh4p4+79Fy7BiBeKtNaaDiTTuY+5CeW6pleRjgvz9opWYT/QVQ2DD5pnGiDoRIev4AgnjHgUvNIUL9MrXJBT+L/y8QKqwdRWbfiMcvHJuSyS4mWRVrW3df0FVbrjlCUH7YYcZOJ2PxzKXw4y86ZM3GIhW1EIKktGQCxohQUOj/W3Tns4L+SNjlNeLIXa8AqbSHOYyJUKDgTX0dHnFe07ZnDfjNU9WxsqJk1ZKGzccg60B7JJuYUJnUHHZNt92SDBzIpXVYZeHXboIGhwDKvGQ2B3JP9vUWSuTgFkdz0a2NtOWCzwjZ5exLUE6lTA+2EPUMwTgoNKeCd1eiyT4Me5PBUU8ydSIFFUeQO1yoeVC27BqSDka39k4n4dvZMloSVjSRz1BsMkOSOZtedkitKIROBC4FymSN8P+SdIp/y+UtKSefpNHvn8CWdzQis1s9qwklqKsFTIPNZCzPaU8zk9IJ9liWJVillj02ABXD9Oy4xDpkv3t93uq+qIVoNuK1Al1aMGYXQ3OTzOxufT5x3fMX2kNsCyFNlJ1+thxKfO17WKEQ8fKZg3/FpxYlqNTZRE00lUwp5tYHuVAmFapqAvRXbYgHUUjDLgawyFORm12x9G/V1tuuj4ukjZvFgjYbhdkP/ukkvLMUBeje0fUdmeWxxsmHit2f/q/xsSect3dPPEzuWMuj41vea2XeiEBG+wzFzucGcHjYHmHlOAj/7hFo+eGJ1a9iqZhR2O7l5XK8X48IyEcvGURLrzcYqAogZR3+HHWGvrZB71nKD1STKZBMyc5JH8HBPE/LFFsKm1PCEg9lZQLBntwNUJuANUz4355pb9x13bAj7dq8nBzJsh7wwDp5pGulDekiZC8DJWuOS1quFK1eR00UUbWmt4GgGuao13jX6eSKVKZvMdllnMTr3e3rT9YGvzsVIP4kbPHuOsvwQWJecddoWwOScCHBA2BZcr284CmYHb9Y30Z6kggmgvd7sBinV1HdDsc2Z2pYHigxbUODzn+tHyPIohTwg6x3uMqy2BAKVYylXeHju9hlOoxLrPP/6L0JSR4i10Wg12mLdIpuzbGP0XYJUtwf2PD2VSYimHJKRp9JUtOsJy2TWc7UvevXfK5x9dCiDbMZbW/AZgCe7A6PeaWK9tx1UcEoiIcG4L9g4WzbNZJ2DiY54kYCN7eqenYyaSJsgA6T7rtEa/Tg73YBunsnqVksS9qxRmvetO6JYdsqstrjaNkX1QSlvNsXYhNWc0zTVTDJm0IaFsJT1y7HUORztUg1rAgIRhoawWNAQ/MHI4YqYubDb0fpaq17/lOW4YxKfiRoTWdfq9sbp8PEicbWAkdN8mtzdSWigVBBvXHt6h4e6TTUUEqH9MHw+LKT50sW8cIpgpk1quTABFXQYf7kujBpOy91NPEWzRu9Hv20QNjhBRZY902tlCGVV0jbtFB/TQXB1lSCKR/jl8OznHLoSg4gpF60QF879RtXbUXZP/h5g7zvLWJxHe5iXAvG8KkW3QgcREKza0bKG5ukWOxhHP0xaZdTbYQ4otSb1mr7qBaPlvDy4uC7gi/mrkNlzQJzn7hjEyZ2lQw7O6X5LQeSfVL+CwvMl0Dsn8xnbkEEWJT/VQcFmXvLzo9QWviUsHiRj8Nc0MyyTOGeKFrhb48C7HPRPqM1Q6figq2mRTiL1GrQoSZ/HxEO1J1aklHaauaCzgkM5AMXttrJSnnkhC3fa/ejEwZ2RWghGT2TulnPdnhjuLUglGzGC3x2CbFHQWQY1WY+0l92G/zmFdt9YdPgcPJsScBCcusT4YTpy04MDcWLfzk4UW6xjX4lI9pXbeJKJoOoWjgEpJ8zEeUbrTzrqjQz7l10AOl9VupLApHVF+T3eFiQclE75/r9QP9xF1HQ2IUN3S7uQ0f1LYPI3c4MXP6WWMQZB8yH5YjaKftYadJCaLPJcohkrGLm9JVB8j/gMCkdwbg08rR5fa/FhnRxPPCJyJfV5tudrzbvszup6+JeDDFjeaIIDY7Z7WOp+KlrYj4LQitUz4dM6K/4a3rbOL0bkDYRvUPooVqoSp5YGvOOUY22x8lZSkkx2GDVrWgyysr6ngb+6SbjPsVou3aJtKfpr2tgULA0fHoXjhTnUWEFWFfAFn2qf7p+Dtlrb8D01Z/Zy44wSpCRgjLrhDaVCGrdtDuSA20KvM9Hy8ICQ2OqcFidYrnE/neaCLEvfMiAxk3Byv4zhFQ7dcSUUTwfHTwahs+7rkNfkwnb3TY0jq3unGqy1SoqoucBe3bs5jp1QmO8WwCz17RdTFVNYGP725kc2je3+UANjtaLCWJdnQmHTA5bPKn9GtBE+bkZvPB1weoLhe3OmBTUE94vhpVsL6QT9SsVW1EKFoCxClJ166YivLa7tGvAhuOkjpush4VYfxRxn6fE147R6z2YIPgI29/LM1nZusdGOycQKZ/W4m1I3zgetorhNiwFAWT1xpdriMU6rCTSB+2EWghkZGZJfQ6V+RnwLS3TxLvObeh5UoZ7LJcHiQeOMfAP87wLaH7ng2n5oyM+OF2yCK3mGcQQaVf1ag1gSybWXmxSUogRIhkrGzV2AUL4TjGJZl744TDk/tvkIdAQT3zXzPhFmqLoVB4BPoue/Y8XEZprTXbONrIASt5U04kyVqxBICKZlVWBspE2gYmx+EuTylrT30WqPSei3YBjZk1msnbBwCrD/tVj3ScTjir7InGJblkf3v3r3oLGc9zVEHXXlcoBSd1IY538STCQBneZ49bHVYJjtDs77p4QCEj8H+R1X+LX8B+OY3/YDMab+x41Nbx6J6kYNEDFPCQVJ75W8SkEmQLTM0MW5X1LAWRZWcbfb+W+oYiFU6QweDawpRpT0qF8RPWM/yYW8/KhNV93eJMFRiq1CvsXB5IQ2QPf9Fm5u5pRoxQwRkysxMwWHpcwnNebN3Qu8rx8lV+hO46QdRJCrQ0lc40VmmIPUfHjuHwjuQGE8Idx7O3VfdmcEZdVaZCg2YxlbdScLClv+oQGq9u8CxtcgQyP+Z4fs9EqqV7H7fNT6NSy2AdxzDjDa+uRi+pAGu2JUgmU6qITEkjGkYLkAYTCh9vnWqgxgwcnqPCkH8Pw68d3PCoW0SXN5ndPDui0vqpWMmjZNtmoiY3D4MI/oxYdMkBOhzRzo7TPg3bAHPFii2Jp09MJwuD2VGiT4RQ+dN1UR23q9DRMBgOchd6L9C9AI1xaHaGilSFr5vFdxpt5GzhHYIjSxkF7v6Uz15WfiJzOApGNlGlEWfGdrlmDttMWZOI26LLPhmt7g3ZEimTEaow1U5asiYIF5O+vrDrfJpqRhQzOMUFCF9GKh2Z0SbnIMm5jMyYadxvJc+pIrLMDTvXR99JhGdMOcC1fOHEEIThpcw6QGkpYhKi+4PKbRSWDtD0feB2LOsBQUTF1E0TD/t016WjUlag8475hoLJJZmtdYHuvRsk6BxLnYXaeAdsKTrZURP++F2FKFMluNLKvHTVnfo2Q7IYj9miYqjV8cny/+oU80kGmShLc60Q5totD1hcuOLCniO+FWZfm75uSfps3ghh7dg5Bw03hHWvOnA5qEHud0DXc31QkrmbLqbkK9bcyfMXrSuUi3xbFxA4g6l5NEmrVQ1lufEPNy8Ji76aQHS8s+y6wgGstokxMyRek+u5lVfSyfl0rJW/kNfxlzSiQQ2ndRdnL2wq7VYZ9WtXOhm0KI1/x9bcZsunKuMK4lFqLy59C7KnmKnqeAFrAOCPyT+5Z2CS7O0hu9rqNK8IAFSv99MwsHKqWytt7wDUQWBoYWRA2nuUHJyrKsq7izPZSJ5VV81i2LaLMJnKnmQfvRx0iYWQjNBLPXwbKd9zJomtQZF5WDWJVDVys3cfLFna3xC4sFN8PzXGemNL3fPgNsVAr0N/rWXUgVQI39OnD3BcDRuiZyiyU5YZg2nM5iR0sP2aEd1ITIr1na9rFuw4P3vnNWBGUTDEqqEj2kFM2z3iz77a5fb8hJ2pRcV60MQw5s4OIlTDdGo8jnIBRxcljRs2CS/mLCzXfqVTcPG5DYNqxs7+vfixP6AQd77mM77S6us/hSAg2BiyZX4OB2xWHw/qKDqeeianBMl2S3A3X/Hx5m4KcAQzW9SXgnjLcr057EZ+art0VjlsvL07ULSVzspo6+XfiPyWSw41AgwZ0C6hn+OapT1qxFtpCTvylzYNE8ex5i1HiLaPPXBfljoiiCC1upztSPKUJcFTQ3Ra6Wdt9F76jR6xLzJYRSALm25kzYeYMou3t/juTmbiVOELpzxsYAH35Vm+gLbcHBkvviJD0vAx3QIxwQXhPY8/AfrgP0IdhL/t4SUIYlVrgnaaFJaUoOu1Pw9t5p94R1nfywsMdjZBFX+p9p/Z7MOCxHclnUgOhR4QsdnZ57crz3ga+erD+k5deLv1qQdcmuFbL4eG+3Eobn+1eBykDEbCOKx3u+jM00bS5gCzuhIyPGuA/VZbZY3aUkZhykcG2bRP64744k4vmPULEpT930xqwRDOIpyk1eCbtrTbGCgaUqJ+TLetYbJ1+EqProgUsEzXELPink3SbD/dXIJRd4rZPuz+Ol3krv/869CWDULQKthBEigc2garoZH5TOnx3nOBe7QIuCYy4Wanavs/9n0dKPVM5E31TTyCdFc9xq9KgEXyVbdPj6o4FsI+iKbhvNa4qCdFZj8tEwQHOHsgMQ8HeUugq4OHS3JzH+C9wHJ7MLoSY+I7liTnl0xKSpckgM33VPVfm4h3QjKCkEkhWuoyYr1+r1K9LI46o1IaAiDkVSEBhufgTBr6YicC+lAT5VgtIn4ZND3tYPwKYEQE4nhgLf2WbJ6dk44GAobJuj+7FAwJqhBJVA+j8nW66RysBW2KrYd/CSDPs/USMSt3fQj3+z0dgJsOSWndbchEYtR483aN4sEb1EMxrb52+gwsoYMBunQAOz/rbq1foVN6rSfpmuvhxdrLTfW+7v01geLXAy+BSDOyTRxzSYXOpu8YsvYD/UJ/TDhB6Y9PbaKoho8iHJAh3EwsPQkB2PKeORR8oY0/UoNNMLKKWKzm17ESKHy1QpfORV+dBZvOfKcM5jT2KpGcnRCoOLL8WDKmJhusd7epn2+ja6o3KtEkxrE4DNl80C3pmep+m+xLyjGf0jYuutIAt216OehdevH9/PFX0b41FjKDKdWynHtKCIc70HI2llKfBiSpp9JUudxi/9P4/1WsbttNSpHyvku4WpMaX8I6kYo91KVt4HA7AxWtplM0PyiaHCLDt0k129cg1HKOV1Ny+e3cQut/oom//An+Mwmi8bKcbEHsD5tnN4ioQk9UL41WSPR5VeXOqCdw83T/UN7teMz9CEje9cda1JweA+99R/+HXJyDyEFACbvxR3umHW3z3NxvHFWJAxnufntvsJksqp4Kw2tDfQZLRweKEAAucRHQaBuDiJX2l+oUFCTtlzf85mV1q6y/w8xTjE9/0quBbIdYcdCtMMRjtoHzVTWkR86ijCmXfjmI3FGKvBb1dmrxgZOeL5sPwsO3AxmkzVi5EptHdP5sbK+77NPACDjfN695Wp6+4FF7579cZIe6gTnUK2iMcNlbqvyqQP+Xw1inev8/hUbs733kvSY5bm5OtVs/OV1oB2xnuGSg+fYGoZnFUMnklbUTIVELgpRLS8X00Nw+S01beciE/zgESvsDKhFmzWoaINrU68Fvs5pep91cDZ2BetCknGEky2o9/2im7oplOOjmGrCEKScOyH4uvmmdAFXGi8utigzRFFIrxHIM8OmyISOLMvxdyQm1xMUIxzDYADs1iStSjPjF486A3RewCchPi5Yy8NMU4UtuJerKMHY2juppT8tP/uLB6tBYCSkBcxnPFf3OQhTFsrhpyR2DnaHsUcQWRXVp1BpGQSWx7lPrS6sZKbh9R1GJPJ76yC2Yar5oW65pJvR6nexg3uvfsWJq6QW8NULpbLMV4JgMKuLrdXeBeHek8GRDaNvbECKwkwmFf4K8bki82YFa6KskTxeZe9MvLWvRzl1EC8eXxzvrXbXT7c4dZCfWqPtNkjn4sAQN4OmX6KhA1z9dmaIblXaFVEM4sgxLyrNI6BesZIysu2MMwrEWgbRInzTygmw8dmbnm8iFSFZenGK8jB8iuSN9o2BJl7Ayk2jKXncSaZuTxa+mshgVE78kwbTHboKxYWIUFhdFEYNCnxk/C6XaN9E3FEE4HSr3ve8J+oM5dPLSJdNEus8p2QJgZDThDZP+CjqMshvXay2UsXafacr4f/J3gWeNYMfYJT3LDlNyDIstZFDucrBB+rMGyLwyuiqFUv+ZmP4qlRvCcirjuGkf29TeVh+ZZjITDlN49M3t6Nnz22UlQCXmKmTaHKiXt32Y58CSXzA/49QxsHWylWJYPHJdlCbFKC/xtzjEnVCJQPrV+BMXX+NKUzUmNfs7Nf0DW1Dt0y/5yKLBlC/h/yK8fuMx3dAz/eU/mCmJCIrVGAueDBp2WjCjf/MaNi9/haQFMe6fIBx3GuQNjKaNPipk0dWHONMyMbblfweAaWJ+4NB1wKjpzNNXdAJzlVpHbEnw3B4wmgjaHGODzPnZS4mDEtLMH697aypRM0FJbDXk476A9RdgNP/dsyqmdal48MZYNcXLRmIvad3RGjTDzGizpVusZ1HhJ04m+bNaL9O2lxwyrTEdE6b3EO4nxceG5YDOqfBZPsc/R9Xxo4gcaqwYwbEHCYTqq4xyeMZnLRS3vrpmJdzymt12fv1VgmdlSNd1FZOJSKqjHk2dzpEpwVeSHieseySZweqD+dgZaoTGg7s7O2ptPRbcx5+Ui5JSmxpTytwb4TdFeS2UqVjTJIZiTIeo3KEqlzPRlVHfGDd+lNzJ8gMnxL8237ufXvyZRCEdVcVo2sdiNnzM1a1hwa4E03kd0YHPrnIJGBC5IrdBFIlOeJggAJngWhtWaHCnKdCi4fw4P83YXdYJWbzO7bwnL6XjV1YuTeLOd5uqkI1R7DiM3paWrxNJCHYz7bigKBZcj69cGC9/5bhLv4rs07WO1tfZhD0CCak5CoMDC/nYi88VvK8ySGtF0cl7W3pmgcnT5RWLo6EmwGBqkU4Ceht9pHmk2sLuhQ7yQBlSVaG2RNS+ozIRjcIwSfjh4Gf815y/Fo35p15oYNy65IMCZ8FtVyEAThzl/Xdvm2Z2ty8Qr2mIdqceT37Z4EzcI5tAPgS6KDqggc9ZVmoUSHhhWsWQBaJyspLT0mBTE5sg0hQx6lBQTYhNZ0It5GdRnHAIv4BpZNlo5KJe+1Ka+lf0bhBoYXUOuHByZpEc3Na3NJPZAKgC4UzPU1H92pyYsLx3afjJ7h8MIjIXkie/tobd5Otz/eAukEGPm0LupQ4Rn41CbC/f0lS2PEQagjZ2VIU4NiUGRJc5Il+Cw6ES/OOyVX4KSFHOwIBn1W+Zf/kXJJll04fVNPzeHR/tJB3dQPvUlw1+FZ6G/MgflWRjP5lBBaQpZjdPqlJpSZznK2BlZBf7EyCTSaO3VhuEm9+4yuRVgpl+JPvleeoH7tVZr5AGuMTCsHqTYRVF+5LXg6foqEzDv5ItlLdHixa/MST8uzjO+x1DE+xMDSQ/Uo0t62HNOpB6bwk8U1OYqBRW3RpEQAp5+XEQg4IdJRWnxgoUICOFEU4Y44F3+jcOLRY42sV2ChCVTxgyWG6MWURE6raikl7xpaXOGPtEe7kJ60pGbK7sMWWgdv3YPTvZtBkS3udYsvunagCZ2YAx5ZcRixx6eIXaCeS2zKqC+P8Z8sGFuCRiHtgaOJWWKzNMVOUyE93F7GKj2deVGcNpi79RJ8xx9MQA/e30S3Zlls3UgpLo2tSyG++sCgEeWUfqRiHZSC2bv2O47wsHpWZ299K3p4UWoJuClxwXu5vtyglClbFIA7iO158x5F0MoioWMoufO3UURvrwy7vwTEmZgoR9602rtkZ+Bg2kbeKUCwxVd7/q1sOZM+/i6+HhS6iVjdjIymMQ2wDmfXHrUocpR6ftsriRoULL+dnFFQ/oPJ25HsHg6wV3A+Oifbkzk0mmwO+c/YoH0mjs5cxR16Ilxg53DE0ZPABvtN9vncQthh376GE+w4cCPyY1rhV3qQlTm0SVw+iat5EitD4n0VnyiFACmyYRmyIJETGhUgYfaqkAurtLQky1Pm1tfE8U8DnfXo1RFKu3wTy1BL3xJtdgYIQUD6KP9hxtJWnfaceEbvOUekgCs1oXsLHKrViGu8f0ox3JqqJDV9BzQR8voL4U7OKSz6vEco3YTduZsFCmQhoGwHMYmyo+++Q87oYq6nlYUYTNBs9WhpiM91J9wFuJR/pLaDCRdu1LYzTvlir57eqBNiT0HM+gWcpN/KNZVfFPM2L8JwlwcnGiZ+ozzuLiZVJGgraBdfbSlTp++vOXWOXazBccgtQY5oqbOiHJb9PXX+nVxHI9wdABxfw3EL/uTOBrK74dbBd0JYFGellE2VDVrziCBfXY77N6E7X1vXIjlel4mL0QSIftaB7+RNLIu9EV2LLKyRcldF+yWSh8KF11aRSYQOH71o++T3GlAP9IX/hC/+t9gUu3wWzfSzMNsKGeI5TnPJu4wZVrpRL/T1ay8dUnDSPugi1PVWOTYJtTUnsC2xcXBIw9ySWVHLkm2M7LFxfr7BgprPvr7asHyJJ/LpsQNrR3sipU4jWZ96iG0HJnRIq/UVRJHeAkh2sgsXvtM8C2gzoYWwZQut//3rqQcvzKEnV1Fn/UdpjOo5TL72mDdN78ddiA5NO23llntfoSCclwd/kwUzJIYJIm0gqa6tWKXdxlclDlfSObvPDQaqZTb9LAbibANpFvlsz5ryW2goh/NaJsyg8buH/z0OIfzfSqPXUqHuJaj9+rF9i79uldKUzpKqLajUDAs8FepsfG3f9XfgxWwItZHZEoMkJOBWVS0Lrps5FzjIbcpQjWZf0a8oq6ZUAJnWkchlfqHpGT3w26go9hfyswYC4smoDjQVAIrr9t5HFgzswOtUy+DZuciJPsoevknzYftdRGEzxNw2tooSFTb52wnUJaPnkYc50n/RMDhYyR3nqL84I1ODYe3UqUY0OAaAjsg46cpeT/rqG9KgjMJOIn9HnQyt8HNJ5vFvv1qn4AlcVPbm7djO7XFrmhqiifR8U0bn57YnHbk8Y4jb1sdp5toAesiDt73XoXSZu+8LQ/vE3c3JSGhgzADcAZ5AWMvC3x38yDXVWBZALN+gJ2AwSfwzfKC9kQrcA6jOI4wn5g5UJzKXurC9pkGCvhtrlTOmAzeC+CAfk3G9ziOaXSRJUcHKqVmV79QWUieswDnT3KY8HgAt/o2CJ2jjbZf5AknyY/uMl3xlkL+FlbifbUtNfMPpEjLDcx2YugAR/Ial9lak+Bb/nNWG6JbUmOcxenZCk/GBQe3L9JZFlbC1p/ya8/ec2JMPk/DW6ElA7FUTLuoNJfFe1BaExhriwp9xR4eesukk4n7tNTWeop77pPermBEKLjiGnMvLy8frDfmm9XCP4bhESdNn2imATAVRExtR/qhZECQq2DMVklMMQVbkKG4U0rl4//35khWnAmCBTKCgsqQ3iFRpxiQRYC/TeyMKdoW1mP1KXxWMmBImKgbLxnKq1zNZEQ21FVSWEQ66+LkSU403yvWm5QPy45OjB0z7nGODI3b2SJ3E2DfQorR6Zt7ryj4cYGoAoiSYPRy+mQlDU2SF6SeXds33OxVOm+oV2HdFX2u+l7cfQiBHfW21yjlcWElSkFMPUtehLyyF+jZ6R9qLqqGbWePEOD0jj8/U4bOp9ASC/O7KwWSRMLG4GZoJXTCFo67PnT5Yq/SuIxdDORvxufkg2OKBdZ6HUu2MV8+2ClPzz6doqdQkT++tqgz2aI1JPcnJB/aw/YR6I2vkGEqAJabrVcvOXvCuSq5+JIfDQSoOn3dvbDQ8tra9rZdSo0zUpZPHiAg08I0DcflW8AxHnHRmuTFpAIfD5NP/oLP5rcaUJlHJkr8xd+/LtaugqICAPBO3PUX9nK3CUmbNjlQxe4vtbwF9ZvTJfzdb/XLw40mJHqEXAcwTfX/ftkos/cX1ii0woTTK8NBUtspsTzZcxopcn46kUXwB01Nolh5iVfKLY52tNIHBuvh+rGkpEcIBu5X7geelilMaQxGescm8wb16yiJ4Gx6gEJ1KNn+V68ymiq/71r3TUGBlRD4IJNTrm3sZYNHEifEH5t1rJOSm7ldx1gF54ZWocHObIuvnPPrq+6qg1KldCrNwx0i4G/QpSeaSXMSEz9n/nfb9O6bNW6zOTQAiIVT8JlVxWA4WI9V5eQUvpr9+Khj3dnCU+5aeaNfXZljU5P3/332Sv+usRjvyO0F86Vi/b6UOEfuQ9upOLd/KMn6sWmaft2Edilsi2NUsaH/7JuTpFogsKsfqHXKTYO1bhV4eD2VbYNXVndWzvEeJU0WwBb3EVm0kQw9eCM8++KGYnYdDjhFIBvW4qcTcYzVVDPSBC2o3MtnlffchINtmVjjEINfFBNGEpWNixd7wBCaDcAq8z4WIdtOVpjktpyH1+9DlL3bg+aGONGtkcYz3v74Ni1Mjg7DwbUAchrlCsg2GQiMz2HxxcbSzXLomDfbLTrl5wmX8O+TnksUyf2bENQYwR+/RlwTdxBIKmvULA4fCfJo2U+c/pNAiQBF+s5qGUktHWDfzva2nbTLXRuS0JAiLJslSMgDUV9fZxtB9sltPt93TZAWB9I50EkKTCsZhK/lb/NAby3BBmzKSlcWvXOt/9IgHvKjjk0iINJPq5v8iBsQuwx0XGlSu/fKq/3C6xpgks8e4dKKFdzKGrJcYhNHhYlYESMYEn+0KF1SkYl+ZqjtTjDDwkau6gRnuaBE2VU+J/06nPFAp+Mb79laP0EizUBfkq/5z+4zTxl0Uu9idg1bIn1mIjDbY//gXucECxaeygw+oWComFJiuOP4Jn79QhF4HZTXa05sOVuC9y/BEDuEOTFe6JK6Nn6vwCXyFVmZnYtL1tCnbnA18ASmLvl0szXixcEaO/cRoPRI2Id9cLM8ANUY8phjTo9P8SymNSf/jrzOoGtJWmi+69s5xlXk1oGCd5TRh1R0GJweUB/ToZgurGf9S3SZNIfysWZZ7oIQ3zrlvydJjonTkrfKCFpvelcCjxkUi7Z7mCVE133LOXwgc6BKnpXrXcKKaV05njjWl2wW+x0Apiey/pTgFV3O6PjtckVHDtygEfUAg2QYsKQmPfPPAPcYGwhwe5TX1mnIShU/MRy1NaAWo3/37CgTCdzQFq2RhMLjBhAwfvY1I1dfGEICsEjd+IUCn4osfupLC9BsAifxl5nAPGCdf4OkJtAB5vZGm+N659XJfbFluaOajOFy7V8EV0c/FbI5U9znrKQAf52zbmVO3CAZ9Ktebtz2Ksc2RkncAex5BD2DmpeHlIhug0McatDMWCE5fNaGsdcryvaF+gjBdKO8f2pekAU1mq8cjQj1U7+f9Ggj/nQhQzGMUKC4i+BlMjOHREeb9Rgo1ZktnJMqANpRelL2T46pmUGAhyDyOBqRYrzrE7UKhkdRBmcK7YF9n13MVDRVvRbJ4b7Zq0O1/TfXEK2XQVV5/AVa9WRd80dYUZQ6pyFSKCg8bb9BcdBhkGW7MUTujYFblGYmNDF09eRM8QWf/Ow8GE/cA5d8h/ukSm+iigO3OaL2agrOCVP2j8S7AomeMVUbz5NcIalZHgcbIJwkPY1IXwCyR4pDxE+w0h+pXcO6hnvPV/JM1khqd+vlfiSfpbpQteXa7fUu8FTJT0yB36nPAb6dasqy/KPsWvJhw1fVqw9aomSryqsth3DecezO9bJIHDqmJvgkL7Zk5OJmgQc/66/q4gayCyrAOi04hH0geDR7FcQ6+oGjWKozPtKv8bkuZzsPN6PFp/Vy0SVWCPeP56Dus4Y8qt4WFAqwz1I/gWdFaMPa9Y8fqK1RYgSEctM3lirZcBuGhGQ4E7wGyoopIIuGkk8SHezeACjT1YUmToY4vFlfFwjEGSDUBiA7dn/lAxjfeh4ot3aX96nKDgAKCiU1XVZQaZzJmO8gKDwYqsrmKT1s+AtUzUD6RC/W3sjJ6kPqIOOPEAI6FLfO2F6DOpsOlbIyS3W/atjY3oAUGy/WlZScLxfxX3lYza6eBUoQPtaoa09dOCNYFjxTPe7dE4DM+w//dwpDr6gknTWeqc5bLJFT+qGrADXoGRX4cQlJ6WUjJPhKT7ogVqNTNBEojWS9IzH71A0D/7L2B4FMT9WGb+cRjgeCbLIUWPgsWM4SFj5k+uRDtgRuFSRf9mLCb98vqruOzOalm8W8LM3VEZF9S3JhEW+AL/i1/D06XfOBNh/d/5zRP5v9WnQE+imkd3LYEUno1fFQdetgnbPY5hege22yVBcfaCy3OQu5k4EyN4z/1VCUuo5yzutBvfIwzhl0T99tgr/gkI+NTnwu/9VXCuxNYTExCinly0HGnMpfpZX7hLaeQap76YY4NHX+ASEe4jSXrzby6ma1f7qbaVCFvQplog2wGVogvjrvzvHfAk4KzRzsDcA0LEzUswu1RHwUanX253w3OgI2Nk+x9K3u7ADaDgBFO/6xSfzyythQITgS05QdPEO5bkXjPQBnHOh39cpxpHJ+ocpIvyhX2WRaXB1pCYl7yQSlQJaVG30CKAD4X9AV+v8WIwKpLY+rLyXZnfcPb83vTLew8rFISOgMrl2gvo9mkmMyoHWaChpkCjz2fbbQ79LsISCGczQs6uNVboPa+dsyavHMi4U+vCFLRehFqgpB7BlgepkKa4BPLMbO1Aw90U0QmAjXC5ngsPVAK277EaZwgoM7LfSsZF39HfVgvmnUggciSjEiIkZAb/UHAxg3okWz0txt5EAkPWDvzb335TLomVx79VgwydFE+ysy0iNxEf3dZuze/RHtYHMbpaPZF/khYd1VYbVS9GBJ5dkeHfQC6+y8sAtrVOZfj7K9jx9i6vN7LWhy0ILpKzt4TPAbysbAVF86ymrByKK8xuRgdp/yi8eCaoFo+z7yQ2B52lcgurdkcRrdmqrRlbSS2VMHSMzRqAsi2RmTa4BKuT5P56w5aIAU7pg86KgS+ovh+j/obQ305a/bGA3pwjQ0HNXXXaMCZdvBKoMogkuHgOBsXhPlnhGzf2yF270et5/BdsTjO3pErVUnjDFULVIBvosA6Lb95u4tkOruVD/KXTwIcMG0tg6M/822HyJ1LpjpfJ5mDjLmlaoTCmzPnpxIWodaISgbzIMNSf7IMx2Tu95AEa8IIQKpxO5PHeo4wiMxw1uOUnKVmw9h7CfUHQrJPPkSLe1dZ/P3FHh2qL6YzuRzueCa131wcVnhhPcm3b0th0olRc+RgPNKwqmqIHNibnh0B4WFGFflvTOnkpRnFxZtp676CQCq0YYol06uUPRWVcYmj2WcZ0Hos1kIDiBv9S2lFqFrT3107v3RMG0PxgMsCFnZkt7/9qvNlGMeLC8q7BDp3NBMt7oLPovMOrJ+U3E1Qo5C9uMDYZROdPIrradJxgQGg5zbPQV3gjVh8HSSJuPfcNZleapeDc0gAMS/jTULONFqivyd9GJmJHbFznnU2UeXwOkTg9CuZktK1l9A8Ryzg8eKv0AJvlrnjy60fPLXQGnjisuDcX8X9iRxJ9URjnQ05b/QiPZsmnVmZrbQIBB65RWkjwhzjjcq4+MMO6cEpgWWUODnnqeTMdCHPk/psVO1zMNRhSWt6EVQwZ0ZrihAacxlso/8LiBWrtgFaBjXCgQVy6Viiy/YrvC1dUeKFOAPtmH+l+2/+tGqgEm5R2ZYpU31wvX7AnjFojL//B5Lj6glFM+jGeyZICtyTwTv73cvRyJlLxMteARw4E5ahQByw0KcemvbZYr/9MQ6NTGJ17qg9I8Yk5q9dLiQ4zLiijna6s+vwCwHew855elo00Ydsy0OnrM/aRiOWS+SyRy5yUVpOIrBGNudMDNHlCGp9QKv6QiQ62xe4cmdsFaAiK+16GsSwY/7Wz3JfnPOlp0VFDGDfrX7hhnOYqud2fanbodDL5Tv/AdZ4j5Rv6L4HpU8A4TPXZ64GaowGVARsorimEz0G+es/mORjMgb9I3Yo6VzA42DByt481R2SksmR+/VNY4E6XQEn5F/GOza7gmsjE7iKhq9Igl2IJ+5IuSOPfxlzAeDEE+k8kMCB/dGnkgwZqDvD+nSpXbp7HhfJnFKhfJkTE5ztyRx3293dM67l755BG2oQrZMWVIK6lNtuvUEsiB0Mo0qbv+rycGN/86DhMivRxx178hC3vTTj+zfmC/6+tJiBX6IeiyaZiRD+ZvcspdgSipZAvYRFvZxZxr+1ckGLNJaoJXPNUdat71yKc5Oj/Uqc/UDtOtxL+ejxXQOPHHXsVGXR0dn1hoiQmH35dk6/EKzUMCLFGRVjBHCY4f/7Lfzjy5IcOg4Xi3EB9B3X3/bX7zK7zfJ8JK5T2UEkZcdPGM+ZQ061cu3pA49wiU0LB1QfwNbZQ0encKZp8QmpFEuT5ohnJUhdbwJhYdHqpsH1ob2eEoLtmSsdpb72PQo8Ca8ut7I3RLwLW20fBLUSUuy0yMAWJsWWdzxQt/oWkBHFTg9QYIfazc+1iVWIqfEyrlGM8C0WSymT+6jFA7XbfT4xw8koVfXgKY7KRVJ3Br9gfu3Ec7lT+Fppmy5YkiDf5C9jNT66JECXaK9tEruIBbNAFb8JfeoYSLHpVJtMGuST+VibsGN5kuoHLqLKPkK+kTQk9TL/ZHG2CYiNybCvHvAOyaCt/+DXvGnNkxMNuSmoEQRQwmOpWauszsVnqCrEf0qIEGwZFczvyUPoa0hIbvKvy+cnGNuR7T0jqmggEYqIyvRY/nZytWr+m5g1/6NsPK7qeo2xWNk1uSaN30F1+bDuDFh2kinMJtjByXZfQSA4rvAx/BFD5MVFV4dnpPBemxjTOFUniffjJU/BkrZZyQKnke6JgDkRQGXeqyUUpkAes00lRNAFKNEUMZMWTf9EP2xZIkmI5FreGJe+X8vuSjb/O0zHJcfvsYWZjtEwiEEAIpRECfcDKUbrrbOeXL0WwDiJS5NwYNTms+EQPbZV+jL7zV1x+4Rq6W83shXIlE0TdSCuWQ+sTuVifKqOAX1vVSadw5UqS7UO1LfKFdNyqr3vyqTZqLgCbmiBeJhZpbG3yuBD4qCwUX9x0tLSOe91DXrZJTtxTPZHu3ErXAwhauC5kZCOzKnXaF1Zt3sJsiSV1h/FG29Djb8LskPzj65FCRMu8nTky0V0zy4kZFBx2y+66zcxSX8bQ+sgCb/AuoS2JjICE766TkwvTLgwA5t9X/3k+F2nxry/3rfTFPAaeqLz20NABQub8ZI9vQc9txlji52ntPcdZSneGYsmsmR8NNlwqDkkCnDn8OwmIW5nXGlm/l3Tt1Zg8U6xPNVAiqzQHM43n2rHrbH4Zj9jqQKOzNaYccWSLByoJsyE3KLRuZccJLoNrZeIfAHp2/mfFCftnbKYLs+QfjE66H6/BUFIdL4rOh74G+pO8rEs44H0S9c7hV3mstEgqL4HVQ2C9HLiGMtdROcnyg+l9NOa3u8AqzCNO3FRq2IkoMjKj9HoX4DnV7DmPotfOhDaMlW3562OtWBLvlj7hIKyKjk7TJsROFipfiPcVOxuBYpgKl+ZJT/PumkL62gf0y3Gnd4AhTT4k+H6SKrDX8jYBW3JFjRZHxFJqwpp/jqt5XSTCZraZZmg3FKEOBum++RxIuLSd6/8ZeOOd1OwZWt4ZkzuxMUdOoStPn+LIypBEM7wFFY37pKD16wbKC3+NBCgelBoTiFxLCUsxH1YVnj4h6iZhcUlKLePHKNYoh838J+vhoklxcKN3jpRbQny7OYN2Swsy6kpUranPLh1ZwxAmhGSLC+8dfwiQOGT3XVVwXD59ennA+GMJnMNtnEmOR2iHLBv2DFsheOUDRv5LYC/QY2flTHejie5r6/PMPxO9odjWE8h509j6iiIuHTkeXhWoPINgKylCgAToEKih5sSAoCpBbeHsqD+F369D4qUmPTbYf0VY0ayG0gq0A7uLPLoOhS92sMiVDJ2SKE/aRrq60gwVPsh5p1VGcp2YvkVBJmVHpv+nn0E/U3XUaUb2tS6wdEDIT/q1ZNi24EvfPCsQnzeDQrxrio3h7Z3/eVkdjd7Uc2rz1cgzq3rAjz4RZw3MxIJLduxOjY8moGgsGQQVuUE0JoNtiCT3MnFa65cXdKZullg8ZmlNlSlpBqjAihtN9LFou85Cl/iCB6Fn5y322xRtMzuv4+FwwrronkeP+Id/3zmf7mpqbZ39oCsGOE7c3JxI7GnW9Ypus7Yxb/kat3uhpCcb8Nz5KZU3yFlArtOEv5erT1ARTYtgA0pjQ8mgKxCTfsB5wmdJT604/8WpgW1yuplyNLFVckUpIeghZujVd44JEqkKnSMzIb/uBxDzWJnpaAASEPpWh2Y4xOHynoXqkJjUer7YJIgo8FjLaWfGRazjRqOJoBtM3LftKrwooioL6ZjWusGhFQeetvDvw2pclpU5OmO6L5u1tEYHTMJIY28Jmbid1FopiaQRwJRHkd3Ct9fWagHwBujKU1RnYSWQUjEc3bNmtbwt+tDauPVOfi3LjWp3ejPaJdjqLbnppofGYE+eOVXgXNh7YX+iQ0XcVdcmADf1ZD5lIqeL1Z07IPo55hPMJeTTprDXLzT0UoHUC2pgi/iS3r0Sbx8wWX9LyCBuBBi/K0oMqHouwAigPtW8lH2xvzIGrrSUcXGHAMLNKRByBul5Xbo1bPLBjThQ5ETBTJNhEbzXZ1LmYAt+uNTIdn4NDffYeJoYWCXQpY/WRdwUS7nLIsaFA6PA4mIXfGcehEcgTXCLaZyI0R4f0UATJPnIcqF7QoUbF6RO2//cKKAJInhFbI4TUdvLa22HYKPGLAVlJWsQLIEH+hcwHpCRhc+NcyquGGcqx+/AoAp+xt67vVtG4TZo2m9hUVBuB5dpW74t/1Da/7QkyNDZ50RZz09Yo1HtQBY2lAShir3zEL5EXeRIP8AADz/g1A8dntuHfIPjrYR7tvN9hBGrqFI2IejSRGrWbOVUtUFEgUzWV0pIx0I7Q/KtvQI+Q9vgY5fHs4llluFtrDWcR42uZGleir3h+wXcYi6+74uahALLFeTNuOnW3/LZT4kyfLYZZkA5t5sqhkL/fEUpzHlWX7StIaO+GNUDI13eFlqwjhsBqjq5vtKq1aqTT5jXj8d7SGeUpydYwe4wX9AXWjhAi4cSAd5IITLHNBjQLQVrUpYcLojCwnSKvBL5ScOWwbvdNf2NB2Xpgi4+TjbhA1DCY+/rpMkdNAvFNv6fR+xNPMI506Iwv7fDVBvwxq/diJw7hZim30uVT8s2p008lTQcclcidlAhAGXXIWpUy5eH1lE3c9G70puPJF4m8h2Z7WH17gC8e2/Nk8XGInZLctILrA2z2ceXbWeLVpFv2YlZFyUjVPlL6MkllDiXmHP1Szf/254vGHSohT4gubOHPrqkNcYhTkD33KINSz3gX7o79Auv9Np6/Wve6RPHb1KGqBGoZ0zxUjFY6wTgowT00uVQQbhiQHiMl3Sim78Y6RNuprQR+OkvDAMKM7vKucwTGQdGoOlMJTwekcbqvu81RcL8RW1XcjHBfyeDfiZ82ThGKwwKQBv8144V85VKZMsGzXMWumS1lTxiuI7xaSYr6Hg5i8/3qPGBqN2tyVWKkLIwhetH5SsBSbx4Ri7L95b7A0M4T1k8+XytswRPf5BF7NmGf5MpuNFhIbvu74DhFQ9AVmyrNogKTEltlAavziHuiOk6Mh67QeEJWDRK+ixJcSYnHQA4+38+2yr9wVm7Z3tcoC0lkkV+guYznlJi+53pmtzLJiliZmqxPCKwWl6gAVJ1gL8fW+tue6hboCSkqTbquOcrYeR8h6PSA3Mho/LEsWbp3boF2CwfHIv4Mf7yjn7VZj4kVmgQ2EEqhJAi7n5ADoxICP3jzau6qjYKRDdXo3reZ4jGtzsd7XSalFNCdqyyX2+CvOHlI+yqp/MnAWcsTxvLn0ASOI57wlClHpmx/hvvr5q4U4Apn1XnO5Yn84REFrYm3Wd9rAfX3pu5eeY3sOO4pIs9zfzZN7NaIyA4MsYkYUa2yrveZWA9t1J7H1+bVYtWlUaou4VrAnyD3/gpp/ufgSmttVg0YvbPX7JQuuktIcMDhz0Gv69HihqWv6z3rswKoPdEXFDl2XhicM0wxmq6LIWbJFQdn6U7gVgSb6pHRnEyvJ3aTFYjk+NuEph//f9SxK0DvebPz+hsT/e9y+baZLWlE/0NpjBy6dCuQ7LqFPk8ROOP5gFncyyI6wfUKqgclDOSnsagMvuJolsjnuhIGGEwaC9PtPbciCMUYYstjxRbF9gXfdy0yjs5ncmkatPeLVNGbtnRaF45dwEzRIAiJaWmXXyfjOGjSLRAIt7X7zBTiBhln0vvW3Y+lzxdSRZsc3vBXTfoI3Vhd05FnvwR1nUV6Reh/w2cGvYK7rm6bQ5jDPg32hPsjRcCAmwLDQ+onrygrSeqh2cRnPELeRzK4A/jyht3cIWGtTTM/NC2OWe3BE7DuiBdmrFAnMH/poZFZdtpbFY9jSwHRfwAdLtEyEaAvvUGRiUmd+X9lFmq66Wo5IGEko4P/rBGr65gzxFkR/UfTFf5bpbkaNInEH/z9taAV2jGzJNwm0WG8nlq6Ber5pdcZMlzMx7Dlg8iRa4Oz0sHryUUQIjQ16GeEgtcJsDqDUR3eXjdKaOkP5cKqM+M3GDkVfGWYN/VRIYFj5m/gHpy3yi96eV9WiPNIquhfr4NGIRNed26CnKhmNF+dNs2mBHSi5HeaWBAVcUP+BMxgikdM8QZPszLRdr1gs5x37rD6jjb5AYZR8b/9LsFLMgVnvr9zm/rGN4WyzQ2Brd8GK68wVFEJvh7gax3GlAHUCEolLpnIObjkkmM2i70kw4C+BTPetKfEjPhIorVjNbEpvBIq+Knwd1aIh2Gy28mT95y8Kj0c7UH6GeYZTIkIoYC81AXCggMmTmdpCjSfIyNMNxzSG5ePiWCNl34BNruNDrTDTf9ckFJKayzdAFIkyWTMS2LW8VXe5J14mJ+MiysEH1aDhl8z7sj680DonV9iS5R4nN+N+Luk+FedYm2lmS3XoNUcwxwLZPGk3YiAqw+0AJUggh63YGaKhJQiZF8bxZGZVMiqQCtbu1g+n0bfJUNfX5JM5QA1wQyNDr6WhU4DQ1ISQGAi1CJryofQKp14G10ymZHBa5SGE4+iBxoPi+KInOV+MWi+nanw+w/M7Rj9yjiHzJxN39qX+N984FxVarQk2r51u8QpL9bYd6Htiz2itDvnrGZkGC4z+1YtouYQJs5wo4WZKCjMuoAjJQWA5ODcSCel6Z44hyUWm5Aj1tIENLPmOdN0Uv7Mnd5YYzuykLWsxQ3lhzrkGMtBJOSVy2Z0DUWUyvVVyeW8PQZ8Dltesu5v1eMVRaboEWjBsb8Fb5+lTOXqRgv/I8NNoYcUbnoQskH1tnD9CUDNXllsHAZ+Tw8rGYtioXvgDPsWZoVUFbVdKGpZpi5Fc7rqt+djbAVj2RG41PbWX4N/mXYu/ySOBXZ+z9IcSPeYLpI8ScpcXuMdO/hI122MI0wHuM1qMcuyY19kAQ+++e0ggwzU1+6RoFkPWLi0xugxr/+kdC9n831ZiSFger2FkyzXXmzeWtm5ZttVxy5wAp22O0InbF5uaUGAJ+VdiXZN2VeIjybQKKEb/l6/oPOGlZwtXysY7g70M8qTJXkXPS4NLL2Q1Rcm6tgx8hOEqp/PvZzaduy1E1kRRFZlgknR7OfDh7zGb+Q4jKLsYKFV7RkYLEo+I7WI7ByHPZQsBcEgtdRiMWOjyJD0zrP/ElQA0leV1+RmDGnYpjnenEV15/yjGDLf6luy8YTuzC6oRiPYgnCL4GmK6uDXCn4kmv3Eb09fIWfo209BuqbhFNSA3d8ATYwvZENSSeV+GubR+8uBtlPwVFHcyiN1Gr2U5kwDiLqbSV3xkRHv3ei4AKFCkZS9RnAGOl1euw11Y0lZPCvKOqk3pLZ3BtfXdkAsaKnaGD8xaMDM6aCbY6S+Cl5d7vT1BOzlcravA4Nc6HP+lnz8iOM1mI86x6zvkaBroV8xEou42WidaDcYBLfs2L6mbY4aqQ4m7CYTBr5N9ZshqC5RQNG6RmbIxhtOgRc+OEcyh+nOuUkp3UT6dFMfF4ifpIv599HeNxyUwh6YZTnSVT3YYeNlWmt6B5GnCvnb/7my4Kgcc76FgNKV6FXqACyFfQ+IJsTjMzziOd0dWMApBVzsh/+n+S1JZdmuGShr38oiOyFxwhEuMU0lwzCg8HgLLraZCSMm05SiXG3yjEwWkxI0j5bzdldHMdx+nyJn7a+4OuNR4atpNWGMh4mYKmyfcLx+p3GmiUwLmpdwQdYptvtaCq8tJl+KqmitJtAQR4//DgwHLzLEfmqk8y8xC2mlohUXja8P6ev93vuXw54eWsDa4f2h3HXXjRtIDLpWcTgfRq1cgEuWBSvNOcjtyZOr6bfT/ky8Ox0dpv0afDrRlvoxKKMi63EqNy/+KhhkueUIq5BJEIs2xceAz3A2JmU4hqIoBosjC3oqTDXAkU4YnKFS2QfvJ7e58wPu26nBL2bY0TzrBpycTbTmgWkCC2QhRfetWFei6R76DiuDBG2OorPgl/U6EtUmMiEIDoT+CgZyn6Cz6QXNvjf8+ixoqRbxnWLci3933A7jCvP1ZuZdaanrV5GaPt6cdsLHlWEVwY2XwYJJ49eXqc6bWuI1aIin65lh+0Y3FngLlt/aXf+BNsL6ZAJ570z5j9zYN2F50cY7ok1KoPfXM/+IjwE8aDhBS7MmORp/2r6z7/ij4ocKE1anI8dxcu8X3qpmOSM1M8FD2m8sdkQIG/dQoOrQATS7E+hmSvo+AVnLjrCeWm9fGYXC045Xm31oqlWRznLIqiGC8i5w7HfTMYjkfq/KoZsLVCcl29eZafEatZttTj1HPQjEMiHVK0bAVVQGbm+D1NrNnoAOy8qlWNfCqI3UHszFx8jpwdb6wJulM+kMLQXTc6J163DfoILbucke3x1jIQ8VQy23+TSCIFXBe3IXBd66lQKl62hVLY53Ywfd4iuiihjNLagTpOdnwadHU/kvKoySEH4ku2n6kzYqOg3cT+duSTOLtp0jsnJ2A+/8sr5dM0St7Sgf8vV+h3A5CTMBqSeZu5fFuCmrj2hKkqmuPI52seEMy+ouFTlEHAtRroNm6gK/1pDSiUi6CYdDOl6680hB0xpagSiTs1tHZfCNJggPryjNDKDWdlgm84auVPBmMETsCPW7qxLiZ8uFngwxRnLcjkfhoOrkzgKhA8takReL/uxMYRl/TfRqIihrDGF9SgB0iS78LBA09DnCMWra0nDeVF1yWeqil2lYnAUZblRDOnBW9MguWCSA3uxePXjhroJxHlkWe8EvpCgn0JJWsLZp/gnzUBA+F/AtKa9r6kxQFvCgpZq8vRxBvKpymjtQO9gGAD011yEayZlz95wxRlEWJ6JXi+w2FTmheZxLBWD/aYAQa9yVLLk2a/LoBIdfGVqZJ/19Sm2ZpqL5qE1oUQQdXc8aa1f/g4ZjTrVYPikHV7/PRvb/fzE+WFc3Yy40hbrrUmy9rBGgHWilhhYrkBEAtTsk4uFi9negiQzi3TR3tDFONj9D4wV42FP4ehR6i7rUkzcTK52qBx0/794BUkp34C97CltrBkviHHi9kMnmnTLHAHt6ZJuD80SmGWHFLtE9e5TRX0uMYAdpbzKuYy7/0UKq79W/saVu72aM0IUZ7NvjG7g+OWbg7V0SkHxZ5QXwJ2uLMCxvP1QpFFt/1oe0teAY5v41MhvPopz5NGx1bIlSzVfw1Qp41CeC1/WhwVbt6MsCaEDT74dv86t5BjZGJMH4bEtbWJE+enpOvV42H1RqN2ZJ2QCJxWWTx+oKLotp4GVwnIQ5+hKKCReMadjWSvJldernb2d3SekPJZ75h2TEL/Z48JauzEG8TiDRk90zzkEL+3vCPjxgIeu2MWg41iQnbAjP1bvo+hFWEyf5eFSo+A+V3cmllEZHpX0ZOqotbvxf7cvT65HBryaWgTxjN3kc5YVub0dUve2e4brwNs8Vmx7EYXR5cCzkt6X8x1HcksafC6omncbllj+Ab0pUqLypTiRoy92llbf008rOsF1QLODlbFv5QQ/4JAps33etOZlvlBmc3ZCKsBrJCofStMGJnyGkO0oQZJOdxLsjo2qr6Fc7+zD0JgBFZTmSEY6v/TibaPkTLZmEbmf5gL8JEC/G15uXt8qgspUDLdvdVCKQyqvztU+3XKy961nTE42IYJIOiWid1K5nKgROwIK1Bcobqd1CFx3fYp6FVoBez3K8qerQzBMjJzg2+0GZElwoaPv/s+U5aRzeHsJ/j9St7FDoUUpw1uLTdGKLZmWKF0E84MKq6j4995vFf1EUmd6BkzQNWj2iXTxM/aycIEyUUWJdn7abteLAHODNLGm3l69YjfcL3fRv7RuCRHyooMQiMbYSI/EV73+eSqqZozh6v8CwpDqXoaXQ1SKw9S2VLE00Mfc6pmnqBhxBsoZ+trXbj6joFYQmSVdIvqkKLipZ2WXXhulzVXb/iodr4cZ2XBKA2gGZYmMVgpgdJdVHgQosL4PAPWxbCj8MSshRUaDeq41xUXkUEbP8L1HDZahTiHu6piwCmj1JhnlHLxOHePKCALHslafuRbAj+GBhrTwfycnmNa6U4Kb8/SlDdJKtXTT5Y95wSZIp45afb7JV0vERnHpd6gEpuJ6EHjvVJ3TiDlf3KvYJQRBAfcHqoT+AAOAMorhJj+BUVn6BVwHt030dH884aXoHebeheyF250C5QjPeflOMdjzTndpOEsvqNWUxFUwwjbTdld5h1fDsmkh+Sz1mEu9koormA82XHF2kbjq78wBcB1xWzVuQuYi+eACKU7d4v2xymXbBJhYFmClFDkKW4gSzFM0MCFLXC2LQP6ON2rjmukWQVVNTNgc1XC2ODPUftleOSOlAl5ct5anl9h/rn8+wkY6zZPVOtB2f4GOAsoGOtbyv3gVliTS2wqOunoMBokzB/kaZO/I7V/MI8KShtiu3wT7qFg7IA3YQw3g4fJULs729bafw0V1qsZ4T5TaWQnNYdOQTLm/If2EDGw8dmm063lt2s34knhvK6B/hgoWq3Bt97m7GtmvrYljiHVjdqFLsO2y13wiQA8FfYZLBk0k9KJdNWkoTGBYhKBCg838XQM7+C3Q0+P4+LiRO1SvecU7xDl37X2OFMLNM1MG8GrbAYpQUjmtaJVlCeybniA64j3+Ag94rqGAECmSIHMuF0SgDp0PKTBa6cAHjRqbZucKvIcLS2s2rXxyk0uotxVYuLXvEcTPMVaDzYOCkEaTu7N64Dwz5o06PSsW32o1n73ExRRIYdayQSVfEDjemsbXhvBQOfWYDJKtTETreIZgfJIePnns8kq9uMo+6O68N3EBag5/gmZynolvh6BN4mNyJ5UMeFNg+JtneXhshdF11aPN8jw0dsWEk+0KDwVXYXiTqjwcg5X5b3kMikqHj+xx7uqLg52zVnHBMeueUUi0Y6QNKhE+38PIyFp1aPZLqgKw6Rvr7Lronba24zeMiJdSPs5jlVN2Yb4SfLr2aTsLFiZqJ2Pj4hfJHEZxdUXRJrN4Ks4vK8VwUQwqt1+ZGjMYHYuqOzD2xG5IniziqOGJ1bokFUmUdLTMdXXMEC0mPIM001FL7O54BMRYr7rGZ/Xhbiw1yZgGiwHExurXaLhWrcRbtiuJLPfdu/kjrRWlsjB7GUxTLtwRWCjdqIhZaurLy28hkJZBm0H/RVfUdf5OXJGZ+73LsZRAgVz/sGBMvzbJsFdWnAUH+X0hObvCgWi5GPIyjXmE1po5Y/uk5nex1+BpgNHuhAT43IWD8XICI5FxLleQUW1hraLaa+VHzpb/jnI3VXzLGrfqnh0Rd74MiYuiAGDPQYV+E7PDcTtisQRu15eYw5mgYnbib7xJxOjXxyYbwpXAdfeb/HX4PZbtezddZqCbr+rR33DFtInJd7o7SI2P26J/TdBP9t22kQnAG4ekKucUpgn9Iqn/nIX5ZB/D+bii5FneX8jpOtLSankTSVO9o4v1smxu89RNPUgAES7v55ltdZkpQsn4aur4ik1UAP7UWnLucdi1L3lahnl2WlGmq1E7dNbagFnJPLq8WvYwil0klsPLsbYOiRQEVfxGn9IzgIxJHX1DxoL1FAxD1HbEmOHtNYlROstWV1cbFDolDS+Zz+yx4UDKAf5sNzaPdDDSI7ALc0xgCQ77BVRPTQ71OMSb/myMPFqPrhPBt7UXONHFPQi26H2+SIOYw7TvV/qXkos/jx+Po/ESP7q0JbDhRnniqfgxxi3RO8DXJTv48DN6pZRygAWmbXtSLIzc4oJwI5ZHiJtP/vr+fqAzjriFahOLKXBia8jtJ7Y3J2IH78QZ0+D9Ct59iZ0rAJoPazQyVgICCaK1Jzmluh9pwu6CbmVceVM5fB1hqUNjWuPejr3S0HobiKixO6Pj7jsJ3tW6ejVTNZwZPvs5NvymgXi9wPNTEzGh0Y3Fe6ZNUJEQ0rFDf3iJNqsaFCFNgtSBc5EY+9q5DgbOeVa1w0tw84z0uaKLl+AlajJqdUoXoov3HuJtXVoYFpWzTYYmFkKmwuDOIGvg/BGOK6hPnY01+tLsaz06mCpd2Kmp8Yb1eWUAvC/bCBUDvCK5zwA+qGwxNTbzT9N73lVg0Q9fxRCjRz9Y1UB2TTsqNWhi3hGftGWZVyiMWPHqf5wF45JV77NnmJGRvE+JZi1DleeuVzqr4+b6wBir6L2SkqcNhiylOtQnKULW7ZpFMzM28goCqFXbQE1lGKizr2aLbk+wWMSjM1vc6aaCNpk0rSxqZeC7TIaXYI6DAlEuEBoMGYZ8aauubtxO7om1CmE3d2mbcfSj+Z6+iWyiKVglzc+3UjhBWK6KTy+g/hCJ6tcxQPHntWJxob7vN0neVIHLxTpCBtiVfjkMBiTZoFB2qULV4P89o5pxbNWhupfywLuwuG0YGSJjiQ9Id1SM80L6lLxF3XINYMCKiLdcH6KhJ+wmsbQOuRgXN43LVn+sI7xKUHlIbHCw14BnRC2UV7QAggclpW0Tufg04H1ZKuWy5wXLg/j0VVZCfjASsiRuRnEeCSFtv+R7ZRsQ4yNmfheO6UFst61+YWSqnOD6Sc0MtpFxLGIOjjaSEMFrFreOG1lzqaDaiKTQsMtA0uU8QOD2vQQj+0buGTvNWi5qYr1wmOAcwpZP1AhOC75vbrvX4oMsfbjU9akunHfCcuDoXW6sijfHhclYLXhAxJ5qqGrDGOYAYKHqUftlHYZ86NUsAIH+1V05n+iGO+JGUESU5BnKGSPhkQnmkk1ATPHFFrfWEJdQeZv9YERsm0CjN5UfAg/BpzFAJdwxxFvI6K0dKTPbHPcL6OWSrB627/WNcIZznAFGLK77cyo1pWXJayiDZYBzxKdpL0O75lmRVBQH91j82wrGyYsMPJyr/aCq/rgRxsLjW3CLdQc+CUyQc8N8DCcPo0b55+m74fAX1BXK6EbD0M2+e+5DNzVps/5DbW0V5Xwa+oeoO8aIj+jHi4HfAcb4DniQuQ3fbXXYNBfUHunJq9uGauqRXDsa/8TUEUr1sFU5Wj7/3FQ2wWUUxiqx8cNflBJp7np+yjAjxm4JVAv0CTbIapLwxT3fGjzGQJM/156HNsXA/2Tjf5OC0rTbq6n0DDzULlXWtmtQkwCLmtwdQhU1LvX+7LZBhMNq68jnk8IhcWalij3huxJsgEuvvKTxoOqicjONtOlLzzezhY2kqhOsn9v2zopqPAuSgOOwzIhr2pHvWv0jrvBkwnR1EiSxGpGHeM1y5u0mJVpoubZZGrHj6e8AasreeAp7jWADyqcylOulDfNFbZQmkfOlGI1Ubfm3kYDG1my3OnwrYKJDtxmVRQTuCdrt3898Hyk3hzQzeEXsh4Op+N7hWkscmzKPrV335CninTNthTMHUk558xZFFPzhusMl14x2WNSEE9FEqOS9u3nRe66t70jihOtGuXPsXm3+reVv0n3ilrjDU0MRd1hHxB2flPoSuoFzW/KX1X1exf+8iS/AjTx5x45f7VPmHE+XRmp/8CIeJOrccp7+bGQhf+xNkLQ7E1rJ91TbWX6odK/tXADbZakQISZ8EaRgCPLh4oV3TtFTK2YCzPwGTMcqvAC30z3fvP3A3sJVvvBBjmev+gDkETjLs9uH0aGKBDDc2XkaVqiCuftXN10hpP8c54aLMT1C9tgPBOblqAhZhi01RGBFd7T/9CKBwpSGxhZeGj1WN4jtH8D1znWLT7R9eNo3ceeWnbdJeglpBj0yH7k7gxDthF6oOoX9CfR3SstW1UqM/uACgAW9LR0FxmkC1/WvFy69gKiEc61mBjHPeZpqhJDrXBB7P8R4RfxnYViwjWIl3vbjBOHBhAnGagCuJ75jDcvXR5t9dtgr+8GKl9JpacReSls2u0YeynSnxlJZr4tKbFnWVmBeWRig5UIh69XGYp32pzeVQ1M39hUQvSrMgnNGaxs/wXDtY9gpjvS7ug/oT45A6a43SyDIzxZ+NDOf97yYRHsq4ECs1TEEG8unsbynDZPE4pz4xxEQqNQGCBUEuHMDHC8tvvmE3UuuK1FYeg5i7QN8FEdv/4ICWJbkG/Bi/vIq6iDy9NUAJCIjHdgi/I0SNe1uysvweLIhcE6IMuwd3z4u4R++VvtOQbze5E6uLEgxi80nPKUgZY896x7rcONCJeMi05He9xb1AbZ6Gk/eSJkZsqon6h3VkPUZWdtB2aieoqNJZh4pAkiUNKJ+wnhAQig6CVGcRu4XHmoUgxqv0ZoqoJXLICpT9xvPkXXt3XqMxxBOm1Iwd/JueuISz5fiy9rbIgHHb4vXPS56uYwkvruUR35yfauYeLI6ZxMczl0EfvfpjYo0Ev4aqDEjmJNK2oUK6tRqerNYyx7H+r5OU4ZfYmsjyaXvQ2pN2YvKfgGRD5iW+jRyxXccPRijFvpa6VuItY0G/JOkh8orXYLlGTngPRkWfM9WxwhVkrXJR1U7wG79uv+AGoFOwo/Vt6v9YBXqy1PIopuWzE8ALtiORYf3RGktuNbsSJKhukG1UrkL6Jhn7yGvBsvbrqYw2cduNENQwYT/+5Es0Zbg7KK/TP4H5pBOVM1RhPZ+fBntc25BQYbHe+wkskqlMo6KLu3LodgCSy+zLkHnwaXGnZaqmAjnsMZpry9Y/3+2DMqJK05tfSYcAES5YB90u3tKTFDOrflZX/9Y7r4kEcxK3zHQnYX0OaDn7ra3+GlLn4L9t0nVKsgV0N75ssvttnIRnkYYzfJFcZK7tnnRAmSoq4a/BoTYPrABlm/ubu93QRYXLZuRzQGljY6TiOy6EU2Sqn3PVFC7LkqIPVt0X9VAGNrNU1AIva0nY6KG8x7EqKBT9uxKZ3X2B/eIwdN7GsaBrziYljVJb61cURJxj2dX6eDJqSN2zgTwBWe3AppMCI/ekjvCy8OM/Gn8DQycUKdypv4QWQV4DBsZgJNjqgdtitf+YrksCagxQETomVk0I5AAqpySEupXY0hL0Lb6yUQ4S5LEfDyhS+2xz7VbHYODivdzpCO5WZwNm33sa2lHlHmT56lg1+OLNH0ak2VxxSobrcdb0HQ5JuDEX93AiSmF1ueFCLNlxr5sfbmBuev4V6PmMHYoF8sfLNajMYrrDOSrnMf3hBOhRDKpzNpTN3Kajjr27uLXfZlHQE23+j3o/CIa0jXnodB8VDJfF9fCHCcN2z29Mx2QXftPi+XuQjDOiGWWooAGKxbRC6tsZWM86lGfGVg+DI/0Wa4d9fom7M6/5JqTSx4DXwwpOdAM19EE1r4I1005jDA4u7633vjN8LAzglSE3ECXuHGOCmprIbAWCpdObxjtb6oLbQhNYMYqsuRt2tQXg2ZsdlIvizBBVEnfnwX9J0Rm6B8mTbNPWI9ZINtqfezbUJkypUf9ozNvUM92pw+JyKTv4oqoRMRp0DDZgt4m8GlUbeN9YZKBazMaOMhREjl7hvCi07IWjI7d9+dA1/Dz+t3qTngzi6u1A/F8WAXujoFA9/lxF9WMbE8nkUH1w7K/t6KgA1WFFLsHNz32XyIY81vaYqPM7/geKbcIUMxZGkzpep3nm+3jj2iSW4ryLcsJMqcyCqzVoxWZO7vbWFOwZNvbqdPp/qnKWq89TzYiaOIkatW+Uu8IYEddVVJE8/j7XQn5aXHjP75/9qKj/23wlNlUMloO7T1F6Nt79pjW8ZLrsC/6rS2u+lBCZCWnLbwNBjIJs3zbp1i2i/GNOg9smOo93Obeya6o6Tk45WfWoUSlk3A7ICXEd/72440RaGs1pdY8Rsu/IthJJyvvntyK2jMKzRP0e7f7yhxxudn3QEdjA92brXTJYH9mEeIicXyG1fTFgPUg3ym56EaJGAxsoavt67EcGcAWq6zQJpJVtYqtxwPMh+xXTA1DW3Zld1aqxedJM7g+41C2doFvAOMTm714bOF5XQu9RPnCddnRj4jud+bUPRNYFKEuaVfaC/bjCV5vkKeDtrBSEaQ9anjielVXmSOSA9SrlKPtgk/uPtU7zIIsc7AdD++/3hZb5rbDDO+TsEucP8FlgLcp4j5iGfI68TxBNQS6Plq2WxVwhcQniHCzeauFt7N4WJ/0OxZbIgP5Zf7HCDwe6Hjus42Nz681/XhZCMr/ZEVBIronWSrA1UVTmmDKkif+5b4GToP/Bwu1guMTOPNmy0EO23uwzH0JTqy7Ok3FWrGKUNaT1UhxkI/OUooEfLkR/0XsDkhLQIiODcQh0S0VKJBQwrj3fmEkaci9ic6I7rwdVv772qoVr/5B8cJmaIQJKO/n6Ape+h/WRpJVD/Tf/mruUgzf9gcEEDURCeaThpLYl7GOV7hzWfc0A5S8PMA36glKR6JuDR9mt73h6WqBDbZ/QLMv/961Q2CeN7lA55r9J1zMA9w7hR0dHS1dSZnudrBJ9i1ljCYI1FELcZYHbbVq1vTiUy6JvGj19E4kVJ3nlXXbRvTsVSwwE4sT5o0tL4bb7kN0h0k6uq6+roQaQO+cScdcG9Ehrr8PNOuUr/Mn3eTdIh2io3/tMxTvqTIQRALbV3wZoUN36pW8986U2/lQIYpanAb2KDV2W7NaOLXf5u+mxot6QVoy4HwYhqQKkfEwWtUPK/wXmUHaZjz8ftN6VSIDyn2SGJ7ZEZgmgPgGd0ku/KiFRxSI2J9fwh+XIMpbETx5hffr7Hu4GdKuMPDEDn7CWDRTPJJd22SOluNl3mGnUn/RAD2aburhrTybD2IfuAyBMaJMCsz3ZAvU1Isnj27zRYD9c35aA188Vq0MEhwB7DIGawbB5jp9njLbMnYZ2EhDGbTgM9MrI1Nmv+MLToGtqG4FK7XnnbYT1rEPgnXs7/xQDhM/HbBuoKMXZOlSVTQgdTn+hU1i17XDq+pv1VIcdG5AsmhDGrFleUU7leIN3VIOO/rxvIkCvcxbg9RAiLD9Xs1oU4V10e7oE5Vq3p8ixZ6pdM0b1h1L3AE+RrKxS1CULh0Uk61QX/CXBH1k3XPHh9YAy6v8K7aHx3MEFIDL4sg293VY7L9uqe6CYFX2fhrW6vSn3q/zM59N3D8KH/tP/Z98uF8kAYqjUq7fQkDJHPtEUkfLAkOdrmkHnX64BW4dW1jIelt7j1vY0U6lRm4fZXg0dEtKdlayPWGj1/svN0rLLfdFnOky07z4ecvh8eM6JL1kU2n479QjyN7rp2Td5vCwv5ldeSb9MYa1//4dPnDpmog1Dhj6pIqtpELLtNxMtQJgnDAfpgWBX6Okxy2zA1xCzvm/k7f09kaaU1HuD3uZanxMtDiOECp4Kpr3nhCwf6CcnCqVsYgYUnILV/PJb4mEZ/uZ+h78ljZVtHHfPoATmRbgCPoAL1Xe7G2DE2f7LRuiI2i26DTQd3R3UetxAgxH6dkoCyRcHp/B4jD7OPQHOUUlJWao28E5crftqLG7HTXb1wXJykaVLUfINOcucDKz+BliZC1AAFrxEfrF6+5mFKJvYI/OAalHRoV0dmc1r+OwQTPyMf3Xp47A3y5utlk5JH8cBD8AVF7M0jFOp2gmDg61+A1utoUqyZg3An0zyYx9sJGi8pJDD60IwIV0nCmaRfLwXWjzgVaTTPPRqaiiS7mzNANk36tIJ8XUDH3vMMD/d5qauKQ2LK7a/Ot53w1L3uzuxqgYPSQRQBXV1hIakDCYiQUz4pfoumVPHB/83SRWW5n540+Lj/WnJFujYhJV4aO35dgMkDyqHzpp+nmY7DjuCl66eu2tsPRpa8Pz6CW/478L6oeSA/VKqLw+XYFiVWYcYqEe8uM15bOT8+cr/2oRNQK9NuCr9XrBEIDPCkq6cY83vYP55Gjdsypw0OIcqs7z9b27DSbXqJAey0qkz8k3T2aUupT/Re7mQ+6tkRLdM7jylDEsHC6eiHFpyQ29bDcAvt3/7PqV/tPnkZzBOWS0AkNHEDbBh5TDuaTa52y2Zf/XfwkzjjFN0nn9oDlRz8fF/H1ii14mRIw7gr+CT8WV+VPvvFAQ9ePI9LZ23Uis/0bX/51slAYHvw5YoDmYwxAGVvMxGnytBZa79Cg3664ItzX7P39u6H04E+to8xl1xBmdGSwlm4Wkg9pXQcTvq8ZCN9ycJHdYILYSQxg0COvLi1jEEU2vfjmvpm67pX/JBFZIPJ4ZvrUc5yDqDENFiFo0EJY/V6/dcsVNT8Bk3YDVT5Wk0KzN/FOfmbSHOFFH4hw4tBF/54Zxi/SYebdpwE1RL1+/WuLqgJKtiPDMfikcZztr198aQZ7/j5/3Doq8jowk9fDpPB9H4rff3oaxb4PP4zR+tAw6FIEYrJqxNMOfdBxmiOJa+vdehNNBtTyZQpT8Cb4cJTA0d62u1xsBTRTMKzCk5yI1PRs7qdvghgH8nJSGM9Cn+eC/k+xzJEaLiCnjFZDe28BeYlHUONo5jx7irgCC3JYFiRIMmJ7F6qQ4sbOi/RL/FAQvQjWX6L0bckiNpIy1KYX0vfrQiKAhEnIMzj08jWh/DDlIa1oK3Hnj3JHBowgsaYdlM341LtweLQpO/pWElxlILN5IjLkwgkC+Tb8wMwqE9yV+C6fobHtEazKYKtqRLJsDPh1CbxhrDGY0x/9jghcP8y7iGvLGsa8ZQq482vM1WQ0zk0JgArpx0MIw8vU43j8h0cHX5MIQrFzsm6DffIH37hCD0PlTXQVu8zv38gBny7WGitMV9naA2dKcZIc0lP9VbLUi+Ef5QFb5+s06hlJ47xd1GMDV+sIbekyxqofh/2Dmgi0xj+X75Gtfjs1kRWs/SVoI27lp1ufwJLKnUnzV0xeBxwprzgc08+e5ODgSlbSAQNHNVferzrbPgAnjInZwgghM0zr8Fpeews9CI0jzE4jd+3b6WsHDeXZ0MV/uRski2ye77EQlQNlw+42Es3d8yMM5f27Wg67KmI4uMDP6AWd4CYwtWPF3H0td69S8Gjs0fPtX5uog8xXPjvDU9orA9Zq/v/+Wr6/Nt5CszVrmbOuNsoFxEA9Vm0nLBXu2/rYV8PQw4Fhzs8dn3ZvR44MIvtRWNVAGvRyYEnkDfcAWb/sJyvKwVVP44wqcGrhgE3pqLcP01wZIOUcJTAQ4O35d/DGz5ZxmqnazOb8gRJ86/DbKSpLPpIQ5wylr12PYbMefZ5vJ7G2ME47lmg8a2951WIb91Buf763fBb5w2S1zFRf9uKidmNES2wZnBaxQEMCyflnRLzME+rmbaqxJESgCwIpe5ZbHUR7A0iyDggepZ3j8V65M8mjova9buNYUbIW2oW7uB+JcyvhVm4shnum83UF0sg/Td3qW56hdD9ScqXmHJ0VVEKWkNohCpd7g19XlXqIolxR2mrFPv55TZjyFrM/YLXFagohMDw1hROidDqdZbw8l6sVDcPznW9uGFWxLicNTkFar/v43mke0HHEDyw+8UExPc5sfwF18HDg414fznF265h2YEswe8nxdDeJ0jdjKuYFrHi2VJtb+NImtrW5zJIFNTfYNBMDc8rkVu0vYciETJHgPhYGCoufVfQ6r7UeXUEzlKVGPT8/Ap2ZmrxzoXqH6g8TdAKOvDRrDE0tC6uHjrJSP6319Zeo+GDgwAsBNMHOZNl6cCjYE+Jf3MH4tyRzJRlBnq4LIbOHcjERWKIyy3pIyqurCMRpSOMZZuI2+tRENzV3yhfB4IIdlA2cn9sro+1UMUPMW+dMMzLdUhDstaJXCc880ZWYiswewV3uPxqs4Uc048hkDkdpeWDxaCEXhLhjKvseOTEOEzfsKJd14dpF/Nsdzsw06w55AXkgsInq3MDN4ZSAkanZnRFQI9B79/oCTDQOrlN6J8/iu835FHj2yUDzRVSJvaLiQ5qIyRBTlgsrJQUyKGEhIknGU0C6EA3P+mqmvAMB4CdtuL78Pb66EgY6xNIy5MgVsdh03e0sEZWJ/w+bEN833S0wVWM32VYPoDLniRBDF6A2ONQfArnz4OFk3I3PK+fbXPlPDQb/ioBKXRq9UDN1OgjqTj3xjG0E5xC97OPohI7ndmbb/s20Jt6a04dZuDxHfOx3ApfxvWV1swLhLXoJ1FBd5e+v4wRXRBzb7dNs7BTuxXd6YbnnwCSB2PUYjd8ijNK1SlEIvhvT8j1DKyUwpm6KpusY9m96bpnMg2ypKw399W9FGvouXuJ1FBPmSGt2xyG8H9oHnevglvwcbnEza6fDhaSojTtvZh1kuO7oE4WWd+3w8c0Ddtp40mGshEX8Vv618DjC/PE1uyG7smGQf3GUha/ullNsbJ0aECT9D9Y+32CVXsGaf6RVZ/16Sdq0wPqeVteVZc2eW0UyKszsCLZ5GFH26EDUcX/JzYzcRaFbSZOdW39OT8x1x1DqLNzxF63X3DHtn3efWan9dFFAZk+U5speZj4NJQKEYAJSrrU5ipVcP0wLSb24Q7ySyNkgI+TLhPzlWe8V8U1ozE+u39lU97UInr6/7tXCZQdv/OVPoanPVuq/jXz7KKHfpFQBYTIpkNgYJnvN7Wncl6i2RqpVxcT8MzeysH6thTnKq0CXtf0iP38wEXAB+jyUJC5ZWHCYEWwvUloeh4R0qhfQnceMgC15fdDoV7ai971Ut3PQ4Twh3pQ/y4NwlGdsqyQw1+zA0goLrU/urPExJDkTexQQEO2QOBL1znh59biVjDb1kuVhZM4gz9vVl7XNgp4J7eSC0hRM6/9BlKz2UCDr7rgxk4uZuQT9qa8+wNvQogcB3vie9pau+zf4/FwhSMF5S2okec3ljOM4wun5GfKGTDRxUNNcylEtN+VLU8hKsnDhIStPsnEteltvLSxoWH6Vo3efQsQIgYlD9EP/8jGxwJno6WUHBjc/pdvqLOjbjhRTOgvCqRffbP0hZsEIpRgWvc8Kj/RtI3AFrCEsOGbBiuCV3nt2yi6K+88RE0ryZBVSTVCjCFbLad/warjK9pQRNGnQIngQQMkkDSgb3rSVM0eWVtsdaNRXbuIn99sdgfssfQMd50lOr4km02Q6QUxl5aun3FZXQMCVKSy5RXgWsrL/PxnnXG22ZyXFZrd7A2ECFP3UXb2xCuxGdbAhv5YJOooVgr7G+0yK02Ig+aA26G1wzSPDbOkrsB8gbwfcUtBwVqy+1uIOQpRz0ShHFDAmsBKdGGhWBfIkLiTHtT2ge/kLFmYzS/fQP2U9UnZrqZEUN3RRzugnLC0miGOmD56oska2gODtAZZJ7IRWpv9L8rp2AchvvFhH0aMjH7j6XZmrQRgHrx6WLmVqIBTFDGTalAVvZdlkwxh87VGv0497P3kmPAQ3q3xpdEAWvL4lwwTtDeMEGHdFBBEFqooswUOGpKEFGLniRWUc3sr7enx5v4jPadOEc03hS7xicmhemq2AgYIQ7pLxtZfY6zOLCLXgfseHfxqq/o2CMEr+ZUVYlhXL3z3U+n1ECaTc0dQpy9rcl74HduQsanut4IxfnWSD/P6KWMRDYCYZS89wc3vjNWaA23yB2OTccCYVbYLTOTrLaX+2eqYGJj/sz4rtw6be6QyqTiEEs8yaoMP7DHNtRX90pvyL+VGBAYx7XG7gsXwSpgaaBbZfcNNWpCJQP25LWGUDB8p/91C0cdzxZ344dvQ1y60sCuh+QOEnITf4AmwZ/HkwWsXSb7pxaFY2DbTe3UDbzcw3weWfgvpqxTiI6XwkORhpb5Ry0wN1aCT+Ryvn9trWu89bopUxIHdrDrc4RLWK+r86UYGE6ESHZJMY2ucbeWPjRng5D3KWLvtvsgztzyozOcXkCXsUudawDH6G+fRDpswjFqsdqdwjxRoyEWiFxsMr28JkaDnnLjJNyFO2qxm36+SpiNhW8gAMVyo9UQIwK0T2otyalou3ZcaqBoPqfr8tULT9Qr6Cw1YInSO90kXWykDXf13d6ytPaE2VtriwF0wpoe+VTLKANCAg0jBTg4+iLTglgV2r/za/fwraSKmpDmDWzr/4x62OF9W0K4UXeO0PL/dcjQGRV/9xNLdfpte7cUJOlT+Y8toaNvGJmqrkiGafiQUSPbCSvI/yESGN60P6bxQbXavlSObYWuR9m9h+2x5WY/w1hwqZ5BO1IfYWh+9kDyJAcuOJd3PJj+9nU3z+GyJWnwNVsHlLfWtP5zvaznAZ9g3sCRSifvkI2ysRuq0a6+gOq+msqlWFVHP2CwXnqRfMtVc6bLF71jNMB8BxPWWk84+dy9Tvo3J+6bRZswOtusBxHSfZ0Ex1ik5cxW7lqUWeNJETEoseMdROj58uKDZvunEdrKpIxgaH5glMgQU6eHvErC8FPoHKIS0oZ0QwEF7PI1P5iOLY8ViscUf5LjU89Jc5t/UmntT7jwq3T8GVs/jebU7XhGaZ40BdJAOVzw5vyYX1/3DCBPikCS2UgA3cMmzmjMDnQ2f60J+j1VlJU0JN8QFjMksyh2AKNPd61zAFj8wGSiHEtfQEHUJ1iJdpV+qNwkfRpZTwaggKASe/mcNui65vT5WtgZe85rhjWnNFy4p/eugcHoSOBA9tw9+aMZlGoARReKN8ywYmxkNohFRxTSPwIXfLWQyFc8S8KD5PBrTm1hzsb+geb1yZBiBG4/hjUr78r3Rwhsep1cvFffl6zd1J9qENkkV0cVPJ7yQ5XbUIWeEybWh0zRRjw6/a2dhQ1QFnFD+mN6T/StLtD6KVtsFx8DPsyAuQMVeEh7VBQhCklMhR+3jyRnlgBmjPn/rRh1k0u1tVnF7Sj3U3e/D/uRguE59qqaIblwR8+dREyXQBbfwUC/gYr8lzi0kOpDv6Ajnd49bsv6yF/Xc+USlk7bgB9Q2CJ+SP/JBP/KtE6TqmoltiGjwMfz+nBNKR5Fv7/Ndwh4D3ZylEnw9iz43nm6+MGJFs4MLsG5se7gWREAldv2wbbzGw3fNbfjrjutyGX4JK9juJQkSP7pTLTZXEcu72y1XWru7hdDLHGE6vKYQW7BG+hpy+ttDnfEc8W0uGOXWRoYLtZNhfRaFf0OhXX2SQAtKbPIsyRZa9yjVNEi+cnquyZWGOqRum43jzIqhafX0ee4knrqMuU8pvdDQpep86tfaYbMSqp13dlw4zPK3U9V34RoQns+vmySOmKaVtJhXVgR/qSosWE6O3xhg1rQOJXCYVIOeNBtXID8HgXeFODi5ZeBjCQwncByi7Lx4QpLgMHPzJGx/qvHCOci6Pzu2aQ6tk6TblZcuk9/DBBK7ETpg9JVO0Y0LxkLue5cjZDt6AS6Ztb6P0wxG7Wg405Ite5wC2V/iykEoesp3VsQHSNq5QFH/AXdr4TTX8G8pREh/u44Kak7FyQVMUtMq4FnVMVZGfZ3glw++pF0Z1uH/3BzdEyw55Mi7cRW/xRuohMR1CaCN4U/PLupcTuNJijv7q2MWKuFRn9ttzNXOQ8eSnE+ZYYoQojRur+RYmXfMp2sl9EaEPFK8vostfGeTxtn43p7fbtF/+x5NKtMgM2y5bR6dvtZYo+YeI2eN7UsS0czGxoTauPeg5D5Rhnpq1P8gTJHhUb3hcML4lYKs6KgRqzQU3vYiqs0CGhFZMD8e809Tyxc1auvsaYzJWqB2M699QXqQQdOMi92NjQBKTvXn0yJ1OqHj76BXfxjVTH/fWIakvDueWVMK71J52WdXV26qdMLKPBz361XKJeA9t1SaJyI71qcKFXC9gPtuhIoKvQ3WukXYZLp3uuBGHbN2ZEBtPpR5FfdGrqWHGK9WYt+aP91qB0RuJsA51exgnFEDdJXvClycIw/ago+TGz/+Lqs4RnRDReDgM46QP6fu/TTWs6MiIwPtOoyOZGDZL1+nZ3hZEZPg6N1/rUDLqfsZUuVIVP5Jw9V+UbUZE0SsQIZIsadgLcXPvNwnbnBtwXED9Jim5Qc2vcSdBXebT4rTOk8cN5lsWntok9XsxomYzFRE88UM3pIIzdRB/V9ncJ40Kt3GfJPUZAzwXn0/68/EZJJHIojuHlVljRR1ymmcMwZG6lSTzkAXaXwoEtI7mHh7tZMwgJsqXcJrGsi5IUV4JjlgUqtaoPvQQ2LVhc0iurd+9KesuucI5e18qGzurigc9tXTt/RpTlAMBcudy4VVbBLMakfBhe/qdKaQsNn+oeStiC9mrSMxZg2TyJpoQNntO/LDQikADlKNDwbLz/TVKk2GPhZsTI0VrREJFSd2VftbVJFt6RbWWFiZEKVY4Lv51OivaqVxHfgGLWkct+A+sZYjhOIVkSYBjfx8mEbs8pUtan71w6ZbkyhyR3YVrctC3f+l7rIsCmbXSFNMHfc07qZGgE8fQCXn698CAYbNz+RznWNn+gDgBRMjnqlzN//hAqib8gQ2cujEkl563DZQe2zW7hrcUwO0rqOuCrtFA+bh/2lc72m9SPwAWQOZv6yxEz7AWznXDWy8h/BpQvWsRCLVNJzILfyPDp6Ha98r+x/Wbw3bGXFlXpBkvOMjNOENms06g13XkXBfGRDQyeb3S/5gfxZBabr8V453/rs9ARWtHyWBIhXIowDgNwCuCbpV/ml/PyubTuWlpZ6LYW7TsEgOfyU2b2NTPMVUWT6cko+/dxqRa1u4Dzam0joKK5SdJIQykWNPAjcFrG8B8E+0yM/LYwReZfY95j2mAlJPLDdCdMuyYv4j3he+ZejjyejuASuS1QwtYf4LOFTvwW/5AeaiVMWRrFmW2o6P/24oriVRpeTRlSay60IfgoR/YcTIlOyNkT+9vVjvJrO7woMWe/RQgeVoNnYrIKtnacZ7tGdBWxWSEPPXdGH9dfSxiLMQMO6ime1SFTMFWS8ika7o29k8VSRdWsl3Yus38/sS63VVlcLhyMIXR4OCjHbcgsmdInS4TpahuW3GBYmBd5HmEzZ+EVL7TdPifQvALHGbBXgPis9/K1uEjQGAyvZHy5/AtmGc5yd1sslhNvW686XVV4fZ7w7nxQyacWplTwc1winj6SeBPtlvrsDgN1aiun6pZjBNZ/czwnYZZ5O2qhSJ/TmA9nmKelifIYWWv8WnnPnsQYw6v1iBJSzOVqcP404w+7RieNiLUYNAv1+FzQktIN/JhTINd6wRC19qoCa4xw6H2y3m2fhXlKFDxtHrk4ZurMMrfc0m6faiRdsec1a8sqbCLMj/3sOOFmUVouLkBr4yLqawYyx784cW1AVWPL+weNml+dhwc+AoSDJE1qEaQKPZ7yvOMVGZxO9h8PBKLB/3rRM6NaF+ObmRMVJJQkTPiHs2M0Do0EG6wH0vBTtCNOVWgDTi7CsJcGQF14ECftn+V2mcMiVmSLvz5DdTKUL5Alv0DYFfOHOOqFqEpOiU70VbGWDpDhmjm3scv0KZTVkOC1BmFxqH8VeNrB8y3MiJWeVpfY1GKs9Vj9uzu/UorADRuh9RfANive7o7cWEoR5vlvbBOC1MLJKT4nQyxyHacweF14ZL6Lw7IZg+FRdx7nXYnQrGecFCiro/H3OxmkVMeXWeUaf3GSrr45hRa/tGBPwbKHmBLXJzOjtMvlbXAykXOHGBi4vfOICZhhzwq3aKy/6gkzSXqElHShuTusXUb0qCwCoYe/wEO4qg6f4qIm3gALS59y09S8HPYTQgfrY7fBHaAQHg9r4XdoNB+ogOpDmG3A0LDjrfIHSmRVA4uWi4Yv0XdAY2aHWSrbOmzTodv5+1D6QkjKtAHPa0QPr+xMVa++0KPYijnWjGeqtjno6bEYzoF40nVoE2ifyKpKv16/REAoBxFIPK70C4ECroy40J0ld2GHYV2IetR0F0mzTng//91zRrspBLRVtDdUKcxMzOwkhdg/V++46ujnK8uU5/AH0jst2q+6zr0mu5rOWYPuR20J7ENdiLBL0XAzw9dmFmWi1bRl1GVjV8tIjQN5KtG0x4erGM0coYAWrqJe14iMxRzc4KblESS6IbZEE1nQT/C4ZBT9YCP15LhpTZ7FlBt2e2Bsl17r9tqy3wDlT0Nhsst1oZ8FX/gTilchaWtYgGgX0wYf6tyk9af5ADAtmq/7i4uloq2wlZMcaL3hIHqYooDg7awE9dDbZ//Bm3tb/so/9M1asP61SMGvO4hOF/Y79he5H5xQIb9IisaTJxhsP9rPotbm1LtyAyll/MqUeULmk5LpUut58Lp3FxCSSlqjs/sMUxZEcvRstSFsf/WhwYde33+h5J1l1dipQ1YW2/ERwC/BPnD5IbLyKwSzOM5mUUQijtkbPrKYthE7cQA0nSZTPORto6GnWXAVTurg6wRUOhDxwGQyk5UQ3ipAHPt3IVjnZxSxYo0ObNUZBfI0yZhybsEgNcZTEpGe2CbzfnHMcQL7h9yGfsVkOh58j6Foa19NHq+pQNon17GxeD0yKOb+Pfv/pICmQEg+cc00h8qXfbpp7Sm/FGfbE7dP4XHsW/PcY9vpsonhtAls6GQj4NQaNkU+RuKKUru6x6CZ6REoY2n+l2P2AGXE0/vZqO8DMIbWV159/YNkSEbJc0nJnYkfuMFMpnxQh3HZQXmoFRKVVP89iHdZ/yYRgBboiyUTCTsd5oSZd6PRp6/I1QS4Jofqu2g3w02tOm9h1X3r18ABJ8gSliQQKdCE3RVsF4f/R5q5Urpm5URhP7Q6caSzNc7woD6F+BQQt1R7H0Ns0UDlLK5v47/gda+Acbne1IqihQgP2QjNloM8cShX9Nn3REG51zgTSjKRrOBDT2Lgzmg4RiY/QD0OzWXsbKn/LeZjF8LHD69PnfzFpa9HHp3puQPJ5bGKxQ2cW6RhyIDirukktW5gQ47jxoItWRjpQvZ+czD5aqHGY4B/iKhofyzc9KDvAjYxirF0DR6N1odHxV4k010PbpJwlHzQ1Wp3BOb7dswTpJ94kyOxfJziwW9z/dFYIqqTMXDox2/fGkYyYfVGiNcS7sA3JDBqoGNZ0f8vVBS4mnE7aPECDLxR+hK9ZHuYsRhHYNKj2yFXJ6KTGA18UovrSVvPhJPD3cpm4Hh2jmAnCoFqtS4vmvzPrjApm7NSQIVc6u2I0/FwRiZK+gVVficb4jJf9U+1RA+Ka90cVyqutzR7DMDJ0p9ptzPthLR11KT2B3TEyZJPpclxUdMfN1562A7flSf1p9R9o93qnnZlq8A9q6kijvSzHUmKxIzBGggE6kJW4iywDJlPqDtwRLusr1WySCpgHNzqxxlXEjGS/rmmnyfsYFcLYx35+CKyxS1X+AA6ZElXIkzUPyNfFCHeTWRmz5AOQCWp0zLYSrSqGJXl/WemPkeKtcwM3e5UuQ+4b32o3oZw6o5YQUInGTtVB0fVBLlwIjPJt/ruOrKfv+2xmmZzNgFiC20xJ0qnwHZ3zcUAqyt4o+hvOSEtL+iCs7w9QImZm/5PKfrYrl4GGrIKR1ZclE9U5MJAH1AFywOY+cFNHfq7u4XINcLp31D1v1GGNgjDWxOuYuUetouvoyZrxxaS+BIS7mnDFivz1uB1nmkiiPM6lpixlqXv5I3Dt5prNOlEvNphpuIOH3cnGH5tRsFSLWmZ24C9drJcfz5aG7KlWQxeKbaWuvXrMFIpb/P4C12EeuUBKgBj8mvvJ8aoTqFkKvfyEaBy8jQuOKtTQrMFga4Jr1p8+rpim6XE5LQ53IvGFyetKkmbhfXYJvWacle0Gdctmx0TvpgpRnf/J+Q3aC0bz9a/W052LdXZx47h3mWiv+N28+gu3M/m1CWxGZPwobrvqLrxQUPua7jx31uMO25WXseL7p1okIxKsJS6ADtPojp0Mo9Mc1REkh7rOJzYLtsupowU4JY2qLPNZydofdEftDm/gwMa4vRRrkYrNRN31dbYQnwXHcCk6W2Gzpoeo3YbwSqVjJgsgcGV8+CFdAGxqx0pK4Aru9SZooc6vR1/06qTzeCIP7N/curnrx4frwebG+NecGxwwu3xM1uLSzVLz/M/1n18Qh2wsaKrWeAr8+VMjAEgDI3djnFhZ3ao5tvHqWRLZRePeLRCyuOoRCeL4UCOJqVQKMqKkramQAy4J1ZfRTM4mKiKgVdA41U+HLuB/3rbm19lt8e3iNKKMWeBwrjobS7SyWf32WmnDWNzA+uFc2HP+M2cD+PIVNzlfPxyprVeYAblm1+kCHNhpakRpNotdCNQNbt8PaFGglPSMGa321q6GzDyXuGcvYFYTpjMa6i7JTiOidWXUjBzkgSVPR/1+ORrDvRedyKmmdewkETYCR04io7d73TZQ1mcAHsKdeEKx4LcMFRiRL94n8GCi7h346Aucw2hthr5dC+f0xiZH2zUhWczLv23jDr2E3yIQF4Zt71VgDmltjUgbAoctbgieSAe6tRVsMCofsCzXBtQkZveCAo18Xpr1evhSUHJtA4cSU8ISqDifSQ6wSAKTdBlucxWrCq2z6AIkau9sws2Pesb/B0XEX0YKy4MZy/92FJn5L3VO0jbPLd4PhbDo47a0Cgo+WqOqkTCfvDgWC2a1bw+5sr1WFQp5Yxy9IoKiBY9HcVcdM/rOk+170OtxcJ14GjvzI4U6SJBTf095zNwzSqJFAOANcClCGFNepd6SmFM0Syj2vtLx6lnQ68ASTArtc8r8WD2NwoL5EBuaiwN+hNFO8jDCu/9W/rY3jxr3paVjPahh7E+VpcVQB32bKZfiQulKb0itF3djLkdFqo76nLjdPNRNYEHEYUrHfj1uvXJZK43gcW/eb6yLtbkcrTTmFXYOLYo65L0iY07kEJwpfIhrKgAcw+jpmJhjigQwzZiT0iinP6zRZ53m0JuwaSI0iZntbypOU+GzULwKJhyjkHfgw2Q3ULu6GS3HupqSUdEuLI+ufC+hv3jAse6fZXpZwvcjUUveKPOktofah+W4Mhid/1Gtur2LMDIDh6YFJDwBIsdRAebNEwwGdxu6SBiT0hYsgPNWBn1sFpoLHLPa12ZhyrAXJ/uXha4JbbP/VCPeDz90WB0niNkak8RsNeViszPWqbO3B33caOaMMq2PZmIQ95wnhg7JTiE1L0H/a4UlWj7/hDtyBweIrGCGao8GrCupo8EDkK8oN0P0wLMY3xbhhxei0EQGnI+7TxpcPaA6Yfw5DsA7ATIRV3VNyo+ZEpPmkqxxXTxrvujXURIaLuW006WUWqdiz2m9z7aZeAwx0sRJxAShlSW8PPKPcddshJmUnoVDvVnGZ3RrATBOlOFTrKxwIgiPphz4fVYS6sAmIPzd8cKB3aYX0o4qsepipbstIM91sBb7eRSn5rqvtLavyWZMIsFUU+WtIj9vCZepnD/83zmPFgS2rptxQIaK2WwBzJCaiu8AXbw9SFDO0ayPcMkno8EwxMe5fN1OtQpjYxrZQ20/YvFbr/Rm7FfzHtd/rGSCiRlSeU4SbAt+nBzM64D06dT1wAuRm6Z39yngUT/corwQIYlLdHk7rTLp3DV9gO5THRFPD0MgFMcnrtsOZe5QhSQnARxf8CPG787NDCxguLTg8QWS2tXo4PFURyGuNf6oAzS9j3dKY0O2EPrWumO8lnFdKFCn+rWcmecOin52pG5umQ4jTLzo1N8dhVKeq2gVrhsIcS2Q0HASvPu2Fh6kCfYHM90letgATr78gKIZmOURZD5bWLdIkqW3VnPew/4NZkUzSsgibRN3cbSbbBXV08kz58AevSLICbpESEBwrLYZeNxv14Hr3cg1x8aKqufS04sIUSwnVkXj1BLx+4nWjmGSeVrx1OsqDUUAvlaMjfBbNsmMUOVdm3QCOOQ1AaUVv8zGAChL1LcRZkFPQmbX23DqRmlqATQap6puraayuP1t6Los/gOyN6+N6X78EdhcePSi7U/EZvRaJ4e68nOgMcdtW9caTM87ODslY0sNBb22caqtfMLC/w6qTA+ixfzFA32Z58+0LMf869SiJYBu2VCzLT2PbIQ2Y7PizAUL3sk3XLYBsBOxZyzx7bbXzyzuKxxqzEBkRAyVQgSVbXsjuPimlvmLU+14IxkRMFEeGg7hbk7g4l3ps/cN/+JWbkzwLKGI9DAMk/ojxDK6ujZUpxI5PzBLP8nUN1mH4mzwmfWz1T6glAwEAJzxz112Zll1GOJg4t8a4BJFEEehnrde7a4byzIeBPxhZYd94wPxS3LbOk//prZdZK9doasIs+zo/7gjlv6etlwWFU+ulnG94/sikj3tVVMyxtUnxHhzivq8fibpqJ3QmCJGuj9ew1tJMSJ3NtPLe7uEW1PKChEvqo7x+zzM9kgh8Pe9qd0QNYX6f3WWIlzs8yvy2casJ4tlve4dCWAUkDTBBdH6cl7h3KdAtFenSc0vTZXrP3jinadUFSzdATSaZ7gSXM6rZHhRgel7V0i4HJOLmIlmy09T7KRDlarhcOo/iObm3HKu32lywTg55xXKRiCHynRNHgIQSQNa0p4rPtv0nBh2uYqkHHXA4fMgSNkx70if4SIDeYPY/l+yb1bS5TeCZvax8d2WyojM3nIEcZGVhvkbC/aMAzujDqaXrikMo0zs2/4KR3TVWqI3RZDZU7bh+3gsNb2xk3O9+crjJQgNA/YHLs32IBnXE56qEL3FAOkGpXTGJ4hjzYNFHcac5OS/rsfU9J7YQRfVICamZqLjDVmESwZ1uCDvUIB7sOpoVy3g4B1jiqwtc7XFBgD31FCptgasLswhP+zoAfsUuAI4P5GZ7zfKrCC/Y75Bq27ZATh94m9K1HofrOoytfxn/mILTn3YHtQ6QzCMARKgBxNw1O2+T0FMMjLq1wPdGVQ5qRoFVnfqJlduEfsgXPido+fLEaV3POKfU0Kv/S72p2uciO0YLAz4kTUogdkphzQp/6WTOhVh/PqAN3g2dX4BYcXal4Ahdmonb7bv6bfhdrxqMA1N9ZVdfRsCrhxvwePHqYx5IOfwDrkei5ZPMwQAqdbC/XBfxxkwEWVQng1qGqhFBe4iL9aslvAI+Bqb5rFO4NH8JvIKWXeMhFqI3HHPGSeivQ6ORtWaKIjsiwrVGlBXuIto4oZBJq2XgPmU/TUJX1aNq5pNoMGx2PY++4aAuz84GL/el57D2v40sSRxkFKeqI176AKebuaO3UNokOmXCTaKAqZeP2Xe2DQ6hFhhp9MuTzDJFbt5qVOgUKArkvU12GOzM1LpAwhFBVpnozT4cx3EqhApgiacA6PXL7GOcgi03exgr7fe8DuIr+HXiLX6HrLDJAg4EdxrTU4rXqSvmYa54wSdGmP78D9YzTyTjYLv72KUdhBTSQz43KI/cgSc7BSLDjgaspPa0Jm25wJj9/aZXcp18LZCMKASOFw80lKWn9141Oj6SfNtu6kU9WhTSUgzt+dpBkItzx8OFwlpxWMAFnGwWG0sEkoLnUBdP91g+9+Yzp0rPIIY0+VaCxjOrWlU1NVx/o6w2sdGO7mCsyMrWXBWcSJCRPMhTyldU2wKUVq1Vl1NfbFVYW6LfKMCxpxYSx8ldSCjYEdEapv2EedABElK6pYSTovn+psHk9YsFDh9uxnxWNZUVgISePrYWCFnnRn3zrcJ9nWHAu6CpTKLmj3/nef0Rg4GwCzoc0RVWfn4/WctABqQZ1DGC07cckQoZUZIuIP1yyfGBByS04nzapG5m2EUwRV68ppEeUrWPHT1YekwAJqzoKMmq6r4qj9KbxcXKit22mZAXawTlAffxGjIa3uH5bfAk2dE9sUSfdc2D7WvSqPWh5H7h0nQUKfJv88FP16C7gbk6ZrNKY8kAIeRuXE6N2YLSQ/L4zqlkjloVbmQnb4P4Ziw8OnNy+qQGnkW3Wh+HYIfUPzE0xfEUNekIvgrRHkpdMrmbVMTzs1stz1CH4PhVaORL/9qYcVsb8Ko0YR5c7jBli6GdrVTFpOtCd81EBneZm2JnMZWZagpNREGQsAsQY78wsBHkpXH5BpRAJv+Z7gTnNERALYC6wmCvB/0I231uTvTCDnftLCBilfI3CuxyOi9pAS0cZY9HcY8znzveRvvueRksQ78iwYu4f7MSdMvwA1XOIZ3q1T1/ORJe6SSqN4PYRTEu0VL1NKXafE35sZBrkqNGY6SZGKUPJ2iNekQrpAURAtROqU/R3eMWuv2HrKt6l/KfnJ4+1+Wwt8FqjpN+klpHR76cJEoeaaVEhwdg7riZE6eQZalQdzdyh4ekoord74x8PipFGoKSYrM9RhYS4Joc3feP2dRhGOK9JEYMzX6KcWkRVWzMpKZBq/vXgjX2kC4ETdj05RrQcnVKGJwXasDcyZdjcgGPAuxBGPidihm/ebeKN8OcL0sNoVMrw2X3dopQ8Ljc/eCkMgpcRZfIb3PM810gE/1tm399Glql0UVEX4SHCgdQ2GfuyrHAVP0bsrbOp2C/wJAl2QryJ0XPmKYR5weCqRQqaz7AWoe8o/lKQYZg9O4t9j73Baob7je4iiydJlk5BNjWaCHVeZFrYSDLdRkVfUQWbDH/Ls7UwSpsgC5yo0MWnEDmRGiMdUIBmxCSV4e22Iy2PFlPxNEv/G4NCE9lOnKzbPqgpirxqgy5Fn+ehyiojWPfPpphME1VNbwwJreud6JzIh4xm95rghcKOuKpxT4abJd+e164oIgORy//IZFqPIixMtUcgJY0YQG0ooKlu4AT1gvzsNwI+9tGONFMTLJQacwq3MYAEm7jgViEkmKDKPrl/WM9FbxyxhnTHkh+q7+zykx5i5DJyr4uZ8rry1w88g/YVV3qHNVO/omJialQW2b/aqNcTLK5ORdbU86REyajJSLL/KuxxXsjjF88e/F5US8E7zDlXx39E/sZcOzBGuqMpmAC/Lim1wq701xWS5DG+ndJSuL7fehFyjAioOAjHfduYrHFriSHlDeYhYRfh+pzi0Q83v82c0LFplwZ4f8aUH4PqHYClMYKgKTl9d5KDXZ2wDHhTV96FrpA3fglHIqZhJO1P2OFy5JgdW9cqPw2FTYy+ilzLjo5D3MLLu4FaebUdQ6C680eiNmxcEBBlh90q2NjPDtWb48JXsWIG1n7PU3g/HUks9KEzQmLqWAr0GxUfoH/snZbXZtTE1Eq536WKlY4ft3YSXpYDop21EQ2fS6odfsqD8/xKAVJeh2n3GujQ98qMF0USPABeLQpRlaHsQbaT+ajMWNopc9WIDJyupHdS5K/1VNmV3Og2fkuGBWFW6Rotj0sIRb1EbNJQ6VVD6XxCdLoj1Lh3ZuzWNLKmCMDDHr0kYwHhraxq5aglkpANR0r4gnl+LgYBPYQ7vKNpcbuzoT/Mh1lFnxBE3llpH6tJqV4IhB8M/Scd5qVDvcE7fD1IjLW3XCkph2JtQsacNBA5VaE9PpXfQxP9lhB16Q1F2ZZOrnOrLX3o4jBQTvPbZp/XTInVLCa+gBBwR9B3Z3gMLVWdO3T2Bt67OjbAtYzRWPW+8WOzAeJFG8qYmPZDNfk5hDiGoqtVT10tXGWteHwjSojuYvjptJJsn/e4Baw7kUObDVssnebNGj8ldhUw9BvaTs0IAY6GL+E+xpdJj5IkB4TXf2OTwBvKCN5r4qD8UPxHMoHzvES5h6yEhg8TZZcU4pc66IT2aslLNX8eWe94UPPD+T+aOxYHnlNqpZFI+1Tlpz+w4S1b3QV7QpI6T05qQckAcoztEPkx8YcePZ+gQiO9+NfQXeP1N293n4dKR7UTsDbXmQo2d4kBjpaZ6qkrWZj/pmUnKvRiHYQrrdaqhPEfoE7fE5QCWLB1bYw0rJgIRhbXu8jBlVl6N7y4mB9K41pmxU0qU7O0HjoMBaB2SlYzvJuYycVghbb4A/wRDlmKujs0glwKnLVR25JwSKMlJeMom6dpE5T6e9AaL+Skkw9xfW2uPGcxb2XA+qhtattepxzMBIPljcwR3rEVE7NSYDCf0IgBxKZR2uTxa5fmvec/AcWjJGiEcp1lGBtsTaABcdRyvTdKITYo/LCcmXmCObVFySw2QgjYox09p+ss0Vz5imh9/veFEc8ExH5gDvnZC/UC/qg5Y+Q2yHAeiAkcnKqdpKPtd3EGVPGFHS7mftKnBxddttcr/0M2oOJIs+efGUT7YUkJYIcYvdB2ceN1XcWjHHOqB76nw69/yUwdeylOZZ8kB8SkesaBnwoFUw0PzzY6L4+1XnvAAgy3ro5kN6EJvM8/8r9wfOG1V+rKecakvFyHLRxMHXKwzBUDyNn8JqWMbVZQzza0ZBaNghG48ODB7hdRtYb2jrWb2ytBowkzjFsZ2tnjtm5oW6ePt7VdDsx3I5Uvrf35ha8a1nWaVz6ZTsBDoEgIhQf4lKJO5RuT/JDaqc/6NXqXfdAvnjyIBOye1OKlXwvyr76Ux9GvBev+kbaa78uwLrCPEKQU6VlJk8d/MnpysQH3jPNdecp0+nqyRinqBmSSmIr83OHDtsx9udAMh7l13T3d11+pIsC1/RSRIFE2kTXnk6m/hOYO4RjGyW24PNEIjDQggUJZKx7gVtXqjO7PchopVF1EnIBpp0aZ2dZGmE937osg3VEA//8fIK5uwq+EFheerUzHnPjZbdAPYSHSF8goEx2YTdnCKbEmUfJ+mFsS25zOC24F8NEY57Qhv9JB4iLWIN/VeOecCA7wLAEwWpg5p1EZy8vfVg5dIKbRPk0i8rjpldqFadHMMk7yEOIEyYVzyotEB0rxJhgwgM4CnkSLFPDQJWzlHGeInvYbLX/92KKLuxgSGQ353EqxSC6b3wkEKqG5Cx7jyxWaNur+rtwQ2kGfU1hWB14LyeKkFm+RzvSssgK/Xz1h9xxDNMkM99tYNQUOKDXJrdgRD50l5aCFVE52yMAm0mE/TshCZxWf+9Ktnr0GD9+aphfvWhZBsETuNwhThiw6+aFEsIft7Ws8/lzMKD9rqmcCpqY4Gn8Xp9UVuF8aP+IYpgk/jM8GVfNzOPISoY45Q59inEOIlY8W3oq0nY9ZOc5TdhjAu0K2ARhqcQ+TCQtijopRC/d2/tIQ+2TLnwg0L1hSsHBZxzxGGe0dn6c/HappJDT9S9/E6HT684WctJmVW4aTmLMe0HiYlNk2J2OlTA/dbSMzh87DicwzLJ2JJ10htDD0dtrLF9+mLRuRzZNfbwDLxojX5YME8rGi4qh16RrTV3jhULTZmVAYjdS+II3Q2V1NuLozGJDO/bSfhItttNd/NY9PCY92qWh/kNiUyPmBUdI53JBGfePTGjkM7Kyk2Cs3xcQoDEVyfGsHLOh0aNdsuihKXFlkND7jlWb8o3+jJWuhFv0Os3EMICCItxRaveOgKRdSHB5WP0c6dwTUqOxSHsDBN/ZiaQJxNMiCLLgX8q5kAkBTQrd+m9px85hLjWZBBg2iwCIKdfB1f9rTWUEQY3EDVBfUn0qrr7dnIgHJM5OHzQA0bRAGAdL+mXynb9fQrb6wmz2br7fktov1m17sY0qPSvXUIz5q6/uL9P+LBBdLSb50Ed4oZxWpawchI7R1BtWo08/FX9boRhqIc6mLDhYgb3wbhgDH7/XLs3AS0ZHHFv9xdK4kBS9Z+LxhT00TD2jbMYUp2hTEYCDcDWLPzZgC3GEUHiU4uKxnlwoz/sNSAuNrGJoVFE3A9hrFIEp9HEq0s9hEt3ivzXzAOqsHp5Y7uOIFealp6cy/+itz9eHoX5qbDx8TNYObG8WE0678FtoCb5xaukTI82Os3/pI0bw3p0nwwQDk5OU0w6GiQkMp6u4dHCzYN4p6MpCR+zrUeY4XThW/mF4a0uu8BaM+/N1uMEXbvp2FbPCQpBDwrBTLrXEO3e+Q++X4jv34VhIihSLxLIPAGb9ItSDR3tOV+40qaAOgectFixvj8HgbV0cl2WUfcN+EXTCwRfVN+acOlbFlGHdwNV5gHnYNbedLJz9bUYd9DuTvL66qOMO+RJslmn6gue1dTSnlzTN2YCX9vdBiGUb08DFAQF/4pmFp3ze2nW/psZFmI4MfQ8ZvujQ8bn1nQZgb0iVtvRwqfWKNz3HEJtLheK8Gk8tWwDpiNj7rCKV+q3tDEVsiDbtvSDE5TRq3hMbvjcQCM7u3VK7Kt/H5o3Hm4Ec7Gp/Q1YwIGRoNUqqJH71lGQRNNk/RWk8LtFwz9ii3VHKBvUGlkAhhLMkuI0Xf76CCp9g94ozBIkulbeZDW26UE5EGHopbdf+hCH6BfFzVDdqqrP9xP/W68LKpEQpBrNNFWQvOy3UfyWNjSoZoj4jUtetmt1GYkuqjg7yxFl3BYoUbaztlov15Ii63Y5LqZ5qmcxlADMBxuFPA2Hj/9KpmHdV4RYElqJ/47DymhTFPFVQ/mi07rpIzlTzlf4aoBleE+tOZCEKPOt5T5g0lrwrfQTOCczyvp0m2LaakTM09WSaesLyFP3CWJgddjckIXWTu8yu0RItowu7+YTQt0ot9mdcv6liP5L2Xzbd567FZV0Zf5DqToUuZlTtjZtnA0++65XTLcmjS/KZAQqkQPfmN5L21JOF5fCrGWdkvJOb0GGkyNBbPjxT3m6lGkA08T7jWS/aOdCxIB7oQ5I9oy+p2N0gJJ4azESalw9gZrfZNEaokgO/h/pjiJgplkZzrWoavKmkkyTFTrFEWh0exvmIbq8AUWnDmtaTlSmpbskS6gfYwZnh59815OEQ3Bo2ZmjMVXdCoehNRyGWoTtCiYbvH/i8HrxDaSSy45n9VPCgaipTMKyuR3iYR68yiCzrHsT0LZKJeKifjPIXxxio9PjdvWIyBZXf8GJXs8hEbl7ZKKpcpEbQEyUUAwhKcbmOOLLzdjACkUIBdFB07p7+arlKEPviI78HZ9N/rhJ+wpeTR/kgkB3zQSaTyxz3xsvN0R8hx4CW+y3pk1cFQT5G4dHqDU5aU6GSAi25XCWyf8rwy2Iip5kWeSfAP4/ssWfM0xsvS7bS268Pl5NNu/zgdFgOJZ511OU4voelVM2I3hS7Wk0S5QZN4dEj3/anJPOF/k9uFcqBvz2AYeWBaEivsV8B7rvt5KFzyqBoCUJ+3Gszt0QEp+/QfAyUD/rCD+k1onxEfSXsHjED5qTzonpXBo3gMP5PSgtX50tUMvt0ZckgtY41pLfn9H6u/6yyWmnRFHwMiJsfX7+i32kJO18Rq3rnvj9dKs5HFO8hie1EKCth05ILwenaGcY9JKHR45gqNWUEkEZUOtJJsHJvTHpO71XW1NNqKMorkh51TaoVaWWvASMU9xiGthUzHIZiP+dFx2hQjWWzDmUGXK9n/Lbj2b0EOpIQxaKZFGeVOGgS7fPaj2Oa2c1pTqq1TMp0mfwWzOErejTo9gUrV6vBckgIMWJfG++YbLMqADihE/reXWinFF8MZoH3ftEH+JjaUpGZ8LRWyZ+m72r9XKl0lajvXkkAvTd37kQXa/stklR1/mPpobm1r06MpWcd2rFQP9xyTLeiNcYF+GL4uZ/RqDiYS78SljbFEVROS+8QCbmzzkMErYcQErc+T746BpMFET1RVllnfg7LEOiwny09lTspleuomF+LVOYOh3BQMS5LrLBkSHQZQYkkTp87+bpl7a+lSepK2QgOZqzjfp+V/SqQdWVlUuEqEKt9LGbWzzbBLsiJXP2KOuRscuW+nFmwKANa9flw6GS+F3MxE3O3V29D3ERQxWYpxkBeQciTi1MCiDRRXH2360rsH8o+H62dMR7Oj5mxi+w2IH2RQvq+F/GVEca+fACg/I+sp10N4IbD3weh9AIZxsD232XGij1WTO3DOwIQHhinKorKgjihF6ezbqgwcdGbfbo9LPLBU8RJRh8BbgMHy4LIsMsA1CnZINycxVZRauNpjC/H1nleTHPTHsb0i+6H+suqeQ1D8hxwfeZfsgcx4ickuaMoZ0ya4hMGOZk94zXwxKmpkxiy/IrGuV0+ydgO7Q9ulCGGCmy87AF72qtR/KlNClBRrliMn0EdWQMWNVNQvbMwHcxpMllhVQ9/IN6TwoeRFDoJsdD8EgxId1RudoP8dp2LrgvWb44JYFl7L4CadnL5hi4hCUocjwhKbCXU5nyrPq1jYpN0znPCa95ZuXGH1AxFkaLURS5+FeoMAHHEjtozKTvUC5UOQ7EOmNqzbbK8tF2vmheYdUwOpqAIIBdVmWDvR0ce4E+ZP7dPRIVqJHjdOHn0817FWxqvaOyykkaZty+RN9YGdr2Ga8B84473tvxqpVIlPVuGdylmPFEI9F7lytkrASdV+rU5sK+N5FKRr6QFlGLHnUH5ThXKPLfQRgLd+XPYNdfSK0WIZ0HHO5bclr2cIqgF3/H0MilhThLct3ND9K73Dux2T+FnSA0J+n5cWhqR6sD8UQMTjuOnCnkrFDA1PSCKPXNSCTW0z1C8/CJQjGaAGfyE0BuLarLZDk0yaJwn0NT9WvRTZ23PT/4+ohbnbchHuNeOBLVEnXREUH+eOxjg4sFjIqG6u2Lmr5RUasj4wRyvsKOwfAjqYAqxswkV6Aw0DY5/rUXynuQPCTarXM12qAaPlBT1Yr5y8yxBbuApGARSN67M1X3OQnJon8RqYNHg3xqAaCbcaW8Oga2/bhYVFNWLpz1xP040iy/0sbEGj9VvZaNhvfBB+qvYMiGHrqWatlTE4snaqW/iwvXDgC+fXbdkI3RuAWyhs7wHXJoEmGg8BpdZEjE3y9xrUnsulg7EGZ+jXLOlYkS389AKN2Oxn+VJOnqGx2WTaewHTtXp86yxaremAHjZlZq6qp7hMSbIdjdrv/NOJEcIaz+BU1nFMBieu7rW4xfukRImEYjDSF9m+j9sZ+q8ZB4csc+2eR/upAWvz78u2u4Sl+Fo1NHmy3kxl3xl1PzwdZgSkS2nvymB4TT9j+doT1oIklEbGm9o87sOJ/tJv5URRMc3gASd1A12X3wbazHDsdkv2v6M5Z57pZYWHq+wHXGYN+/0+mcw2N9EaxOSluD08UPE/lvhp9N4gXiiIfixTXG/W/fPBVM1v5pA4CAxGdwei3/Vodm37VaxJA37NaMJzVbtc1eKfjxr0G+0I8IuKTJPrXPxva/ycVwUunRC9CsAEUv1JGG3G2twjQ4IsVp0teqD+RuBSVWcvLVch5e712VVFIDwc2Z9q3ZqFhxqJ7E3QA4xMESBRdUukYmlocIz3aubX7ke0W+2Zvgr2+OyxISap7gVyi9BO1M8J5KbUhJWWFeTnij6n2c9D/mJwPD26uHhTYZ+zJgWJsRY40NBG1sJil+VDvCd/ZUDN4D9PtyyjWF36V42Wr4ahrZyIHpckMvo8sPm8qh51ng01slD/KEhU6wAcBcNyso0lJibcgisgwb6gKERDLxbU5KGgGsQt1bjeFUFe7Le5hoqlcVPRDf3mYjC23w23bSd8sx+x2rubznNKIFN3Nm1tkNFBrM/CpQxmlVr6uyv1lSHAGlpj61xn99tJtE1PZNATwyIfetbWCqM5NMsmKnovUz8Xf/zXuwvXKPg9T6I14JgzuSoh2pV1wyF70xUfDdteS0Jk/HxJci3hehtJ9WjutT08SPPCyCe5TXQ3RHWu4H0mTC9iSYMPb+P7JLSeUzPmEfDbKeV56jfKhalx+x0LmPKiGWn8qra20ZO20eGpiEeezvabYZ3gzTeNke47/Ynt66sD3V9QXJOn8qygcfn/Jdd7zP0+7HOqWV/fi+OaQVCI4pj8PgxSzFQIflJ5BwdpFgEAkMUMummhPP8EfzqKjP8WfWWiEkp+LqrzE1XClzerUr/+9qJxeMwlMzGme8D64gH37+cxihb7CNEPtas5ipDaQpUsvnu+N0uipibEDvN8jNQ25UXS0SKeC6Exub/yPSELQZX7E+bzExrhuTkibxFbmUamizJLS2WNdDsZl/DkE8XMFs+HJ3+d3pJqy2MqyHobKREVM2f331q4oXRpGSCEtkMMDJ6ADdauU3ChJKuPD4Fr2gSWqpO86akTR6aq/dTZBupdmiTkq7yPzPQlnxiSa/IEUnY1Nmjrn5yTopkbPL9KKB9EbgMfXywDNF0WJupPpcUByj7ai44tvSWeT9P+1yjUOD3z4AZxAOLCe5Z0g/LccJLhTWInxbXUZfwqZ1mxqls3Vn7sF2bOk1YWGDO/nQSjHO/5siX04RGd3NhW1q+kAXHjnyzFWuusOazd/Vuk2Up3FZ5oVq5rS5A7NxbWN/bMdP2Nm8GjJsaqwCCfNFRGPZ4/Ug4V3I1CoWE53qln9L5zhxf0sGFbceCin3CC91YUrcobi0Id8uA078Tr3/T/19uwhCAqb2g3sfPPC6a+CmjxBt7RpCMXwZrQbPYAGr8SzNT3gq3y0LCHyWO8qUYgDXYBkh7CISPElQqMpOko6zQuuEAnTMD9DZnL9Z8hPYp5q27MUN5YXF0sbzmdVczVVwIbe3N7jz7fVDLPlI5wMXNX7zQl0DfV7ZjXwnN1YvOZd7KUs1yKGujI1xWUjIKV9vnGsox+gMPcioyKI11u1v+Xx/xXzzmjnH6W7ya1lt7IgRYXr5UYmAI+Cg5rWZPr+g7iwlVOj5u8xga11uWI/m8lwLhzxndT1aD7G66mtYPzOTS5S6eZoBbhPh8p/aKSXAW3D45XNUdrWv0chSf74LoKvSC+MqfnffZINYDCe3A+xDxz+ShPCTfC+LnMj3T1ZmK59DG27Y5zTIUHWIdSp37GaoP0o35d+ZSOfCd5xNtG1i9feCxU3cgO5+cgv/KUQByT+zv0RC9YzCDqnSVRGe28V4jd/ewGH7k5q3iNU9mLM81HXaba8WU2a4ULMCZ2Ns0hd1TnIjyPBp1ojfcRN12QdaPN52p2Dzn5kO1QDH8mVbAGU+GsXFOvQCyKILOgUYpbA+etEzwDe4Um9gzSzt3Rj+2xn7e+KptgF6RU//tgw9hBSNvPlYYRJOPq4OpWP81A+DYa2siat7YvB8Mtfs4NUS6MGH9bWj0nddlm7lOQ5GNt8w0CGuNPpjGsskcRXPZgAIP+21IY4AHKjKLoyzZosYPpyNSbCl/vXsDn2uw+On5vXCpOmPkXd9x4VrdW6Xr7xip3IF3O2XG4UqCL9QWZTo0brDI3J6cSTQnNkTByeKWSJ9iFwhAY9f4jLunODn8qtBdmXp620ip4mdDl7p506pNfOvuAflgcD7kDkYu27fLc0LfYsCVAYkKmDghaZGUswmuFfrxr1uR2rxXt1U7xixEidEoV77DShN8L3QOMaupjnzUEieEhnptPi4ErkQTHCuhtJlMPFw00WUMEY5ovL9Mye8XVRU4641ECSgrSGc0g7x86Y8IXzjRt6DYN1/WtwNy0V+anhZ4RaO54BhziJxGiyDlCPkC5Cmvw4z1b32DC3yOI1Scsx1vC621YVDHWX+P6vP2QtxMnxfUYr55PzJo0DQfZdANfYjHp0nPj516U2LW20L7L3s+3zCkQJ0faLcSRgPT3uvzT22SVtKzPa4nfLHAwqav3nd/LtOUEBZJT8P0+xtGuvvxY9bQfPmUQv5q+ymCajy+W5LRgFp2wubV0p3EgK89MXu81M44hCqe1iaDRHj5tfXbIlzbyrVfKrv5BQMLbc742UaOpL1yhBGsV1c6bJ1y0n6vr0gtLtwqle3HYwYar98ymesArjXfq1Dl78oDDHYZd9sp3J1Tn5mVkPSTiJJ9pWU3r/kPUnozSgP5mKKh7vPp4yybtbRk7dWnsI+hbNOvp86gFuC3JHxSGfRtWckd7ECjhDAdp6MEOtGSdV62RViZZOfIC37He1d7/P+IuCXHaW1hcs76ODYNz3hlSEVpo6SexPvQJ+82S8Hgb10bd+5DHG9aWX0xujAtjZ7F652NxxVDpgq7Jnd2D3L6HbLABk75LOUS4hzgdbR1LeEjwqnhYT7tbIDcl8TcQGdVVF/Ldy/oWtyOgTj4DQPPnb8rP7tyO7PBv1EhWIBUjJCpolQfXMjwfUCoEI36HinLoQf/lgRC5vze7lH1YqPsi7913OZCXUXMiay98buzv9nhC4A3pFEx/mkWWc0d0CdcdwLWpw1FKj68bOh2UB/XDgRuB3ECilwjAPmlNcC8g+4JNrAXeC9TXvSIAlJx6/mOBodSY1GBpMyiwtcAE9JnhXHUThPoOYQtsogo8s/bvRXDBf9fKlPPH4cNr06ut26tpiCqj/gqPx/Gf41cpQHXndwJ3pnkiNodEW1NhGuBDQtgh4aZHqro5+eg503/NKLXohmsVW8br6lFdbz1KKp1igW4D5/aAaJFLf0J3muQdx8t3P5Msp15X3XAWK/uNsbyucxD4bafDOPSjWp6CDM0m7uEutPw0t7f2LASXvnSTVB+SOrIrsfN9HfC8zvEaGHma72H/I2o/UIR1yMDsKzYxmDWVUQFuqTP+AZOJZ5TiFCbcJzYgrEgfnpnfHDXmnVRCe5r3c1QghIJULExRw1RJsSk3SOX0QTSbqaXOLv24Z8lAUi3URNUSc1VsowlK9n+cOfmnMXaQZicXoL4Iht/zBb3LJ+pA5HHcWTEQKTUIp533LpZc8F+p2DVN6VbgeWbr2MqDbc4R92yFinH83srArr2naC8AUY8LUmj6mwBZqbKG6aYHw2rGH6ABpEoSAoseTunBuJ0ymBpf46SDe5hDGXFOL31J7tKdt2uYsefZnaFyJB5rx8BvJDvhkum12I5HItybELCwK3iZbeqdpCJSjGa8dhvRMIqOA3zPuyx9rGCHYq2ya2wbtdovv23xrwwCxz2GMCei8BZuphGgECJiDVBsknv+wEiZNX8+bjSCtdQgczOYiQKOzXSTpLLZCRmX9EOK+fPMVLzdnNEgO0KkE3cMaH/u5j+da3zyBYg6ylhPZTSu7z5HYHUnz34MPN59TDcNwvu25sJP63V6PUvOK/w/xA9c/xp9eVD6LT9bhmFN5gZZGxOAFpvw3AWsmVjRaGz0aU8Ql5FvhucdFlx+UnG51t5pH/lSMQToy+dBG8i0hf6XOw96klBuAQJMtP/IqHxdDYAbYljsypqqq231x02o7pI3LIdrxurogUVPid/5HTmjnSxJaRbC3tbBk6+a7xH5/V4R+f5fMynPnnlCMcvgAQG/5kxCDdVQzDeLEDV634g0ICs7ZPUzfClfDRkx5UiPH/gsOen5HH2C9pZdLtzJHXxPAyrYbRSN+ikx0AvyC2s/ZXM14Dy/kb6oQdWx496cNlS6e8DJtXHZ8czz8VDpJ5WDTatAYC6BV3wj8x1h/S0UJh5EgUKoFswZwznvjIyRg6DeEI94WI5j1G3REP0o+Q8KdtYRnS7ZKqroxAOmbZU2gnKLkYKQutIP9yO/pluajFucqiCdmdCuw+vNJUMhZw9LkSOonihALq6O5eSIgnWwVQj/JJDaCrkqBog83OI5La615aCKJNJV9YA+yzy/YVL9KZlqxgTTOGnOalOAP4AdIYfW0wcR1VNWyAyYFpFEAY26hV9NCc4UzDm4XzVzkRajkH+3gFHr/MJP6dPlgJXmyuXI1Nw5CjCwrrjz4yna3W+PYimDh/YM6iAOrO+BSXAxVeV7rXJAqFo8rrDUZ7nbS4gZopmCRKfAdsdQEcvwIEQ96ch10ot3/xVL9kMbLm3f3BAX5SXl+wAqhgxdADnCRQkDaRKvyBQP35ecp3gdeG4zrMR5maMhiCMTZmcmoLJ5tA9AnIojcaOciNGSXYMHaE4LA7H4qZOKD1fCCsGbuntqndwPrJEpeUSmT4ZNSSQwURYxJofruEZvjgJQ3aUBcH/gmLlYcyYCvBL+HV59ND+mdPXRkaxkdyMiYrxSjAH5oa5JcLqaoRHWeT2705kq/3FvI9FlJ3DL9STWqPjffOb8CJU/LQ2YvizMz7g+bMRyHxaNkiTlfRTxOn8/Fof7tU7xzLvef9Ar2Qns1Z8psKXseK/JD31kNQVVF1QoCV1Sqsz38a3cx+7gfMvSJBsax+5mjfHZC6Ava1hHfVoJxTDJtw5NLAY3az/UZ26+4RixzCS3nNhrZV7OKNL+nfxASGMJzyOeoHW77no8cJ70nURd8pqqtFcPJX++ooZLbk4mFrs6wPo+GECqv16D+oOZjYY++3vohXKC0Y5pNZ5+yAH0gcsGXC6U5F0tp5oi9+BRci44cdnD1DW5FZF87JBye3LdYdaJRGiVNgOdjP8qwvJWwlbmfRPUoREpRVwiAR4NF1MeCr5rhcVOtaM+tJj5ZuGjfxuooqCNYvYaygXdLmHENhHjK79zhI/DHE6vwm1JqKwd2V0pjcS+rZwiScoPozd4xokGeJ4ICZe2M2qGgKCJmg+SsgMeAAprjLqn/f9vdtbvwkfFeJThr7+NJB3ahx0Mkw26kpuA0bx4DID1pd9X44t5E5dlmL0zfYD/I3NDrpKcV/cC92+M2F1pdiYhZ29piUuF3zjUYpirTt4hJisoN2JruXNGnmlBxZinQm0Cqnhi3+bnvMvtDKoPjkjQuZlXacXkWORKHTw4CCVNcKwW3BtP3vHolCf0AgM8nWQckEf2smVL1zqYyooWre032zeayPBY5yPRLOPH2DeeX8pwSaNf1iLPbEZjRUsFWpE97yVs4QHMSwg2NJWc4x4dxqojcr2tkn2p+6smpiLk8hm+D8JsbmjdlA/M3Woa7IDbYroNLLsYbl4j3eBYSJoDl+YxPrlcqVgeLzVep88c9IUPDBr8LfDdyqEEvX79/jxPhOGKIUAq947hSTv710X1lVkHnQYRzF6LDK0xxTv/FAZxa6kMm8fH6NCRxh4MwLfen2zk8vepOmvCYs6HajiNbFMPPY9viq1I+/YA40nZeoET4C2bJ22qOKXJ61bltfBQaGHPy6sUorIGZWucf/5xgVCdwuQZ2agHOTzr23C3qB6wpRgcIBlFBviRH2ze+YWFfKRrp4DJXFOqNwuqx7kXBbLo8uVXBSL2myjkpnfYiOtdFeNiHJDAxUocADF6wzrp3SAVr3tyhzHHNKpuOg4aSXMqNTgoyiNgbm7TtJZ26TKDy1rf9z7QzcUQA3iLiBMuafx//B6IBk2fVOZaNmn0dBQ9aoo6gpUuwf/y1hpW3lOm1g1JkUjCIOg9RB1VgcGLQJleIClej7ZrAK0kZ2yDAHrGpPTOuPdcrT6MqIsjDLFUc+x2Y3jup0hzwpMdLEO1be30Z3zSxjb34UGO4Vqkti6kE3gcxJwCMNFLA1H5otNHXKSR/gH5pCHNuC2812wREsgQAHbP2rvbKsLoTKni7zMvMDt7hzPS7iOlWmXt0GocO1IsPeD/1JQqPe/hA7EXehRiscCPR+VWvw6Fk5X3aW62x8oTyRRxskfOjnrWwHYXh1lZ5uOMFhXtosawh2U7Dn0GI0BoBd/VSRY7kInIvfD5g/ZQPmMn2rZPXVK4Ka69dlEX0NxectWyNJku71LrMlUz7ZyBBgo4ZGWrRwVgeH+KjgvPGXn3VAR8X8aS0DQzezOTxRCPDW8wkMZ9c6GhdcqhRxBjIHQ2iW36ndRbm/mI5D9XVg7OCAtXNSjATwRjbLTji6ZmkXt4/yCHAnfKBGPaa+yQlsH37KuosG/7BVCUE0dXjHTNCww7/J/BW9QxvqAbYwtAkWRXCCPlJ6BqsuFAgoLrSBojTU9G53IbPO2DpWHpH6hTRUpQxIl0jz/dd73teNFIrPhytS/RomsmJA9/jxV6dSvj3WvNiqXakQKD4c0ojIBFdQR8QcCqiDnFaX5AvLQINNbbiJ7SNIXe8afm7BxwNAXYGfZIAzGhWITL8ONncSpLFMSz62PiB2JSzH/9HEAiAhcR9G7gD2BbCjYQzLAlzhsRmSoEYJt+oll/5va8pVAdM+918zKR4Zxx4wSecshHA2AGi0dAwuIX3e+y5Fxz8o5jDcYOjLkyLYRnFVHIEO3LiKTWFAnh+w/abP5Izx/cPez3xGwgXwIghv0FbCdllQ+AyErq9vfelk0nn9TcmHEawUb2C/uP7p+hDQrD7dlGr06w93exg7ROAW3XaIlhxoq/aKL27BLLWzOqJVYPEjv3qu0lqCtMIK8nVBZcA4tcB1xh2iskESs5H6baAGnkjSBWD90jHSAuepCtRAF9ugeoDHCCxA256gbi8kth8ZGBXmn2jlNwP9mhDI/k5uOWuWJfskNS2pfx/8zQx9HK4oNJkLaD8Ua1SFD2bo0faUrSKn1ofM0L8cOraAGTju3XIxR0K4kz9y0pjAEO6aMGxz5O6kmjde3fESEexIO9+9Gu3hdt7rH7E0gzG6o+bsPRqqjOU5Jfec57pstj6bQV6N2sU+5IgDYCCtBsq6ZC5TUcYXJCinYmL5j18kI0kyjtntZspBFWREObu24E22AUDrjTk9vNEtsJRKyXau4UkQe7HS0z4SXsFQ3G/ubLmpssAuhPWviGuRyVjc+iXwvJQwwt6JuwoYvDDjZMYt1w6yY1jFvwc14T6HAVU4tOElT5kxY/7vU2pFaFYS9msFOECWcxA0E9A7F6OcUcjauAfDnPJN/8A3vHzFbp9po6VkZEWsjcjNdCtgFU4FHjj6fs7kUuUdxRAg+hPR/krmsz9+KaAaYsA/PDXZR25zKfiaiufcpdHB+6mZsGdJPd4IBHGvM81jY4npIgyoaSSrZ5NHwhIAwHYb3dRELsFX2xlu9sy124EICt9BF7GAWC8p7MWcIWIDSQvGMzW5Tuihkt42deUjvECNCoqQr/2ERXD/6mgm2G8+E3mwoC5rwrrg1apDFETuuOlMJFao/qeGn4xXeZ9IPEexOv7CLuBHDu308pLMmrCRNOUW+XBZE87BjzwWBXuJMzXeZNWA0hdp1haVZBVZysIfXprQXAGH2zTs905TnHys/FNzWlsVgf8f3STAAtRbgk8Xq4KLiCFL9PW8o32ysIrm4G1JVXPd/vPT4kZejgmM4yYrZXVH8omLTAaKp+QhgHN0i+XpwhMt6GHpD7bHf7N4gu41IoTm/b0oX1E4GLwNYTBevouSo8JwWIfGtQab5JymxOSSFSu8/jkFErWGyL072aXqEXEPO0fx1zrlK3oudJStnfIqSbJIuUQZJ6E60bz7M/Bwsw69XOAdORxZHk+5/YFZshC3IAA1rWqqg3rh9hB+hw32tGJkfinRkLaphve/K3sJLOH/HpjipvZJTFaY3Ak4suTKzNZO34URp7T668v0Rb0pWdevQp1HHdTTMprZVdhFG9W3iOT+Ox62qZHLV2xFvX5WxpGKmAXLUHmKT+0Vsk1YB3fHMPAJi6GUgDAfj6Gsul/H4Ac5SdarYKikcOj/JnROmXqBaDacqs8bpr8IIK2rskZ2ayhe3lqMu2MiKjamOPv2GEcga4SUdXAv6mY3qflyf9egVBnaHHjgGH8j3gF/N/FC0EKFMkU+tiMuMdYofapZp9t7xmNYdHl6rHpk7Xz+cUVS3n+VCYaQulcefwjAlw5TE7dzQfbcv1Cp7gtwTPO6Fr6GGHsCJBaFlVUSv+YyHG9vURqJtink7r5StAgxOlc2f55bSv9DMhJZpDe+DcB8MAgvVuuVB24I3s2zCG506RlgrCZ6D9W75BgEnxn+s7tf2j3aBsHJ+px4pls7VSL747vurSexP8PPPwycxtnzuAKbTqSdth3egz4x5eZKlICAt5o6MmnLBJ/+Q/y8V5D2tzgPuRdbn4p0rVipe8NEsuxVlPB7YwvdITSYkrnQ2/wIJc5x9xDBsIiXbog8+miOIvaOUkz1oZ0sebrhSxI8R/qMQ/luWWqjfR0dPyHIbuxP0PJ+JpWLOo+DZ5/kKlNgbOdRjTCMgUTj1eDPd/MreKOxB07yMYzum1QvhPrie+t7kvvMSt0ZEMJ3sHqL5IGmH2gud8TZpPfGl4xBTi8MUC5PQwJpSXufXzVh7lHTNKK8h2ZF12ZPCwA7/B0qs0pOao2mndA9Qi7ibOYcMMg8m6FQaNeKx3f/sHmHsxeApOlQ7bG7Pi9ZBD0DWd9KoloQ6zp77kH8S0rc4O+dzFzXSR08gHdWOPTk+Ufs8v3ciCgyC1TqQdFhXrrUM6TxDA+6iF2WXbzmeY9W147Lt2ci4ciisP6mngy3T+8zjmUzc1gEJoANtgcHWmrxhh0FWJjJGbZvfB4LhJz6r8DHfNJ1ELyVdGLVVwxHh86eDCCjxefuBmjQ7ZaWZtS5++57ytxL3QDCg+HN5c4jLUa3QGUmjhh4wOHbyvEnQNoTrRtM7h2Bvqc10R2FF53uEM5lFjdtrkTgB1jULSOVh0YC1mn9st0rOX95NgJdi7LbXxxDeucwXydZYtSoMf4euAgGh88iGYE7o5V/4OqumlVSxCzob16jvoNF2k6wtkFUGB8tsVhxmRLQHGSIz8t8i7SEOtqEnHhkYfxMWpOuE58azOiwHDU61gGiA6omOy/smT49+9a2lboPz2+I69liaDZKDcdbgcggoDsLj1bf09Gy0KL0jpBXQPzKj7o0WpKmMnRPgyS+XczjU/oRX39gQu511tlsmfK2Bk8A/ePPo4Rbb+Rb4tgG8doMbr0NnoFIpIEWPVqLgafkQRRZDsjcfSu0hRyjNDiLV/YoefGWC4d5ZsxUgVdqhZdOo1Gp4Hfd8ewIqMb4qKkiC2ZBBXb86mPO2JiOJSAtJcWDr7M2pRH6liPMK1lQQuaC3XHCuyjQGYi8+gzxl3A+HRJEel2Xl17RkJ0NxZRJsk9gTFbIRLX2N9S7e+3KZy5ECQl+NODwqxys7uF6FWGekfbpK7zmkluJqQ+aKtikeSWcHL7uHwkQBjaz5NMsQDIoreNRFmyTQYyGj6r1QuUI83roWQsCz8erS5eSFVZxUjuh/32gw6ArIPdl3r2Dc9SqMrveRNbM6DqrzjuwpJ/I2Z1JHh6rqasFlyncri57wffDER5PcyMK3Ev2FBOxsvrjCEkgk5cPJ9qM6I1TS7FzeRA4ittha0d5oF8JQdXlKpMvh4xfwVo0+pKIBTc4CBLuPBBquO1jyjW6LN+UCOCunh3louB2d9Yrs4NyM8VYand+rjp3DuxknAcnFtughWmd9A5X4QlVIKWLfLam2dYnI16lQAjW5LQRgdEzFLxuAwLnxQoO/eOJK/+wrA6Ki9NxxiJrIAwHmgncB22jHAFmxVbGpV3wPM4tXJGd1gcR9Peg49ZGd6fr6qUtiH18HORpA3gLK2kObVUkMDsccJsjfN3iYuWi/mNyKWKzmwpH7WY1LUf5vn1TL7qde+JnAhHjUsRdM3KpRwKihIBRobBOt6f4g240BLniDdlYehsfvPYEzBPBGD7RMv4bCDkgvQpBHwXA/zNqCJeV6N0YjBMOUdLKiTLkxpO5LWzj8JlPSf5yKR/Hm7jW0yFLUIhpVGm/urXAq9RYkdzyYzGBNM/NwPTpuw4xNHmy65D4W95Pp12OHIz5ug5Oz7c12gJraKBFD/RMXtUPd7mFI4cDSMyQC8d7ko9kqwJehQNR2KaeujIyVTmP8FlBjINtnc1rcWmWiB83pXzhsDMZa4wlAAKXC9b8UJ71v/NUZiRFxKZyAXZW6j1wveYspUHtypKKRFxS8YGNWAo9pePB35y7LLkxlwMHcZbQ56EpGqDGktqmRa8l2I08vAIfBVRTJWbV8G5GI+o6K2zKAN9ByFLrg6cRZQ8K4GF6QbWr5U9TdqXMnBy7JeXFFJ7aTgotb046PoMXBUaTXn3lIqJ7Fkh4nfUk8haPFcKE+QUNksbuoPGa/VD/UmW2CdFCGjHYtMATxr2wxyC8CP0Mzktbg/htG5nByTIyxz5Yq7kZJX4N+eVPhnQCvtG6RgZMk3Rd6UKMBpoJqFSqafPaxDJknlXQiZLP0MGAhgzMiX6nf1TGeddJoEUgTlLwwEv52kTK1pA+ej99dsmxp8QSvlv4p58Hg4RnJ0BwKpXD1nkN4Qx1oLbVJQ5ZM90OkR8kPnJObaoabJ5YwU8+dk/6SICIWRGd7EVFHoeRaVgCcoUTk5gwylW6hZJGlEqtau59sBRaXRG+Bg+MOr7sExKGMV/p1cLEhTQr/g4oHBiZ4CUARD6E8yeI6WZFVfkIF8HaQRi3TmYMYE6DIEYwvuWwfQU/GQ0g49w4HxxihsQHg0K05AFMVVmwa7+gfpWwpTcRtROotKdrDgCf117h1vS/yl6qzFac2HWqlPuMX3kBH55vIGVVZSrxgtNzrCfYqawKb38GXgORSsNm7ZWLtGrYrIy9odYIl3JE3mZwsh3pKdYFT2bbgT793fCldzC72bcyvaMTNtRKvkuYZRjZLdfY4F38/tvcwWyH23HB6rQZpSz2RnNPO3NWaIgPDIpWIvE/A5bEWF59rDpD5tEPE3vSOgFQ9Ii+6/w+K4d0UFqaN8z2jW+mqF9sxsjF3Lz+MevumRKJQzCR6a16eqO1CVco7APK1NErFzByVkJpaias9teysFHGZmCZFO6HxlFkUQhdbZLyYPhC4h1JpcOUKRNxsQ0wUXqjfkgdsEKhKm6YFB1lFWE69/rCfYrNROfUvFZjRptayrENQ095qq+qOqZekqQcGlNmX5C/esw0ly85WnceFgA260fNL7g9eJMOAXsJrWyQhUA2/U1K6Hg6EQLWj8mDdFxI2yhn4xBkbl4RWCzK0+6uDmIG9QN43+sGO0z9t5wecb6NVIfYhAH+Hm+DP8zi6ughl/raJeXXArfDN/bf8Qy28YQNR4WSFkhNIv1FcQ7cPyLnWtFzmERmZ2VzWDnbeLfwTXsL6X7GUEp8AFmI57mDVHDXsf9Yarw5JuzWCqKPQTDChY5GeCMQhwlXYvSwRp9Q+GRawi5fe4pxmrf//2OUckdXbt53ZR4/TL/EAV6Hsj4c2sIhP0aogENYv/cMk5qfWZk1Szvm4aMhtlaMMBk3NxvldLn92AH6Je99SYs7ck80bTDTI+4YKLBGvjYoGeZK1tVQUSp+c1ZsTBgm5UAuXRYI8Qc4EHN+Q8LkBEVs/Hd15RMqqxseXeXQWorbkz/vqHPsHbJkUCzeehRVa6uVj6+UmrfUP5KL+W2Ddq5bYmIirr1R2sfaVQjb/+HQ4NOOlJvBJDFibvbeNCltwLBGFsKCezU9ti/YrgeOPYRx+CI3U+qKdgz+BsWIsVDIoicb97UFb6SP0qcUumBElBrPW5ePFr4hqdjEoqQMDjpQWnf8HKxLevw+xfIo6eLFlGB4ytlqnoyAi9nJNu18nrrgO3Q4wIkC3Ru6ZSCw7Dqm/Bup6CJsnBuP1j86LFrQW6fPE8R09LdnZmnFIa0mRmSu59J6c+Pm+nHmGEuT/s0eNSQgs8NNvbdoXAAU5M+u5pgfT3GEEt/kOYwgzMFuFGAkJaKbI3gwNfezmYLQZfccaiVdPIO5zX/HNz+/GbXkSxS0U08YvnhxEhCr+xicPwFhrAsrSlYLOIdN2NYs6C9/WrzBWI0X+/5Ocklgg8+3sqGPy/vo2A6/Ehzd0z/hRDuU8hfRBJTJWY2kmEumwTPJGQcgge6B51fSpz2PpwWJMLwjWJx1WYNNx0KG2H57KE4S3zt2ubA8xlmSIG7Nu7D5ob3yj+s+2778Ydore4thzfdfWuT8FR9oJtxsYoM4Vs3anoHIT7cLeD06eMKR2Ac6MCA/ByTznNenubPy13scgwb4c8wsdbzKTZiJ9x/sIZ7DHaitXoZkeenBsMFaOqnz3QQcL8Dfmnslo7JFw9FtIPt5zd+HsJdZgU3pTG3oZ+RtHodGqRshYmg/zLMQYULYgY98DNT21c0Xq8Mov4SXSDAbsElrW/HbQHSAhFViLxxIH6H7nd2NsD2Ucr9/crKjyHCc8irdu6GXERjOAL5ed0MXIIW3a39IEg8krDELmXi4wDbvzTw+79+5XhQqHfcSJQXdzq1f2jIOZQVgMS7ozF+axjgsKaC1CvjA3eyrgo1aHh2BnydMJaA4Js3rqNtzkh/3vFx56V92E3O5Z7TBcRCNP2kf3uPbkjUtri29Sg0v9lFhv/+5VYE6YhGUDVKwFIVd9gyCjSJlnMps5xEapo4d6+fx2lN8FDRtxJHzbRWpei+WGrjZF+KxfcEGrsOaC72eyNcynhEOyVU0uybXNIhmVpxKZ2ExPrTq6EkVfJ9x1v+bQkN+a1qawWXjYDCHt1NhWi8Yz5ZFbZ1RhD0EzceETlrx4fE0TYASuiLr8bIlVTkRI2dPc1XExDnNOAp7vPm6XIXztUN4Zbhxw2mVSDG7y2fHcA45dcMX4E+vlRW3DkX3VkRjv8MY5EUEpgIoDTAwKOg3sy6G4A6QSXy+HatoRvSgu65aLVydYeXROcgAxKLThXFfu0QZ7uM4q3R/sgWKkFacqnI+p1IJR89MzZWl3cNm6qEK+kdgzSLYEO8rqKS81+MS18dVTJlSGJ8vlKyyMByGU/XJ0QCOZpga6Fyi+ebBERpwV0KveAiPA5nxOrmuaz3kiw84+veDl1zFzzS/jqH4ZWsNIs1s/4FEElievkog3o9ajStAyJ164GdZIgaxHoPdQSNCnPWqOKIaz7NzGQbg/T/Y4O9U/AVUcuTeDRJ4HOxjtQqF0vMXJtOEdm7go/+tyTTmnQKN8yyFaz1HjJ9b/XGxqKPyRlSQgc5n6Vyos61XUrBECPu/q8IcE5RNp+AAUWAtpz3vOutsv4+GdR7sCPejws6mUiAIJ9O4nn5Ry/7SYpVbtxhQK9+L7t9uOUPmdfK1syBG03bPL1XWYz9kVKQCgac4rzpwygrj6aVyEyMHmzFBA3ZmTDzUtGxx1vKYdn4IhwnatuteWO/n0jt2xP5pQ2GrlDs6OTRYA+SHt1ycvwsR7m1MBEnequJx3qVvOQGljjfrbxOkzzqlcgn05wM8O3snmdTn5HvS9KCfGyaxzwuq95u4tBWcCUkDtf+iMXp6WlU3rZodBm9ovTdgKULQDYqhXQmeg/hK3DUQb3cZmIvrZVvXx/x2YLEFA1ApYq+gz2TqQv2LU4SG1gz5Sh+SMvu/UKzJQWd67Aj6qzx7tU241nosHK8XiYnQePrY/1sCShJduaMSAr9cRX5CKrq2eJxgNOVUw5Sw07kgpC29D2KiEbnK/HkUPjLBkgYjhGJswV4e6wUcTIiEn512dC2GykB9Uvh6cdx1imwzOc4+zI+gxy1JFzM8tNTBjbSeuJcavK1hPGeF6TQhXcTgOx5JKqgnTb0GhLf6OBR80Kn9Fo8s9XLYKtf/eo9hdfuYn9LJc3D1wj9FqXfiOcvoHxXVh2a0sNJ0OE9TZWEhI4wLZqpGeg5WCbetijdgD/pZqrJDcGRlpqsx6AuKPz/frr5/unaChytstmGkM5Fl0v8wi54vsCEov0m5Xf5mTH3O1UPmsVPsdznRE7yIPLbPeKclYWqAkUPeUhN8NVM9AYNoiOW8q06uutXFQpNhstn7ePBKqEWt9wZCFGWXuypDJb0S5pLVzyrevP2uyhEyxocASIbxcK79rvrlYUIsrd2Ga5cgHdMpEOVqY4t9aCLrFf2bDkZVc7mBdZPcGz0wbgv9dZBXN6mzQ4HIA1+5jST+j9MCyGUCmNE7kP/K4gKmiYHzr77AJQrru8+RO/17W/3oHKf5GgAMN+OoPrVK5dbqjzrgWWXO771+oq7tPL7VrFPHCeAjc85NoqUFTMe3WmzJmgZSORDS72eo+Pu7E2y5nSowBQKta88t0mJjjbC0bZdjIGDgw/UD6GoLf6WoHRrl1SCrAp0z86PlkcopaKm9jxVcJfJd/rowiVt8p72WNw/JZlcwswVfzTzFV1XiVfuLF+IvogXpzUfhJnhI+Ve6Bq6aCL17cvSlAdGuHoi2FzbFbBgSB2gFlyCY3im8Hq+LXrM8SaOBvdnhoqZirHn3Ists5V3/k3Ipm40DXTXcFPvtw/WDBtDtUcTgun7sv7FSztSmMBuHgkGiSBwoz8N0xuDfdRFM8BB1eotyhku52DBswExoqv1k3Pp6VjHGpXurNYEDCeK2Reelvw/ZWhmf+6bHnr+stcdRA5vBCUxyy0+Sdwkoy8TTvLOM+SiBxznQ1Oqy1NdP8JUr+EtloIAMOipmVwkjB2PHW1qsY1IBvIdbEQqXje7zAshA/AvuqdVOWn6T/0bqSctmGmq3Ef3ISsZXssUiwEgysHYi2qrF3L6L6gE1GyvgClPfsepHcvhgZEQpNB7FkEHRpjIM8HI3026LBcx85z6gfiSzXYVVDqEAZQ77diT6Uqp70yGwrIipfOwZeB/2dr5A5qqAyCXf+gQ+D+svu7WkhmsvCYZUvDbZJvi4UoGWM+syV9FNtu2OdZ1Ikom8lW+yRjVilG3hsDnHqNBq9w0eDbpSvB9Gm+RhJf5mRsUEb2waxN1gJwVoII4ikOrXyXgfAnws6I2k02dDhUUepSqgyfve4g1eS92aAxD2ECMnQdNCXQey7ryHkqjAdN/Awrj8NhHuM3p7LkZZFJLfK/+tc28QW+SAipltDHlwSFg/aw44IECTX2F//g6wwXhPc0TlQ1Jjeg8nrHNg2kPA2BKMINHzqkrkYIYUQjS2yH176e+RXXr9B3oC/pe+PvxwlrjhMMnBJRI09cxss7KG1ZBcC/Jb6sYUu8ohy6X24GrX/YqpGWdy78JhAO3V2rr2OlfY1WHECioUfyST96g+nFk9NE+pj4TfhAVWWkW3TzrbC8Ha0hhYZvmhipRsIK4LFiOFzicbwDXbte7hmGO6cJPzDxafI4EdWTLZ9VVn/76krAO3XnKXRffDiEhClXlxesNoAiYyN/EUJEuXVRXx9c6tfBkHCVu+hP64IYTcPOXuuKxIqe7yl/X6G5wCCB5cjg4qId9pQ1MmYMS7PoRXT31zY6kYx1GHFU8G4DX9nt2XvxIeKkRlh71Kxl30P6EflkirYIJyzzR2ViU+aTFqR4x+VtOYWEDBQKas4nJQxK1mzY5duNtU+InLPRr5iCMuHShqg4dPgbl42aQCnUjc3/4E+9Q9Eah7HX4wSfUXUEKW/MGYHsUISuST1V6TphSGfaxa7lFJwuG6sLjNxlkkparScSXHGUhQnTnbG66UbQLtaCNR9UY+zvCeR88jOw70HhOH2sqJ9q8vqSSetrIpIhmlXy1Iqd2z5fQZ8PNj2w6JsgK7gW5+BSC1va8z7/5Wq4PqIDraqT42F0Z6MoNXpLbAGI2EpN6gd7Alr1c+xMS28ZPltwNi+6zKKGmekAsW4Gc3lnfVPrd/3HnMFcjI/nQV7Y828Gf6QEFs45z8CThgyAM3FCwvyD9kFIbW0DIhrOjzSn7DNl4icuBgnekwNde++punjcJhubgslzqky9jlEs5LBbfMGdmK7jX6Ki5wuJCtFUk85XEVEn5pYC7cS7j/OnsCbtYgGwV58LnSfiafuxMfMvTs/KgwviXI/523qzreYRywYThtsX9grqvu6oJxkQJcVyJXollX2Mt7t/1a9J4a/l7jjtdwt3ZkPvN12pUTyuGxd1oG6W7Q9gZxlRPIRU9pGOTgQUyUIKh+kndeRaHPicgEhPZcw8vy9eJuZIa30hU7eu1JKM4lOVkJRvLacCzWFHofVmkgCHw3/5rOYc1b8vepJsQ/GWGIEt2PFbVVLcoF4w/eJJyGU+AI8NRpPjjDEiBFFKsblMSt7HwxK6gfoU3/zjUC9qF3H0SD0vjD5S/25L54sbJy5Xhf1rBQiQ5h4LggXHjYBu5PkzYLvDgphX9E68ywfSppy4qw2D15U9AGfUSHnGWWq4niUAhdO2tIlQPPYuM5uOoG7Y4kZEWMxwq99lZ1ha72GbR1L31XTdChhXoHnI31JJovZcIDkvdIX4dpevF+rZ/cH3C5PSjk+KzPbp4MizeyjKb7EFik/KTxApthy6NQjnHgNC+tvbdktoJ5VZ/CQVHIhk5CoCQj5F6zbOFZZ427IhjKaToq4mC3g7yoxFOwVFLSJpc779hVVgr/txRhc2Ls+7CYPWq/JsyiYgcXjisIsmBpSGB0FT44rEfXKrKI5yTXDGcVTyyUO9yQxQgdkNr2bv/Kt0CxSiOH0w6O75gP31ibmOFHHYkyhtVpJZwhUUeaEZiJJoi98Dur4Q2dGm2PRJVsvuLH/TZZyu2yo37CJK86gMpLkfjD0AF4XF/9sZznzl6tdiCeQUCj44S/yMZgqZT8fQK7rJZJzD6vfb8a7aPI5gJOoMQeDQ3XPc/Y5G5t/WOb2FkAz9aPfHZ4MYwtJ701eCKYUZaG+NDSEa0RKHLtG8fu34kKN0mLx62jJF6H5RxmreQVXkweDePASs+8rHOcbjXiijNEu9ahLjilnXq6OtNXvPsSQi6mB/fUtRpXIAcfNrOnS6WXYaflln8/jRC4YttqszpyLbxdG0l8cwA0cU9jk4pQD7ipHdqcqyfkcOiIpA3baidpJsn2pl6XmsoxuCOqlaaJmVsPg3nyjLd50WDtB58hKFQeMXiysmQiujdjOWM2isb/BmapUTf4jepweZxNg1Az3oeyPTLqeomo+loohYis7w5iV5aU82i89bAO/WxHloIgqXgvdmN+L//K1H7eJI7HwzCyYtxxASs8+zOWEWw4c3iwqHZ98EN/v00/1OS3es6arNYPoW+gaV3o6Mtzzc12Aapo0pj77NYSZMiUcs34OVrTHYLYZ92rx1vAMaIL+83pYq7L8E/G8AYftA6ErsJa0/osRyC+4IMt4ZwOkWaWLg/W7gESb0fKOV7DHMqdliDeUCVGc7YCSvyi9xMuZ6bUg7IfJ58JBgBQI/Taxc73T7wlQlfC7A5fINT6pWFrqvTWP4NTFomC3wn6BPmIcF25yrwKKbWxOOAOvz1y0qiRDq3eVEopeWrtg+zWORqvuK14z1gLIhngqKyqN2go7WdMhYX1XI7JdCq3RZnVYUrq5jm1UNgqRnknmDp7kAjB3+kJxR/y8T14Ime76/Hz+4QJdGl78PUD5nIlHK3U7s4bJPSz2Xjwq4EsvKAIvmpr3dzrJhlK18ITS7lgptyca2NB6tbt9lR0W3/lilyJeXmthdjU4W9dWV9y4R0n2UeVsxkqyHcR8z0zGfgK8proIyYF76At6gE6wE6eoCQAoixMfOOrrJjNkx+5TpIVNOZRIwOCzf3z9KFomwV5u8uKMC3YFqhAPmhSExQba76AyWmB6VhSksuYHPRqiX+VQ9J8+HIDnPLmP7faf5tqlJ6S3fgoIMo9HLLWweCbiwxPblX5pKFXbxPSw1iWoGhsPseiESm13jAljxvE8VGTGOXiabd6fwUAjUrbu/slBAcFBKAYpN5zn9DK+oaVY9ZLl/wyHe/tfvC+UCsBHssANMxflOI3C4iaV7nNCuRwTCHbz2ZX6hsb6tbynWvFw2NdoDEZT4JRhpJyQyph9J5r/4vQytysrwDYN/prvBmCXzDqeqmaoqrWVRLBMmlp8gAN08A9oxaV2tOWKvA4l2PHCkA/rdmsbD3Io2PzWVaSpQdKA5QUo6PRNVftkEBnDyXiiXUx6agr9CCYYULJoeMwg96q2OZCo2X/ReLeTpf8O7tqrRcrE95JEfdtMjp8lRVPRpZD2x/hzABAekEPFnYwR+Xm7cM3JetJkQed0P7x+R76fdArP+hGMfa7CiGF+Nuv1ptbCJwpVo9+FEuEIZou2iS/WluSQvJH0bvT7kW5GyR10d2tDBZZfvjDVxaHotFY4X7L5RK0u6H6P8xDKf84sVBS+OcEfoAWwQHp5INKVhKZMIYckagLkgixlAuweBm377RA35U4fR7c6gcxcO1B3naKLkJ80bh/6T45dEYa8ObbnqH1LSdXyvgAkMksKBaRdip9BK5BiiKHiozgAh8l3wWD3QEJzzlrz9WL9qJf2mH8GtZJmcOlA20WquDJ+ccK5cIUly1LOKzg8ssl+q7BnVqH66Dp2ps8orrPUQo+sOwN+J9hKbWexp2LqosGvS2WCa78aIvXOeeLJK2zjn1LBxFHyeH5BrOC9rUDtAdw1HdOYKgXcZpMZRJQrLOQdZ5j1eSIV6RbKWipI2uXUFoWmmCqgrdtCv8baN/oZe4OsaS5k6WLXk4qys4qZ2uEy9CpMtQvLKJbGqJDHYn5tSC/gpUTU5V/ePn/Nozowy9P1zs1BUr3D55rQPMbMYp+t4hHcWpmAnObY9GX5PM4QsjT66CUhf2Jd+M5dlLDJRtqmMMgueebQtOYrODVL/5ikFakwhe6/U9HAtpbnGO/twD0QdtPUw9/wkoKXPMCEJZ2TdSkgavM6yodF/lc1ntm7LVBa6xkjZ0o4KLM0OKZUW/5qgCYFyHo6D8EbrcKdakMmylBt6nq75H4lUS67YuuuQ3CkMmvvshr+MXFwhwe4oT9qQkDUgjyxRwsEbBs5eMawHbfA45hFkwtDcjtVbUdqx1OYgTg3FFRGT3XDl/WNgEwXFN2akkDD27LyuGMkEt2nj4bfblZEsXy7CGSqBH8DMDuXajpB5kBLQ1bW+oPRmyCVzrwkRk2Or0deBOJNuP/ilkA8fKCWv1dbm3h6R2Jp+LETZO+SpvfznZhV36MkxgQHH0SS7urgJAGY7zRvtmelu4Tk4yPZzllUgPoXE8ecaBEEGhPEL+/lYf4xMxCOdL6h7GopukMrmDhvOb3IzGOxKEFkloRKl+vRPeF6GlBiQ17Gr1gA40yvYgAI6Db1ipxiFWm0zA0OSRlhl6v/VxnMLYly1qDGy+bwWc4OVsKJLSHXTkjiSUwCgSWZi7r4aGdEkzYgAr5KRrbSuChBIKrhahrGwz/0vyfd9vj3Rmjr0E0bHcIX5hgQPXTPyYf5E/zNhbxnfv1YM/fgabUI/Uxb2c9zyQTZB0r6OwMnUDTxoEMfCAdLPOYcNxGj+XG6s2VXdY7qBNd4al+3eCbLt/t+hKFGWS1v3G/dMJBxn8V6tDgDi/SmHkhef2O4BEOR8C3AJNIKUNV9erBoxC/adUwaE4kwUX/GIWY2ZJad/3VPmIvbA5wLFh43+qPoJ9iVphQIWKHuRZDCaYE5praKFQom6MgHLawZeioTbNvEnvRX5E65fNjrhJmO8w3XXuNaKc7oR2KZlZUbhBmaJybyIBOzhJWqMXSQelSFS09uKCooG8+RAl/wpCqak5xFVjakREJ033xDgcKt2zENIZ4n1y+SnVITX3TktTI1EH9QysGyCyhyo1uImqBnjM+jixr8QUS4d6n+sbWNcQnpLM8jpI8fn2dndtRphzYrqobAwXiRNNmAN0NNSHpnbTHY/lVm0XUQ4RZ0KTPU+BMUNsBVMZ35iO2KnvA8I5BXJ/AWTok7LjvJiOfZfDv6pXXKkFCKIM0WrIW8Z/ig/cuutC+2WEGnxEnBsLy8vO26ruDZYyNedBF/wzcB4OXJA9LhMwbi1uGbDBpdoKZrrXaDVcrRshSWhM57l1XIksFcBPK9uXn7ElboOk0qqZVFxz/O4osjL+KlR6OxDFSABxdTJ0Ccv6Zk/OSrPo3YP4vlpeRuKYAUG+sE/dGY2vQQNS6qHlD783J9JCXD93Ze6e/emz9X5NHmOQiaB2S4wupu55ni/VOsaOdTPaBQYpl7GRWcvRqJujMqYvxqFHtwLITdv1IgTkh6w9GGZzTbSCbVJKijIDTiBomqZ1QUvS0/uLxr1FWJ6iLUBA3kmfKsA2ZAKCa6DAFWLCVw1zfKhAaa2uwMGtGk4SwLULVLlNYClvM+sEcmQl3oJEqZ04aEE4tz/sUCiaKQ7LdSracZ2VUEE1SqWDX65jm2ccpy9fSA55tJzsoaZAuXIt94O0ISc5QIKCPvuSOSQRWrehSZ5PQrECz9wqBoq/fGuTkeStu4YlnN9MEutfmLKwv+yc+wU962bl5VuWIJn2WqVCwxkscLKBDBunWzzpnnqEwnX4DHNHaFvxxdkamVMRGFEMplm0Wwq/5S6bcYUu8UsfIoBi9SnX7iqlTWoGKDMlx521mio1QXKARJKirQVQJ8/m4opgsZ0ZwfaX3LRRIIny4WyJJAQtC05IBSGqUdDI0zLicrp6tj4RMc6ZPsuf9rZG3ZTTexrNIdHbJbfwCEULAN12iehRAO4JIksG7tDbzs+8PwBFKxmlGGnIrBX96AvFl2bFUQInhiCL7WEp5zcbiB0rBRABiZZPCh5xibJZbmnmmIRGdMVi/qYCVCHyCzGujF4xMha/7M7Ji9OwzBpf9xI2uzWwVwE1MULbCF0iHfA7n/Fd4SX5GmB2bv8Us9PKsu6UQPP1ile1gEEOCq970TtHGqfiL0DUeOsUAql8ecxQBcfz7Vghe4iWBfmk6FY45yvIUlJ1/+xxE1grzPuj8JzB+wRxqEW9CFEQsMpRfvMmZLdOLdm6+IZc9Lqnx0t6zglzfOSA6VwtcfeLh0JADG0oB2e72sc39x+0hfTFUkCRGA2HxTJ0v1ePam2zkYJWsIRgeIQirzLf3h0Wh2/agh1ooHEQAoq5bRUlJr8NUU/y1nbW+wTVD6zdpaI4eC0qfbr3/eMicT8yBwuV/caobz1uWJ0oro3ErryLxz0wqu793bDxmrny97ZcVIOVQfclAf9biIaNZJViZJA3T57hy/THurquW86J5NT3VOQSSOqS0pacCbNs/uh2PW7H1ZeiAOUDZXdzDPm8R4pC1xmrbuSK21KaBVgU6aN3DYQgW1RnU5492O68AMpyQzlp2L+bPp7xLnYHT9MzInoLh6Uy2Zqr0ACR06gX5Wg3ey5aJ8THX2x9uwgYt5w84PYywg7UkwZqPxPtZFjMtMBh4oQwWuxY6X56TfqztUdEJ+dXb4LZuzOX//kmCWtCxIAcA4Q6w1pY0+akDbg0qSWeip4aWoFYKoHB0Px7etkkq8U6A78PksXJJjGe9YHZ+GoW4+Q1bmiC7p6ARTQB8a9XM9keec4+cuHMIpgc6Udb+1oGowSLwLL7sOa/JBVB4/QgYGUiV7vPw8Vuz9lUpMRpmr6ibSi6bZdfLuaxSV0QEndGsHC+y9jMiBP5LFXLfT19s1JnJxxMDaMs4WrF2TnCSMUZUIi2pxI3gPs6GbPObO83L8+9zzYcpoBKerBScXocn6Df4EbZtg1HntBIEwZ+jkfSPKortHARfAPdH2uIAVrwJ9Q8hpYl/baEIBIc/IXXP93KFxkvTTcgiGVASpW29crR5CILIhJpM4Ek93g2G90mgGxSYZT9Aaohcs2if68LWcy33B0AvwiGbyvjXleFO1vm4HhtYEaPLI2GKQMxcEO43yNkA6XA++QnnPA1Bs7VCIlabiyxzyM4gqDUVqZy/ARXdWcsKNXDv11t1kHfP/VgTJWXRYC5lv7vhzF/4U+yQdZ1Y2K/i6CypNfVXFa0jEPwbZJzBB0buvrBLzVJ++EHJdeDVeDIJUZ2r35sxelx9pjpZ4YehwG3ILGwtyzp8a8zfY8BxtXc2A2GiBmNA45/E8KRxgBqkzCtVhT+vp/qrFZ1hMALESvUAhzKIFn0LbFwEHaHbx+IhOuabD+viF+nWCnHKKrC13ya+sxOcETIAToJYMYdPCrSWd+stP0iZQbkvyhU4WiZ7OgFKTr34PZr3nPExuTmmup5K0IKYNW+iAaWfgkyirTiYkgTJJnC8toh8eALZrwLmIRoPkmy9vC8uwUNl3KYkuPAAyFaGE/JYHgnt3oSdWav5WwZdDU1bngkkIkIE1VGkKkYkHpv0F+5W2PwDSun7Whgxz7P9svNAFuRbIMxE601e0e3WvRXXK/0mKkXtCxWZDQo9sFWs9MO2y6fWwFO+R02Yyfd1H8DkwCKSix3pwsG3dW7O1wCC0CHwBnxPiijJFZJO3X1+/J3jC/qw1HQHthQ43uTYL4n0i6IsCr3AAhiEli5WIWOaMQ2JHTwSqATKLOcjTgNE6+sW1Fil+FmZPHJto+v9kHy+I3rOEi/TAbraTJfDR1hY6PM4/KExaKA1BMXQkTJqDnF4PtA+rKY0JTCZzOqb9ZzxjSUbiRmtki9UnjoaskPhNWQYDa/YEnVI9JltAizOnkxduFXC54ntRZtQr/7u7nPYhYLO9clnlPol0egI36el8YN+6Z4sOUGQCsuVQOfJJTQB6ly4gi+VP6oCL53NYK6UKtUojhahNYFs648JE3DQVZPDNbDqduHbHbUOPVrfrJh+yOBktDfoVUzTZWFfGXlcU2l7ixj26mwj5CEiqJqDjNKxbRqeiK2lYeNUbpJMfa7Y70oCUUYI8UOd2bY1LqjCb/jDE0a2ebBQAMvgLZjQ/yZ5IBt+40RkTTIgt37mJ379JYmaujLWcQeEuwakzXmZRIQLlWkrAhCJSJsHHnLBTUmnMz89xLg845shx3wlNXqcvDfQ+PYwU0xSF8LZJcDM8E+y0npMpRgHftqBoQzQN7Yf9HFhsqyW6FP5mTy9TPLsv/yVmDWTV7zfJl8Fjt05xD9Y6d2wFJiwvmF2qucJnyzK9I8NdSujt7K/psD4MrBPPHjAqnIN70eHhp3AK3/ub2ctuzz7pzNIkc7ncPbdQXD9e19uh48gn6rDl5yIrDGMcWvqH/Pn6JSk2wJRWn1xU2TAgEFQDmjEaxL5uo9bLpWnxJl9RXqrSG/M/m5+fntOsi/D9FvD7gsfIMcwlCYZkgRlaIL6cxIiOEiGiqR4Sna8zmmqztvtMRUCFdBORZSDi6KtR2CcXeLG/T897aLSKjJCbSgMoyx7b5QySXO90cxBooZubRe2jjPy6kkt9Ilo9LrW9qeblB54DmSH8oe7YfpkBJxIHTZ4EyPUvC+WaWYGtJBrB/9/59cVBStJ+Uy+w3JJ/ItHDYF4qr07M3xzyYRiYxm8UBEH+TFAsG2oBpH4nlFJV1xajp+rNkH2gXWtuS2xLBKXY/guwfCD2qizTAL2YEIqoN5uC2AwkhEAVTxN2u/OlVJdghXOUsISmv6kNtXpYoUFjyr6f78x0W024/fs5JR36BqzGGQS2E1sekr4z4L52ve75h4NoRLMwiRHvkuK7vzCP4uc/tACiQhZltaaxm12DWVHY9xduGQq7bWBGuxiifgUnnIdxKLYoIGb+355o0qg4rA2GRwJ4T/lq+Aq3go9m/ezVLG8KAM9qR0tJPKfxAnkiaaTbYQg3zAWZKHckFrccFbwXGwW8+CmCvcp29Lpz8n97GtEsnn4c0DX2h4Cm3d5Hx0JTlUG+pKhXA5joPSAH67VJj+JFwnLePSn2bJnIg6E7afsF9/rsUq8HZLVmgn9izJk7QQqwdQMcSKl/5o4YPO9pHQ8GSePl/bP7gtbpo3Y2wIZjgzikj+pGT/V2Hfou9o2S4Ukkfp0zCZa3Exft7B0gBsYabX2IqqcnAcOx12hC/j7yKwknqAFnGnoHpucEXMOuWSmcwkuwobVq8XA2pW8m451RY2wB3GHxpxAK07sqfvLsgGwe3XTV5llc9meFJ9esY9MPwQpg6EyXDbGIS/qaRNnzNX0i2nVwxEyk7NW8jYVp73AJlofKjnW3MkmSDzhrRJEQKtVPw5r5iJCtQ5VDPp1LLNaTCiVyQsxUmjzdMdXKYf5LfMZCmfaUTXwPgbF1yDNT2tJIVCjQC/AgCJUuRKqvJwsaK28GKHNPm7B1EStmK/GPB251pVH+z2yvhq4fH2J8Z928dCZQNTtlqFPs2bW/7EmZVtB57d8+R2bksSQEIT5zF6daxA8WiSUoLXre/cbn1R5Mu3iMa96ndiSENeWqZSfBp/M+ziP1INOPxyd8XMW1xj9dZMyzAxN0OU2GHM0euiDPNrwM5ztR6ZU8LijAENZ3Y6jqEEBbgn9jXNKiGsve2x8FbXn5YFYoloU671MCy+maj2gfYa22hmqdQsXUOCmGz1HOx0xTQceQi205BHf1Tg2ECgEP+4BmRTJbBSe8TpSkLRTKOwEqm79DFHHH78jVeonkWdGB3M1lTgIn+KzhRGXfNG5Evi263Xk5q4yxFmy8KcI7NMS8igTbSDWCJXTtMcotJuVa6i4wU15jY1I5aH3DW7D7GRbnusB8/C2MiuRcVj3RVLQgEtAU0ki77OT/0bfDVnDuZ9jwdR1J35knyQLHBcGpmJAx6/pfhoOEbORCu+TGaGTbOxh9iXd2vN1SsXRkq24Q2z2AWhGGYC5+L82JIEJsEjG3VB2zsLo9BGLf5mqIVg4OFK8LDtp5s/COs9ExW6A4s45dRojsTOz6q7HhfxgSB6oZwD3OpQTgdi6jSYtWJg0m7uOdWbRY9pzqd1vLeLs4tatDgJR5uwRaUM/8ilnGDeb86XQpLIGCAmXV8K2tJEVtNmA7cpusssb78ciB/98JExH/cR7D336D+hx7n4QUugXMwE/8HOWtkVUBMZvZ/tc8hru8096lyzP7Zke5TX0oEOg8zOOPa/GFIBMotR1hI33rC/dMF5excfZv+zOm0+pjCwT86UuZY7ZQvSr58vul4s2XmxRNQLk8pcXWTnBPYWsfFSuvmhJBJPdqSVsgl6w6sDKs2utUkSj/tdKgCHMc4Ocn+VAP40rJXp18Ka8eN+87FgB4DXTEuw9E6duFt+SClPu7YQR16egjgh8ul19W6Vyor4iGKWKqOPoGjXYzdKobqwm6rqV6YWfGMPn6dxdlmK7ydf+dUVstmyImMfpuvydhCjtzXVB3bd12PpUoQ4IyiaOcl+0UvWUz4vCLkN2yxf7yOwCcyPNgFFVAP1FqgBLXFgGpe5uK3++okMoQEQa0FGl09JjHVUrY7HcMrZnrRBgLKPv5iUVwx2Di5m+c1e7py4jI5BfUKANgsshSx4QethEAz0mFb/OYH8AF4FMv+x8JoFJLf1Ud6oIjQj/zwngqn7qkWDYNoZnW3VhnTasUkPmiv/Rjcvu8qrls9yG9B0GwJPHP0pK1g+b4z61JFS48SsHKePEb7DvSzAdp7pie4IlPYYgV27bNHWFW7Sjve5vn9z8LSZumCCPIjlR3wfxlLqr3pDA0nERGvXwL+21a5elAoHKacw5GoZWWKae7Umv1uxJ2vLoChrtfaACHzD0NP8pBQhE0ARny1TNdzmtv5sfjOIto0bt9VBJhaQGSZ8Hj+Vd3k3kcO3vMsuYKc3dM13GB9mhC3NLrtJwr/Ggz+s+m/5iPrget+fHGIs+PDVch2psoq6veKM4yhdqjQCsFYmuo2NL44VOgSySxmdGVfjarvn63uXbwcr6rSZ2Hd+wecVN9MrF7SDPCyzw1LFj0Y6UvtTWcbBSwTjocbGw0eMtV+KCX8UjzfPfZcf0XIZ/WZl0M3Nzi+W8BGIs9tHD6rOQcvZffUXFnJZXnuqf+g6ODXpxK6hhXmAZVTF9b4S0EOtXAbf76aQyFGAACAC/5G9y+2v3Hl1spZzsxXtJRYiqPPe231EtlLtr/yc02YnWccUOnW3+vTAli1UwMjvCh6f6MlzKJiHYE1Z6096xXRFyUKlE+XCJ0M6FAXBnnJiBz3ztKVJsSpkAtzmRTFlqgdMmQcZWK3O3bHv5IzuBbWIEXX72W4MW3Rypa25gtual1WqG8ByjwV18gaf6sGU8H9V3yo2DsW4LdRmVbqkK94f7GzDIdCvIoSleFpst79hPpOF75rAejlhiWQSfi51bWEAiyNzWN/CbbLcbcLRw1vMkZwUgaHKlzBDIXPZV5iJm/7twFtkbRoccDH/9TaiBQPrGLAzQ5RLUiTovnmL03L21jPqfmxZmL5Ye8q5Bjr9Q/mBxsvKchD82j5y/xHZIZrRbJM0AHA0GRh0XfskuXQTByZuEav1VfEPW79+I0f7oSzsUywYcpraExWHQSj3pEfGo8mnNRDbiP6vLsqVMMORxUWjWWP5ldy/RGqI1+lB9hZeBcvIsSDR/7VMovOa0EPifwKlnG7s4A8iZTPaLbskNBfOniH7FL/vOLllrsjAdH3/vVH/I0luVXfT1M8IxdMyRw6CpzYTTFHwoJc+ftdng90JnS+XnHmjNT9OJslG9nA9ofT2QbF+HIelIo4WNf/72TZQpU6MehmGPJoqPGBEZiM5Y2uhHSNN5flNIHg5NKektqhwO1RWN9cuV9yX5Py6cXsOxZEAPZEG8he11BfYAKJC/LgnyqUrJjURQr3WvgTBnxtCGALvEhhHKUh7eQdpjYXxR+Xg4l5jzWaZSKYfk4vc4Lmf2YjvD+UdM6ALDwENVtEH4410xbzLsFoNxwiEypVcyFMZx+P5U8rz88L+6bfSNxcTNl/TgwmD/29kx23snEQ3dFwVrzYNl5RtsTzcvU7qbJKtVsrIuz68lb12vfV5j1N5Re5WdHgkb1d7bJYhWEqvxgEOu5Y69Qczb4Qg4X8oeOeWO3EFNcYcgoplFeAl6o5P4VJshx1IHREMch/xSoSwWz6qF/1S2GtqdkNFW7ii0Negaa9uakL9JEb006yzApH9b/j8LS74kp3MifZVRJ+RMYCsbIYACnwHYMA/Y4q+Gfp3SlyAisxbWuybskuL7Dl1/zObOev4ctO/apPBk8done+yf0+5CEL9a8zJgLXmueGhC/qtGPP4zt/2kYAfaAy4JgqeS8+d+KqUbgykN58T2M15JWB43D5jpStBmVEv4LHX60ZI6/P6lPuAWyU+Rdb/AmZbc68/DCf+XttvP48lZoa9x56jUbYf8mDnx8Nqn+0MPKcq5JlKCD3jnSmlPWbeglmBYgbF2gY1a1ZyNGg3L42R9H0M3hIiHg0740l0V2K+WITMewZj5MpBdE9equodYiWgoXgtsrGPPmgEb+i/7aW5Tj+BCjSjGv8mQEICBpkZYHotyEiCE4ajIcq1vCSmiBKE5Vx2hZA92WZevlUjKsgfkY6V6Ub8dY5OUVcBt94x05R3FnTTP+5IAomlEtHRnVhVZYAM71NwCApg3pUPETtXwe+FUKYZOMpjw2ce4ml9Qphr8rR26vD91f09/AWjPfsO2Hxzm9Ta1Ei2Sf4xVmhvFaYVit3tcvIf77INHh2AQmGf177dXxMouCGpUiJ3xQ/65DRvWSllnO3RqNRMJItRG5MLeM9XQc8wGpvwGBBZ2lGhtcGCRUeo46L106gfQ7bkBNCi8nhGe0nX2x41VVn1C6zWWy+ERFqUdMIkuIrdaKmaYjkwKfnQ4GIp7vvcvn8bM998tlWwIIBrsTyzdxgjvBDSPM+dTYSdKbzmL/jOOKHXa+vAppxrrJlVA4Quuq8bFiuUDZoCuTU17fATR38/RpkHWv4u8oyijQPM5TtNGEEKc/w6ifzXe8T7B0LB40RBSPPcUcJRaL22rPBhbHX5zJrjsAEN0Yxc7qXj8NN8ex7jNJNdcEDVIbobd1ESKeiORk9g+JFik2ceCZgUoqfjivbCJQHYTQODTEF+VjNHvurI+TICWW6UytLAhL2mdE1wsk83oTW/W/6StQDXK4pYsY14+63NNgu9FIqamSqcJjfyrr0SAaGA+O1MEsg5OQ/ijkUZ6DQjdV/yfUblBP3zJmjEQFnsDx2Nvycup5k7R5+DiN1gfXd7eBpGq1lF+eJgXPuns6mR5Rhy0LJ7vUp5LP1l8zBDt7gMkdmifQZsed1jj9Pm2cqozVG+8Do5pe14v3eQp8bMxOtPOE1+SiNlVP0Jk6gWBu6mUgw5MVuZb5mhg8/hKH3CiBG5NXMUedOyGPGASlZCu3SxDural8n/86COTeXyB6abfK7nXyrORON1M1ClOJ634wrwHDeiV8wwZo6/3p6gL7rRh0B3wez4wP0O8P7zgkYBZTK8EBihWrf1MNFqAfKWWjW4DZE0wzMQ22LuEO5f1jkN524WevrblLzpmY7Vf63316//rN3cG5JGBf7yxGkz9aVQmPH4bjutxe29zh5wBnRGJF/muKNsGoxN3T2tde/rVHDFAuasKjcqtPj9+GWfg0hCtrCvVXmpV3uIcxKYZug8qoQLyhCuCvo1zIiqr29siowSySXhPNW+o5YzGUN/fkCzLzmWHFTwwr5y/H65ya97JxKP61RKKb3eWPrFAwl4l08niQTPOvaGWwOsyLMR5L0Jmv9fwUSoma40TsOQQR5QuOAmwKZLylsUgIf4DEsQPdQKahiGPtsBt/kgwTMkOa5rI9GhJeCg7uBU7S4Ejy8vYpmWt6G71dpRYqOiSkhqfjZCDFYz8dxZTDZPYuqFGpZgF8gf/fBO8JO62oA4kqFFYvu/0vYsX+MA4Ju/RywzvJWnHcS89eqt9NN85sPTlUrtWEpYsjRzfWGZzuB/gpitlCP4bLV4A2HKmKSLB1D5VOxtH8sE3yRfEMWlRBvl9trxh2kvPTISdn43WarSj2mANIQKwMM7QxjdSh9Dfoy6xzHx8dU+lZWmbRarZHKHn0gUV/PIt7ClxXjaPZ+ikZ41ZsSnfHvXCiqpHEJ1Q++9p1/ngp8rAS6buf6a4Hvm6xnVtzfm9gYeaQM9lUZ721v4f663QIsMZFjqZXRWIepAtHc3iUc/iuYospH9RvezInS4H5tBZEhicYnbJIUpa/SMTakcroyX0vs0MH9Ux+cPstW17kPIFlxjZL3LEiIn+jURZvBPmrHNTwi7vH2JSx4GiCvH/BMU/XkmTubDUzgr6Xkm9b4BBcIcNv3jcojbt0N123+df8axXwcvj/n7SulmuvHWRSjgpHCrM/w5bEkGsKNL7FY3R9l7CJHS5hJeXAcd3eOa+EC8MzqjEwkYYFHeuU+g52aL0vgqNmEeByjDeFkq8L2j9t+6fgqEdK/nBmXl9Ns3R+YxqLPSbltv6Q3VpDL003l4FrxrO4G9BFPGcJmdWMOd+KRn4zhNOarMvBHALbWiXuB/SebeA5AhBDNe7n6Fg5ZVHbCwkd+QalhHqCvWmMaxa0QDVFq1eNpG3cC6ww75vYtEJ/FUSHRywfz0FvDzh6Y/t6rpc6+BJHiG7FopHnSHHSg5vfyvUAv8zOrzwFf17jLy+/GAez8wJxRnyUATUOjtOSWbAJGOG26jQ2y23/90l1ZqYkL94xLegoPXIdFVozE2r1bI6NuJ5M2vFrdu2nxT77AA/iIzW3q9hDPR8YJuJeUq4zWRa+dkeYm+mDCJM8q28vAwCDuFqQrhcp+D7U2I6Yosv/c2OfTnzCPW5HKvQqkFwJX+tbzZ4taLh0eHCIGDyInuwd64jNFTIXx0Zmwh606Rxtrllhp+lOpTRjlIMv/FF7g1pk3HaDjPuFcJ2PFF3eBBOhPSad8yneTAmRSCz28BLdB4ZtCPzdU/gPUoo2ZJk3L+EdBxzNFvLViNEB10r9WfsAbXGAbtdTzHYt43RQicRvR7Ves4yD6eowaD6Gm0DaSrQQ7iKiyVwJxEV+O3JdNK+TPOKjvN2Yk6iDzYush+ZuXH7YRZ31wqZ3GpNiVKrIN/WdXe5qQAX6rsImuR5lepgNKp1Tdhx0vpUQcUrviJakmHZD/7kmWKBhD6PAh9Ldg3M2bxf6Ta5gLc+382CmfA02S3WJN1Z1kCyRgxuEjWU6a7e1Unnemo+90AP464mFO3KiBVDzQAk7BMzOjQBlMv7RQb18SqvyHdDFNfUVDquyfKzgZnLagDLuUfgnyEi0XTe8hAOB0Y2Rbxxmd9eMUetVZDlCTBX6rSQ2MxnkktGS1l5x1w1idnLmWSMoWPkDKkMvo5TaM4aIUrR8AchLQk5nNX4rhCF0+SHwc2lRGZd+qnBlZ5hlshmMLYvHLY2u0+N033CyGdn72HhazGX5CXggOf4W8YzTA/BZjd7E0NHvGC6jgkyS2zaoQPGgVjN9Q0vUO8ptbR1LgMILSbF2BuRy5JXSNGIAV90CH1/q6uxAj+JGrZkMkQxDFscacIAl5HW15ima/Ww9Ttkj2O/9Jv0iW94jPPFF7BmLFBVyHznnMfKQrWjRiNgPo80+huHu6+Jb3owaJGbhbNfsbiLRNVRvnPFHiJ5rWmBE6EN6FIGLGfQDBpYuJlm+3lRYnQ+zAuEkXU/QdMFiIoGXxRGldBHIlgHoj2HqN+PpSM+/bPpSszocmdYE+cxzzdx5zjIbtkUeCk8wvH7cXaKftrjGAAxSFFsbRC8ykbzsPgplvGl0J6T1NeiMTPMYXsaL0hWVHIFnX2btJSdgRTd1iZuG/kEaFq8tD/BFiwwgGzRfWZYuFYEWpPa+TB+MrlMFLzCTntLpp9hnoPTklnnfan6AwGuLBVGsYv69UrsVLmPEnCcAITpZRqC9kIwQsxQLmG/5VGK4Q17/RUfHPrsObSimuWYP82vjHR2WvK+d0a6/KvQ9Usuf6bSulsbUk1mHgmftu2gaCS68S0VOFaroPVZhuYGZ3kOByAPz9xmuvLofpvxqxoSFw1OegaZZJtUbs+6aXxtHw34QMR8Q75qAt4bt/5H0YvmFFt9AG9qn+mZ/sKNIgZdA+mrGl5xdrzOL6TFKEUeYRDs4Udy6FXUYp7/d4+NITszKVMjXBJ7i3+7i2jPNzvC0P0rtt6r0QCQP7dLASprpUzzuSYLM4WpMxmuByXArjMgUthFZBTZqFx4FFzk5OOO7UD9ICV9i+0WOIg3MjfNXxAkwi7IOwolXYoisxWvIuzQ7ZvzsXAhTjl44zn7GhuuVbTqQZeAmAjHyWbbqIXWGiYtnQ115QZlKDDK5cp3Uld48plMldCYur4SXnzNj3O3oRNmXrNXRDU4MOGNNGysK1dBhetjnjjQe4KGt4nuGy2Zu1Ibr9eG7EeV7T7F1EeVTginUyH9cN0BEN7h4Q6a3JTzZmy+qMpXy7vr7J85J2MknT9OJRCIaK/+Sar00IVDahjG7hCViKaLJ2186qkqzVMVq3uNKYqKaRpCDaOnmecANW6LRYjBWM1wKvoDnfKFDbosKEPjLsKpxxEDC2iArrpRcRWtIz3S8dV3HWNKeWsbUDPKLTFIXRBXpQc0MhsL6gcE+jeugSpJyNrPh8PcbthXAoWa/aGzIyHFODnP2kgkIadyUsBr2D2tODCAQb/o87kC1gBsVUSB9QUFpJfvlgVb4QQBMv4SPsxUcvxlfNBgaBln1kJrq81zWbUqhm74yjQD8rFcDhhd9/M7PAFF4dudhRSZUQmv/7vTt2TyFFJioIb6NxtxmI0f3h/ZZ/YIN0Vt5/YJ2r8Dj2GuCw5KNeOoWxqgG1/4ln9eRLQ7fKFi7ehyIK9MUlPDZJ0MFIt5YS1lBOqUkCINbcXwOCHN0YgNBFVn5AL3S2F8xtLcgqEdx/vM3Oo0BGF0dkRIt9dou5M2H2conY8ZoSdGxHB7HXRxtps8qvBamycfjlAaEzZL0QdyGHCZHuxAdZiEIioFr3rGpoW3dGFP5Wbxeikev5asRlu/p+qREMiLISXl/d9MkZDHu2UaS8tpvxsYhqFv2I+0B66vcQc/z1u/WJ4AdNh5JoawFBVj8RZlpz8njaHtGYVeWbeDteWYP5m8fFE+0kpObjUgSke6Fuimnc28P99nbED83omyxRzLU8WJvC5fisSE/gmfLP36m3jtkcPVAbPOF1AGSzYz+x4gGmhokKhza/yXLliQYxzMwU9JYwC5ax2+TyhhYJYJxNHaZWWYlAAm7l3a7rjgzE/F5Mmn3NLgBd2H+e6+lh3tdpMyWjOQX3nONmwldxd1QfA7mbB43Gb57oBdEcNc+NipvtqwDsyEUovl+J25K366+BY+z4RIg3ozTY4cTxk7Rjn0dgQlfeL7zzO9e0tSxQx0w+Io/oixSAveO+3ppxZGL9wDYXoPnhE0D/wnIIjtUirXLn/bWfnoK/9mzOFjJ9WLz4erRQTZx6xw8GvgZmIxkjAepT5W+YhtRLDycBcj38jcYpam7bub/VfMbXshZqQQVhcex8NBRVYBvzOen7X35IngnXKzLFTxKzRksmdaSsD0m8OK3TiZ9/GFjrEZr0vjuOJgsvxrMYI2nCuICI8JAM70HEQ1FRZPPAvY0dFFMMTurelRUAEz93H3js/bDxKDoQXWo9QqWdIODNkc1erRBT22M9qRlObJ0OzqdhvgEGYlMOJuu7uvLIkQQ7kI6eGqsR7VHAN0ecK5GSvWDbbhMh6nGlq0CxLzW4faBjwK0WB74mRixH/lzxYEP7SYqH7Oj9Lk4fMSaBX49Y+0EexHXX6eMKNBqQVn5B56JmLc3prLFUmyFzNMbnSp1oRWrvBQuQpEnk1plNKEt/lkyNyA1GFyFnfEeyjiCmscgsY1aSLlx9/ESmkjlJRsvpJW1m2lJLULNqSfZ3IpF+CPWpiaVh8jdTxy38ZRBDtFZgTFFgnD4jxZ9HSM2BhoLQTJFHd4lefK9wCpyhTtvYIWC4QtZNhgKotsTXOY+ZnPhY3os/9pwJaAiVzf2m2jrTJMqvx/hESSs2zh82/ccIrZsROlZzO+nWWSvjs92ExS4nu306w0RGIwo9fN/vdvbWmlwaDugkSmCKVueniDNuxbpuldY6CVKeQnkDuWJl5GUaQiQ+hG4UuC2QjN0pH19EitgeUpo4ugviAR3guXn4bxloVJFpFMUpfnqlEGb0O+jk0zLhr9J3DiWABA89uEEzX48PyT++acnocPV4q12+AyaF8uLQHJcPdxT4BEHfDu5502hA2snmc0fcVZimgocMe1DKK+jwmN8Af5vezlTfYq3JqaKi3KzSkLjUe4K2yiUnHrRTyZTJg9AUipNQZnGg+AAW6fOSsnccpi4yy/zS3wd3Raef/a/ChznRYnQfOEsh2zOOQ3gKxKm4ca8kUPRyUpUk4eeniTRmJ5IVRKAJNSmmsgvSe8NX4Gq4l32bPib1sxiuWTACppKB5zZXjozazhGunKfKwAsQTWf1utOWoInW1K5c8FgA4zAK8CY9rQfEQlx7uZigvmKsT3UhBhX28l1J1HwwphyhYB14uX1zXdSIv8N7H9gcsMMICOZMy+KYcV/EdBUczvNY4EbHlZ7GHsuKKPOJxdPzIAdmSD2L+WhqEZYUTKiPcIm7H1iNr1Q4Pw6Yn228Hs3D+bTalNOxn2dPQSRLstdo78JFbQj5dX/fjkripFIwf7hgUl3S1ZHcso4eUI5wqcR+uumEgXnsQUOnUL00O3NFIVIN01RWP4mOGpmj3Z+JDo2ll5EL+L7zIIuRO6lUDLLOQgSMfoHUn854ORkVCUSKM5x7pCVC7h72WIsyTjoU0kMNG7copAqaxPnA+v/w6+l0XS68kNjxAOie03YRafZzkdX7ZNxYdd1B0kSXxIR8AphAL3YxqygkyNgQc7x2gdWCu80zH7CWsIuJJ8fngGyknzrcLqK9UGO5SZcU/jwky3ZAQsgA6hf3bgHTyMzn+jpGaVLpRhrTeUq9wCa3mKJfb1/h01GbBfZ1D+RKmPo4ZGj7qPIMNreR1MWM76e6SBfj4zox9LH2xp+N0UWQO2OA3Zxk9zedGzWsc9bzrRqc3+4iVt6KqCWcFyYwqEzqFEUsubszFS+jM66yHliu/EXVYZupVti37wDqSgQTR4NUXLjiXdxRu5Z0polf1ROB2eV9e5xRE+WYVfF1KQax6wLwQ00+1N6ZLMMfcyGlcj+/GY9pE05cYoraVbbozSJiIhRJQVFBvi5F4zeDqA5dci8lvFqPGjOIcuVvCXQgSurqjnQ8wXGm4qj+Qh7acR0p40Z1iQVMWC9wmFFLJs4ObZgKgFDZxlNIWpd/1IuF8z9JB37y2F+MsuxA5cgXxyOX0Ov0LpGTQEIPRtPA4Y9YeO8ysC8pDrJqYo07Rk8sE1504445Xwtlokf97MQdB/fvv+/mphEyOAXkM5JF8SELWrXRgcl5ns+8H80fwoNE+G2SZ+WNGx7wHhhQXoPYukEKZziq10a3rqpmHnXSav0jNMab5UZsFb341fJsUDAOQLx+aF6s3ZH2c87OjD99urUyVX490L9iHVrTahKUxpSKnjhoR7b9zzSHyuoL/YAJYmZDkZocYhizz5RQzz005E8Ny7hpE6w3cLzBPlYBf/MWUsribNgwFoayPk0CgQKm6iHSOWkTngUyAsGXnVIJSScg5vVIT1GkccLVReeRZhi7U/UPo27I+PDW64onZL7MGAYswEoIY8frp4Zfrmtdh9L15BHcZFx0O2qvGnzEvjiyn4j9etkMWI3n05ivSpReFK8/+jD4mrtA/RYufwav34fhfR1CVpseyf0IAsUWoAhdC+gJWkOkDEHR5VJ7TJ9Bqjg3e67Nio2VOTRPsJBggKw2jBNb9IU12DP5dbmWeiIlDVBPbwnN+y/5mhKg+1PNR/A0POK9TAdzQ3gxgJO4gHoxx3tyQjY8dFwXhJrRXbZidSLAYJ25TjaQ9p3MoNXqFxm82rEjRwFSdKIfqnVMqZD9W32vfywnwkFPc0qcznk7l5cQ7zgL2DdYOGo7c3h8NHp8Wjn68zBX7ITz+yTIRbXHRCGIwaDkNUFHcWrcWobMp1XMIzbrMh8r0p6tcQrHFnWtH9KmDoQtgL8+FfioaQbpsv/YYJTkWXg2c5L8K2mOhkCOtYAo7CBK+fJRxbsepfJ6hyVvpf0nyzF/mfxqENUbA35DRj6RXRjhR7kO3Tw6HEIA3sLGpXAvbJvDJJtMZ1MViK89VCHzsqAoMn04EQ0uGbhb0bJIAe6JJ5gIN4+pqJN6nv4cmbvcYJ/oZkci8hFh2PQX7Ijtc1tYB+/xRRRiSL/VsG6yssCDstRSmHyzX54NSWIgAlIU88etpzLZrpHBX79aaP9Btr+iYeJ4O+fYa7f/nhlKLJZC+tnr4RmoMDIo3aACBBIIJG2cALeVh91mGJcYkN72c+UARN4FiO0GV9FFCy3Kh6/QxGjkU99hVeuUYJErkdD+sk6LhlBvG2LWp64GI8KnQOUu52SS0ukFap4P1ny0JVQize4lk51cwrij/oSM0v+cmgrZ8PqM8iUG2r0jtqmV/LXgqOz4pTUzTKMsJ4bLa8B6W8hgzkhJ2HTea+rQ8t05XVPTMWALu6CUGihlLZXD6myWPNON1m3++kruIXrONU+G7NNM5IQAs4MxRzdw7/HLSyHAdg8ql2sKQN+r/IgoMiDJH2k7dABiW64j60FsTW60lHG/+MYZWCBjOv3hlT3Pjpj6JhA0WVeP813xcYdeCdHYyl5AuYYGKT75YXjxBrAg/d9FEXFxwN9srhh0dps1hzY37dIf8E4hAKQQ9QQQBg1Cdg9MN5+KS2VzQAwU+QQuxNpqPkdEhU5y/j6uEVzomFPY74NK2uZWgZha0UpaCYC0BadB93+HJRkVYH+a4ojFFgcEwm2gm+gwsHXICBlDy4uSIM2oP7TxzSZ+Uka3zl7be6HhNKWiUOaJBu8ly13T9/J4mVdRIiMnfpNPrQy6rzcvdnGtXpxyBAJ4AI3VCwRZcISTBCi1ZvElqnzszuAf0in05KEHuZX0teN/uUn5zy48hYRwqfKj3Ac2KdaF4pM1YKTvZH4VXh63B/BGVdsPaFnp/aAZvLumdADZ5XIaToqsBeFpEYEGZp+3ddxH9ZRxzho+Qne4VJRrUoKWiOF9qtHm2PUFC15/mKD1ZzMPM9dWJfaO7HQvUZxFjAuWhv+3Eb671gnGkyW1OH0o+fDirg2psmspNondiLsCfZlKhbalLBqXJHCk/z9SDfIh9VXvFx3XZxuBkL1BcIF4x7uKHNZ6SdTf/9w2lKjNMHYD0YOBVs3fm+I3Xt/6Dt6PK4dmP5DKbRWP3ki0JbG1wy+2T1DrtVyuufyTO4FTK4l2bkMBrT6dfzrMLaXhjoy8HU9lKLmSgslDI4KtRIUP7tKjaLnMFUd6GenOEBnCin37UfeSZKjK9rcib8Ggf/RwA7Hg7MYHldnGE7hZ5DLsXOdQrgEJM1R9TPKtoUlr5z6k9ipHot0+qs94QxU2bIruetV3oHeW/lrsvYvbI/2+5M9bAi2wX9ygCjfZCdsEk76jkzoXxgGWOxHjekHdBPA+wK2Yc2IEpIEleEvNxF4dSE41GJ8i5R95Vyk60pF+smrcnZ4sP8D9drPygDDx04qKOpnWZTaj/JNetqXVecwSXhujvcV8PjN5Ir5fa0+4L6ZU9o3CKDCA0dGcNy7RTmYGUIshR4q84aQdH877U5SldQAt3epnT7Mo0c7bZvXXaYJgln2FtmJYYVGaiZ3VThUQGDW5bxxr7FxFoSJbQnQExMpB78FrJUW91Zq56SWE8oj2OzJU1SPPJywun9N5ZF7oK7PrJdTh8tiLT9k6Nbqw+qpLtSr0zkDzF/igfVPrmelMQKLzMHmiQa+QUf9axDgbKhoYICJnpFe/hSIH48rJg3uOEUfRwB4EDX5t2MznphWrdHhA4v+CBqibkgMzdG01gt0O9BkwGYB6eQwSfYGF8NvYed0+zWpB2MkTpkB/fHxHHmbGVJ//ZzbJ0OVSMhod+lgzjsufzBXqInBOfL74nVnZnde1MpuBfI0oYhtbFvJbKoxX6JUYqR86vSkLVHFe/cK2CbT9C3qDsCJKCI1p7pxr+lzMdiSRcoHxRBG+zjnXSJnjI/PReM6o3EZ9M1p5Inacbkth+TT2ierWjxPtoX+/BhoIvgENd/ipVcag6DfFYUIi8Lai7bsfy3Gt65nYoflEdrbKYn3dwuasyQymdemHureg1fnA19di7Qn6PdEqIP7ocFv/lkpO67maEsQFurAO26gsyt8qU1NbgXV5xGuIuejibJOSCdyyLpv74LOJUgAJdOuXku/G54NQwv9FLhDepvMXKNzCmnI1bJPmHRp7leBEb+WhU7u3y6ZIIT4PVugAwWaAnuIlLl8NfarAxtH1fdLjDqQ842JVA284r6bfBtc6Ir1iZ/C6RMTdRKy/xs78t5rADEu2uPKpcxe/QTEtv4ypmkdGiFwkMKLzzMB+j8Vo7szuFa5T3OgjjvGBlUOz0zF8kLglJXLpGbFm5hy3jiw3cWZj/0odLs7AfOfyDWPEkar3ewKMTbgahCMuqkbMFlNoCEORRXyMHWFTnyap+rXcgND+bSP028BhHR2qKasuBA115pKefUNgpcMwR17FQmq8slsBV2xEIXlNL7GtZ2YDENFwJ8a4ZHIVBNcOHzbhT8umobh4Z6fKdifh+hGrvCKb+sXtu2MqgIS+mxqLo/KG/BOkn8Yw+e4jidBhCXy3isciGMDPqyfQsAVgJt2WtPB4L4X8oX/6KUcKJF3cY2ViaeAFjEXDcJB4cC/YoQ29nK42G5sxl/7hH9pISHQyKymKg67j5csvl9LcVZwleknf/0QbaMkPaa+XkeMKqXImPKYMuDCZc/Vod5cvmLy8wgzy/H9du20DzPEo0R/6xZDnFiQI99Nyk8UooAlGnXFNd0uKnVaeEtmAgb7grXvTgpXvxGYW5rtomiImHgvyi2K6nf+SK7C0Aduh43z9b2B0aNq4WRQP0otSjNRSq4wT8GxN6FsFWV6DlQxkixrKhIJshhk4GYaM9AYiOrtPkSpu4SDPXy0eZ45DVwUeRVe345Qxs/CFiuVlYNafQxvVcrBMZEorrrW8o/36tzYHOwPWcn4W4mnv9r9c865Zl/RG46LkqpG7kR/+24/wsZLI/RHs56UIqerJW9Uaf24bKP6iOBRY7RTdpT5NlPGRehjzdHHFSrFxrbqW81GJ38zQQJU/YxApi4g0Gwe4gzBjf4xhVGK69OtIcZbqxEt/nprxAKn8mk4AYlZfP5bgokyQxVHtc3DS0PJiEx0cQdlCxJY4DJbyWW5nlh6U6xmiaTVjqqlJz00jiQAYjspdDjmQar/iSTJ97NU2gIFVUnxj7iMTdOy9KGMmOvLLHasLcAjnUbG+LaHRuXAagh2mWHqUorzPokXkMi1zBWRUYpzup5xs2PML7q1gBdBJOmZiTDgs9dSCHEp66tBeSbk9z9TjWv33MzjhODdiPyXq9AeIrn9h1gHFM14YH+Vu3zrsE20A2RUqKVV/DRCgldK7z6exsVyuPO92Ao0UcFNfox+Q36JEz1CZuRSPTEXOBgJhW1nhP78AuwHcWPigFKgYDum1ZT+jtwuaHM+wy6dNran6x+y2i2OX8s3xkzOgLzsVeDL+BtlBG+7mnUEdmNTxTaTB/0y8rra07Pv7a3TQFB/xXU6dsPjwmK7JycbMF2diWAF7F4ccfYCFPjFMu/YVdyH7z/uX/68LKO1TTTSd6Lnalor7exijwLFxZcKONAKzt7BOcsuQJH5AnK05DpVenere7i5MZNcbdw03KVYAGIap06Kpu2GWSZQ3N3YhGBiV/q0kkOWbVVXuHRJEC3/QF+YJijQr6llY1hGiWu3D63/MbV888q7DXAsYLr/LSW4NB9kj4LRwi9QwnaCGGfMKmt+maKqjGgNov+8dRKMQU2/mtoK0EHMzBoTALcrlsBAF/FMeGvqspJDKsjsZn37s8hxm8a9NDV9sshW3Rff/tGnuCzU+2xvS2UQT94biutis04NwekXsZFyY26m2TIPC9HcpCFzP5WKVVyeLwlcPNgAW1o2b3DHIhS6kMS822OymeOzBEeqMUgXj+nH/P1xsLcDrKAWMLehAcyhK7ab1ZR2JL/T5PP81EsSm1GwYmvhrclk1nL0LdNCOC3iCt7eiilEl2serzI6M54BFo0aIOL+rkeVjkIEV0jAKR2DicHGuLHDGWJ3Tapt5XSQsJurr+NTGIfW4b/W7VRkFbSh5v6vU7TU2ktpGXVKlYxn2S+3Plg/rzAeEd55M9UkTqJsrjN4hZwm1EvB1ssyldfU7kduBI/wIW5xv5F0vHKPthl9f9Ghtqa0KRSBt5NPu9wZouFN6BlyDWgTqtDP7ClJ3I/xRKFgNmTYkbUpYdya+OjvgX1MYRD/onExUNzseRRPHU2CBN3a0jdcMXDNwGhR+dVq8Z6lUhLeYu2sKUj9gL6wk8XqoDGNkR+nhUQ7HCwiatVYJxkK1fSoUQtb4btORYqymTSzQf7iAjkX9upx6XSyTEcs8VN3mMTu0Mn85+HLzcoDUW7/H1/fPr9NKR1vQRTIRkJki1lg0WwBdXBNZ/yHbL8LsBPWp5JYJvDZhyfsNj25OfKE5yRKEBsKDbxltOrQbOXHyQZocVnyQGmFmovrMqk3FazkfMDd9Hpyk8h/xfcNpTrGYH9ejQjbX9iO1VTL+KbnAM62p+86EM0SB8S+T37GsJRSf076cFkYQB5kR75zDduQ7U2kZchPp03y7BnJLhkQeSHJ0tIwx01mzijCq6Msywac/KIIqVfNIOagjhaUb1EAiZyZKqzIS0XDtXiC/u6Pfr+UOSoO+kU1Y2sMC9QUQPH7KteAlBUPuI3e7C0RO6YQV7oLjG6VKlt59Mq1Buy9kTHFJmOeAafAahvYgLMUdbxzqv66uLpnCSk1N8oCh6OGQFLZEhUE6VJqVms36V3/rCFAVYCqjcv/2YlfMLA6Ln9eJoFCJcIoWP0X93m//XNkZ9hfJAJkHUfZyHc5Pz0rfNyxLPfMfLRQ/Fw/zlJlbwOhLgF2IxHeMxZ7jDRzIegutUzoibihHv9xd/xb1JYJeIRWaThH6l7x1SmdD/YMhB/9V2HhwpKlxmftyoI6CPTSYwXqNxSlLH2N9mqD3e4q7PFxnS6ue/92xxuGp8guNPwEgWEseOHrB1h+mgDK6EFD2NS0VKAX7dSpYGY27aVkXJqyknsNXj4Ypv64yOX1FCiNg046XIviOk/BC9UtItyeXqeT+asoVEsL2NqWo1TGsOsjK2yEyCBwzO2s+AZRqw3kkCM2TJPI6+Rgvtl/PzNE92/MJ1ZbTKl0QmdJnxRluTdxjt/YRcPKG803lMtlV6Xi4xOznUSS4jJjKolLZEsu/0vubhaXQUoMFzbOB7UXic1+42I6GxlVF6QxtjF939cismNCxPv8WYQLkg86K7ZfJiz2mYUyQ2wbKnhs/M875JvxPBsq4ogdvGx4pL4gA6bc8NjYnUCv9knw9nDQlmb084ekCycOYkJf91HxzHzY3g6kjWfw1Btq1laGY8l9OaI6RlMObWWyy4zX3AyYaJFKpaBxxw6TgVce9ZdNzqF8wOKLICgRUTXlNLzjkpoZzzFe0xf50bTPZVyq7EerQDGHFsWjphHfo1yNbIY1RbJtxQtAQchWCqx53hRnthNWiE2DzK3DYHi6FdPdCbZWk0d7DDgKJf2vD7X2kT/ePHDYCqvOdx+lVZYepUucdkCHv8b4FjicpwmlTRqitYRMsb64c6vUkLLSklVbuSCWgoTdyixBjs11x9jE1i/rnBYyje4CHmYJMgOgCWjv5jA4Xe9PuWyIL70SzKc4jVZvfAEdGb3uCO46kjWU1olGc1esRvkZFvEtPPix7V4lFIDe1jWtathEd02C4fQJMrFQqwj/H7X7JXIHM5VoStHkucqh54x4ROHFXItwv2EqsAUHPDZS3h7JzaiHwqq2JNPzZbOvL4dQIcSVaa3ZTfC9/OWiLtzHGaycyaOjOhtcalP56Ycu0yLGdv2FdZNWVtOl9o8hRbJ0GlvxSKztFxe0WCFaZUfg+sYbVy1hwsDDq9ZW+m8N9S4/F0j4W1vCGtcIUS8Zv6WmzjYTIAEfL2V8utgM9UvcgcTSLzCx1yxlUUE8kZUnKMRwiMLrcUlBeAqjr9WnqeIVjeGzuUV6Hu0PIUtrFxnlgE5+4MRJSXsaCJyqD6CHnLmIjK8OOt62H9qsvhU+Xp0YSO1geks0nEewpc+0p5Zs5cWrzvn40l8JwBsT/EgRgxPLSito054Dkv/GtIX/45+GSxEw3idIQfGUuyazT6XTBlvfNZrX0e2GzLi5v1h2vigo/GTVOJgeZ0LyLc405N3KrjJCgXbU5R+K4XR6sJuSgY2XkffkO4iWhzFwzyFwPgCoUTtbZhYrb2DD2mw3W91Ig8TICJCIOKhJPBni68wxRnNQ4OvmWC0f5Arvi/sx7x7FC/6mbd9HWSBQ1MapSpWGOtvtKt7MBteg6sBWC4yFdC91qBRxwPKOTOChlksbLLrDLvEF/c9oZAgX7cxlxNUtr5Kaclyv8PdJuSKXDxoP0mHDhK/Pa2KJrW/JNUC4OqXcRAdKVVLKCskPi4m45t9HYRWbg4tNVTA3wJP/oErrxvb63REOypiCBCkCnr7rAoIFUHklDhUBGz77ctjOaCQaELhkDeey00Vw3lN7+w5YBKo2W2kGAtxQXleOCVGsYZQIUmIJFXcpwq4d/SJek1iqKFnDKzAPMFgZvpoIVJaK/HIJoYOywjgv0w7ldkk03bkf+3jWOJtU9H+oYFtIKNQXr3+E/K46BqFldTQyY9TkrwqVxGdYeI2+BozjvyVYjVROSCw8q6RW1QnSu91aNOw/NUGZNHxAeZckrrpgtOSSw/4yIv2PcOg3SXl+4kTO3aUHpHo7doE9Ee4xSFU59JULuDQE7sZF19R43+fXP8331GMO2ED3lP+UCSd2tpDZZ5Znldl/gPCAhBINwMOmeCsKtgD87y8xpwGHkdIJx4l4ptp4gA7OCf0zmVT5IKZmc8lqBgwjVwMJXOyqm+SzEn5D58KTn0WWSWsBJUOXmE86sd09mcniV2VU2gW+7rkMLyDq1Y96lv7GueejCAdBEzxKx5mmsiBtp5z0RKOHLyLs9lRgCt2wFs8Me9kkIuMGUPiqaPSfWiMrPbvdKNNc+wZd/fe626QLBUz7LZhBSF2hzaDE04Lcbv/d8naDtQSUmjSr9SGloPGEPAZvV5LGDO3uC88GkmfRbydQ0wS17Eb2zxv9XIhOzlZ6TKLQXu4QB2HCOgFn6XPkPeQb8yJXnrfHxtf1XPbl1+hRk00U0gkaFoWe/Qe0fW3HQVHyaYisc/e1weeZjTACx6wtE2JKQz1aWuLQI5r0PTgscK6WSTzCxKmAKXy1Mvo623r7kmyhNcxzf2024LtzUzRLZymWaoif4Xo2+6HKSGKo1PmhZV/bX6rSxunZfJOljtY6ewOrmENvrqVPC6vYFWjhMnFLqB3qdoJ0J8qvo6UO+EZhxboBeOlZ76Vejpx7gJ8oHiJb2quXfnxPWE6u8UMzlQjx/hOWk5lvrEYwtYB4hiCBxKNBPFlCQqe7+USbgVmFTLx68iYXYzq+4ksfo/GdcI7k8cXlQputka433skR/LZKKwGCPyHPzXtLddfpMTjHHWy8i0Z0Ul5qXVrr4k6I99rNVfKlx2V3XoHq3Zv490pktI61qeY7wbw5pV4Pi4gLl1UPg3YE1rz0Tg1/E5/AsD2GjCqUnFFEpgN/fEVbrUgdyvnWLLNZ6Vu3DU2vgOnWTe7YOLvaGVl9KQo3UCH5t9DEYPlAbMARgG5yvtQbxrE9Mpj+Fr9MsygW9+ZfLdMK2FlE5oqYmuhu18p3REmMqxZLbe6nx74UqN8qK/SANYxDC5+W4H+uu8axptunCbgSuRNNQF/EOTuHjZf6Emtrt0epXTh88Vk2zNgJyQBReNInmFUpaoPgcG0HmBmyv7T4W7C0zdJXGh/Yqpld1ZHImDi9AQHCw5mFvnzSFPFHlc1KV/l8X3TeVNwhawjYV7tJLAyTTrgabAIjVdvIYrD1qOPkXcEdsO9gZeXlyO5p6g+lnk4rQF2x+Nhfsbbuqd3840X+fDO5ywiirJPtuZx2+Lxwf33ix2oiSLZN1aYLDcUX9D1e3YoBjJXhubjCZWDv101G/DiXisMR8jZfrWeDSDCQBee3rDYfaqgFe/TSHVZBEoVS9h1ing/NN/8G6mJOaBUfL7W1addBUSODvZDCbtSWyYon9F5W2e4bAyb/9LTH7a+/QpRJ9jLtjJE00s1esRmlxAC0aJ5LVTRf2L7ANXV2aocmVUIoqoQ/trwrV2GuHGOMj1HoX1KBS+PEBG/FMtqVRi8A5m4Mn5L3X/OSdwC0wdSoS/SgYfb+maO/9tI74rGkW6Mv8xPFDtPWr+CMpdJqFHbj8BFs9DMZAOdhCEJaW0AW1LEzWH9DPtZXsc2OyrxJGMIyVwYysgquLawpvYkny/f1tsXOarvJDXHpKTvypKmIem4obLnwwb1myCg6ThDN9mEORIkIdp0CUDcV5s6rx6/4zWm2Ub0f/KfRQJVO0h7ItamNi+scyfklUdcb0SOXcmfuAA028fPq7RQc5BeHHjoqFNFaOINRu25Maux2AASscNo5Hbxu+G/NNlAoJJBDsBQkbMgVJ9ZGokMNqCyWC3NuIrjz3Md7yGOqRVG/ryOkIWggrKURlaJ/WiYuBiU/H37VFdVDcvkJ9/yNWT60UVLL9lJOIBbC8rZ1lyqHhi9mNHgwUckEIFCTcibjsrGUu0LW9Nd9ipIFVx6ZLUzsIHweVjam1Xo57a1Mu8aC4nGlAGAUkVaIb0HLj5J65nPjc9s8cS2BkEsS7Gn7m3p0SF4BYopM3G0rCDBOG7SdxkzmjM8OQ/7hggHD1ZBwzD+RKtBsqNwQkEUVS5zekubphZVGijNVq8/fzs/hHUAXzd6bWKgpbMwVQfaaxDHbipo962XBcSe+KAV+5Dui1NAq+rSL1fuUuh8xN1bQiYL9R7gpBJLvNJl85sDpY74LkiuGs7qGGc3o+kDmBzTdgMnp3ze8QxXSHYx9HoNzx1qJMd68teCyjvf9c4M8iqxkOdmAjLzHfW82QEIFXpf1wKW/iJ9H95LpHA5sX2ICP0EJiaJenjwLXIy2CJic4W+a1uLIDLSnf8OqTwkdwbQsnxA1egkZrcd3cpB981kz2NNizUjc1Wq5zM1lzORHZ7C5r1f9bcM/iLkvPpTMAueO+WA2+aef50eokGzz+Pvgb/6BqR01w0Ce4LqKCuZHWo/GhlHTamGB7gk0yT9lz9ygYWRRaMM8YYqBPzmm7NOWG5xHdeTyMy2ely6kzC+bEcVahPys4+6Ff6tjWH/THxeQed658IxKbyjxJEIuMqNqMiYnBtapLK7IWzou9VPP0dPd+FHPrwYVfelObjwLY2jldiCfYDvIp+gTaGElxhPRxHNwgHb52LGxNQON78XkIznf0It+0caHOjq/0bkd5Yphpta4dZnN+FLOC/2wNxFT9NNVv+WK8CQW6SopVrkl7Qqy6ZXx7o/eleJbtICCEUqJgGuRZUI58HEE6bwWsLIqmJ8sxxNDahsHXQBLA/xN4CawN3/YuMUCp/+RQXhrE5ebPeAVFdMdW2yPO4C3b/P4PAJUtCkljKaZsEsXBH36Pd1ovYe7fZN3iygcpa3z9cQAiFeVlB/skiDgnh79vfJPQEDzlY8TzZ3OAAnozWX9PNHu7pZZiks9aWkxs351vlv798WHV3RkMcyfne1nOcRQNfyqdLH5519YOx4inxtF3ZITf6ymq6YUT2KCaN7uw4jxroFCvawTTMIXfAkafNK2hwa/GkYAVQTcYD838tVbXCRKkNScrhGQrAHeSe+w0bAPh3g3+0WAvnxRpspdzLyunoDVo3z65ALBRJ0NUD5Ps80oyJJzwhzzN9ZORwExRoP1Kd2mgZ9shdZeFBi88pnu++WRlowAjBk5z+UPR069y6M4y1EIOTQP+Oc/SApeNLPpb1zUSaKCDSj6M6ECP24PfscON3XmKw7CnHpZY7ft2CW9IfNfAK3JHJD+1AlzC1ATeDAe0fFgrkdOWMTujsRCZ4orprOxmy327T84P6OrR3GZyY9Sog354o3kUOrqQZ9Lu9Mjsnpo9UsQXUZ2I5KySXw07eeOcPo/TFts+5mDnNuLvPgexn9H7RYtLQlPVQsWfm0Wldf4VmbOsRFjSIE0pr7fpRwtsMT0c3pA0JxaHA05leYvONpe+CX/Eima/hUlRkEubEYZsmVEVJGKrKhdXOZ8X4uutBxx7ulxxFPKQaYMSDjGW1kb/OBlr75ROSbfhfhPEyx7aRmrK9PU1+SF/jF37HrOszkBQucAnOrrEaePFJjAy7+ikXvD9zxmsHFJsULqDsTGxLLb3OEJzd0kP4LSBWiRSnQn1ATkPu1oB/UrcYSqWGnXb12EJV8w9c/dLsXEIEFXgigDSMbJNnrGnC5FO2XX+4BF+kIA0osHl6UdtQRKxGsSdwaCCFY49wyPId6wnLqlvkojk1q7MDIa9MXG1JGBHqetKW/wE1Uh/GlwCnFfeG7N03jIIM8xuZPHpQcsIYuOU89zHkMHlIJM9HUuYuplsy9R4mLSRG0HSDYpAAwxEZr+sVJ+LDiiKGrXfTvRUYwnkyeYkR+L9I+70eU43dHmudqyyq0l0of+Cl796usur8R/jdzWVTYMGXnSOeBAG4TzKCql14cAyp/V6ZetW8ZtkxX9TDuelBsOE1jcIvc2DkhpPC99C5NrP+78BgvLQtlBDh1psGNnyV50p/hFerBLEu4JRpyD7OayrVaegO0Byx96sCdIoQprqeHF/K2X3HAleszU4k0HBCNWKA4kH6+XzV+PBnJ6msMpXIFA35W5AhxbIszkXpGN7+eczci1imDsFX6DUpkWKLZol9DzpBeMxYtDNIK1HWYpc8DX74u51Q9Mm2hYoY31I2meRwqIadfDuDWw7z8pjFXeEpnOl4AZ12Hn+HreDjPpDOXndwp70c0tYE5/BHyySwjGrrqVszteIyWo8WCqp3Iw4GVMSzWzXU54sVssMHRbBhzq5kHcQve7zge1Spw1WUvq0DRb2KOjkzFbQGNlMhgN8AN8lxjUbpo5fvfTpOL+piRywWOsg9k5Mqek2WYMO4sPSn7ixCPhJ595CKUdg3b3cA/IxRq4CQN03xNP4H26YG/r4YDt0VH9jvW1XT1xgroU5u3cqCZAq4ARvLQMRtJIm1hNQ5stGUSH6WluNzrrmYr0mqUkrbUFKDrV/Df1UB/XzPde8giN8IKxSKhxEDn8TVyriNld1jSjh1lN340ML2tfRdTq4iqjCU6kMpM67HGt+SUUwtVXk+rzCaCL1c7rCToA/F0HaMnrTyBNWi88v5pNLb0Uit2KdNwT6h9gXe444VDfxxpevdo/WrWnpOoqL5qF0klk7I85tZb8CGbW3dWGEHGsNbvep5JU3YNeg4Epxa8n4jgH5FpmKPBKzpkk6bjURJ/F0S71yj9dWVzZvDBTltolSeVsk6BbJMfiDr8sgRYsjVfuwp9JHXkxTTmIm2KMF2GvFPfcjD0Rbe6k0UjWmoIdTnIDzNpMcKcFiJyGslODUekl4X/cV+Rl0z0aLiLv4eS3fXD/wsIO71zxgNSJdRIWQZcEtBBG1o/5dKGctZRq1ehCWte9xmwimcDmwz5c0hWt4iDIcVfQoG2vFybVuFozB0IvSInJ7iEfVs0Eq9v6f6t/WVoaZ76ieOvRQqda2AgrYlb4BT+E0tAwFB3hosaggunYLyXt8lHrCa0hWKKnhU1luS9XVHqd5NGjCBJT5mFnFPlN7U+Wem/IzLq6hyVs7S3uxnjzRdA0Y6DshOda2jXamCybjFI7PfYxH9Ssbbk1fmDTyoAIsbGZx3abzfAxUfhnZzMT3XLwTenKYjTxObk0UVRF4G5CUDRttF5WbQfDwzZbbCxNFSeaEPz/FvTnWXZqUOySpYN++czZyUfdihWjz4s7BfJxKEY90sO7W7OEoLfNN4gKOqqJB7mmpWvypAVS9uMqPGip5SYbaIvvAuPZO7z+PevhtCUW9osMJ1C2aU+V25FoFHAzuQjDbb7mQ5DKKKXsQZAEwRlwDl1vSucHj4GY7YR7CTTyrLncQ2GfZ7VcQV7X0gKIDwHvi2QUCOpOemJLIZ3rjS9TfQm/XIMrhUyCfbCIneR/AVJVs9kEphMMlvDEFLTAKww4Ff/BbE1vUx7tqZNXlSLn7DBfQKj+vqRVAFBkvbeK8n//IP/iaDi4tgCh2qgYmb7UwdkCGZWZHR38CoomlCOnFa8cAtz1re69j9Zn0b6amnU+gD7v0DcbaD35qePBEqnVa2TZOp3gC9MeKgBDIVNcMQgE1H8pv1Vp0RBSgvByEoxHn8Q6wgL4oCzd7cIh+2omI8DTmQz2fv8NzLbYiHnGaw+m2LtdCcTbXg7eBbA/EreXp0xjTCP8ZjUtHrdnHz56HX60aeoawgd4xP9qSJuyDkON+x6SmCzzcBmI09HlsinkvIJgpv0VBjTm/dsm3r5Lrl0gc+Objt0epg/cAtXSr/MffvmJhq4y+s/TPJ+GWhgtnVg7l4kFLNaSqt3QX62ItnrMtZRZ04H/VfJ1kFA4NIlui5OmfUSIJM+lBixPfzC5+UwU3efRMqiqg7i20ETkIzetBpMxwQd2GFhspcrjGgkDabKKdGhj5d03RbK6wg2kSHxjWeHkegXtW+loT/QoTspjsUWZLMeE7hIFEgNBGVffpSIYbUDZTtVj2JtNWoK2gPjQpy1KuS9t6eNmA8p4Xakl8LHglqxoeIxVPK6mcAs+uaJ17Iq0HRaQO/G4zNLIJyiwf6SorN3GVGqddBChEQlU7TnB0ALYH4CSKueCvwY8AT1JjSmByuSY51mOsm00JlJoIn5fzt5FDH8+8dJ+Kjx8RTE6wTHILE7XCU8JHZhegk/+rdDxBxvjXUuPcUQxnq6RIPRhkatWO/dPdGsfv9ZsnTHBZkkhpmNKHf4cGnNd6nFQE3+4YPiMRNoDotxXSEo21YYEQMcShTy4ByEfoPBacu0ScNu2r3GdZv73n5b86iHukrSP5d8GjJvhgr0/DkwtpPRIYHV5Y4UUlIX0I75cWZ6rjRu87mowOm4OUGcjXLO+YaK5pJCA70xtl3c5/rwyR8KaupMtRkIecJI8y4IghAMFwP0XEWc3YYqxOpZ5KLI6M5ORxIdIaM1BvfOSp6/uBn7zUcaYVw+6W3lY3drc2xSimcOGDK0y+J3leyFD17DFgyjWG4AUCNErumbcjy6JBlHhkar7zHJNPuE+EiaXBvbMJ3IEPsAHKffmfYooN950JepDoVWIXoehDnc6oQNMTfDwyJDvD3Mdf/kZP4W1Wje71hYecaPX6fh1CaMfATUZ87iRN1W0r0AxOL/fwwyAVruNzWFKAkgCUZTEy1Zq8Rqt/2mMQpr0X0i2b8EKjVXIqHnCPOFd2z8joaM6LeRl7Z8QZl4sZLzXyzzTm0/GVntSbsB1hHcKLCXfmP7EfkZdmGkHLxkiI2TU5/wBi0IEu0PjlRHQqLSTKrh+zOY9AzKLqVjcIhTgwZYdtcII/7CX3B9YwRhv/LDCt2+5DMKaiWuCEY6TlKlGeUIGtHwIgLb054o56doM0AfdQ6ptSIkH3pfHmUwHGMRH1oZxrnTvh/QKSAJMd2mQsV2Wp9SiXFj7Imj8WhumFzuiEHAdMddeS/T7IW0uaDWBRL8VYnNqr6/4oin2wJnCYrp5CZI6Zf8eF5Fo+7hNKOOaRdtLrO8NhsI2EC/GXE3+BuF/wkCvbGPg6XJpfpLutApgbBG07n6A46kpgO0AM2akmgEE2y0Xn5DtwX6wbDfYH2VZZtWBng5+gBZQbtbFbTqjXil3eTs+JWi9oHJqh+MPYnyOD9Ci+R0s26vP8fm8JbH6CZ1lrun4zPAv7rZTeHtCt/oraM0FoogYxtB8KSsdINg62xoWCpQtfHGgcmXZr7ni7FqYFIRNuEMCD5ppyjXBqLSeKunQBQ42wDDVQGigxCYJ3VlWq5pg1mNUYkxZ9jYfWeN/4f7xjjYaOG7ZcaL6yr0JTtnFICdGmxfypMCfzTV1oDwmhbs8tlFVakPFMYKcPNX70KZanF3gZ28WmRTqUAhU/imXfwpGWvouaCGjRHk7MaynB0Ak61bi3iSQpPa2u4zDVcIO7GKqj0Fivu/2mksmMhSatnvQtJ8a66KFEamwd+SYiAFVrId9Ei6hs0hm8D4FVzFlVyxkSymgJBOBpoJdifXf5RuqjXctFLQDOkxsepvzxj3DbuDT/n0UvW2QZb/wooZUjNp12Hd1bTsU4FLWvxokSrXP3NeXsRFUq6wUhVp0ELC5a28Ja9WujGhW/INIMZRY3tOxXvf6cGEBJDKiGpXG3xynMYy3UfZckPE5yZfUDbAHPGxOWPBd3Je5PB+7n8Dmo+c8vfLHeY94W4x4Mowz6XHHqwNmgKjmKkHCtihMAeHwSQRuALK59af1nIEUDFATt0sXWY9vZLXqJAUXnsz6z9xAbrI5w810JBMgfYkP2D3oKjRydXLHkg8T56svwuZesiIhKFfAg4l/sChDJeM0LGCGLyQInJ4sMFgsEsH8VtKZaLeYNkjcqkhnGQ3GRVb2zpArpiUmUXbfIU3PxFUtvCLt8CcdahZgGvWXYnE4EXbTYVXm4ZDvPEL4H1Zut309kRriRKaAdNupDW8xzbZSzIllViwsEYIS7RL3XsXQr67Zg4viR89jy80j+SnuZ1hMiKTyuDtioFaJe+bbBlIHVUKJnrrd81K4aY2GbbSJjjKr0b1iVAq0xLZDAHsUKZ65HSFq6PElFAx7Ghl80jdYWstulVzQo9VpzUPdEW89P38vy6rZh22mxLIe3Gkaxrx6fqpwiy4jQlqd7hYp3i4REmBgEWMgI2wDyTWuZmWHQ2C0eSBSOmaie8fMFiXj9UkJbWQF577kEf+/uG/W8GsRSEcoPBB5P3m+EeCq4KhuqGk5QAv4pJkJj53E9cHmJXjd4bnHIvGNMtj+Oegp2dTVDESWCeXSZDTMH/YAaZAB+UMRxtGiVnP2WSCnJeYCLIsx1JuYTwRG0pIxQcpM8NOKQafLbL3Blwa6oDeuErt8URtQstTvdEFVeBM4HYU6WNicaEt5rjLBrTQJAmeGqxsyAvEiU8uB5143KglEQEmUDTamC6arS6cYlXDPteAG/KCXqZ5dMOQp66/aQ/j3Iwq2JV54Q0yFzCDX7V1lqtHX/FsaYnWJuKLpAkU6JnDVgZHEVBr87J4Dz3vdSFXNqL8fetnSPrPX0rBd08WXH2xf8oPURL6iOCPjJ36HHXXYs2NNAFWioOJNfJn9MmLpHHSarHBXbfAi8aoEOpbx0l8S9bce/FU4s1dHZQheRfaZMLru7qsOImoZPG26Vdr73jSn8b272n3ZoazpWq/FsJsTVLG4aZQP5aT4u9wu5eVknVcMa2vVfQDWnDwcdlnwTK3QSeYFfcuUBSdyvaiza6Ef5YXzIoSP76u8vcQVOpBVJRiRK6QGt3YpJm4y0TiczfdFXTNH+ljlmL07m8jpT7RFgFQI2Wu782FV+b6p8VcdE9ze+6L3sZCK5whRYizDi9PC8i3LU1weuT8g4hRQ6kWmfazPVOl0GtG5W47ozsfMTzIMcvE4LZw7t2yWY48/OSTkh1QcpsUtdwxHbl37YXcSV14ZdbEg8evGpc3OiZ9ZrjyUBWqySLrR6msf47wbbBQBL0e7h0hl8PlNKo8njAplitlBY74geT+31pxtsUwj8UXHoCjVCpq4SjlpszNDD9hnqBX8g5EoxOaKbFxSrFQbkA6PYSrTXEmgkYzMTAALDUdKMSDmJLOdqq7ACBPQtbgYfZvRknyVONaoCXnfaQ/H2nR1EiGYu41NdfYKEEqefi+3t2TfqY5G6yCtsuSOeIV5EUkpRUymwE0jcgJkaJ5bPXzyClOjNYILc9zOCgm1kUf7VsDtNYcfn5zkgHJrI0QF4iLz1XddIqqF+UTcAxlnnoR1QWR4846DV/P75th4qPAL6mxUxkPbtCBo0JnHntezhlKGyuyXDgZQ0uPsJTbZCjprZI7kLI9lj2QxoPGQzy6X6zmHahKDKYqvhaEDviBl/P6sU84XCzzrBuei06jejoR2dg5BdRGRZlTHgJs4POx01/VF5yYza8EWhlRJaRBwMlLRA5GXDsdNcoycAqg1WmdIRlqPZPAP16PvUrvx47jIG2NWTCqe5/pMVwny8MPEvkroEMR63Nu2o9F3V2wIc6E7Zq1YmJ5DKXS0NnjuTAuI5uYjPbJ3UCnK31+wFzlfTcE4rMpo7La/xSBckSzqhvK8bGlzc6V7iEmgYtG0L9LwGDKzydhzaNeTxcvHHFBZOlieM+Ydh2ge/OlwYC3ELA5v8KtQlDv0gBbrok/jdsdu6m7EArUx+R8j+MSvcJDk8PeQqtSBo5znENG37EaV/Hw2PennwJ/ee9pALrM+vXRIR0pzwhwuVd6JLvKK2ci945/WGqXMV/pp/ip1Dis2GTihGb4jjDmzidH+MB3dc0Vg6pAQy0IkGwTbYgVaAZute9TEPemw9CDUFBM2+Azid72QgTTb4ECC8P5UZjTQCgX09IkpM03B3bC9lu4sbrKKRj3r7XNxToMUQPICvdYop/c4AtY47UxLGg6/TfFYzdLSKQ5UKl6rU5KUs8weatXfNuOmWYUK5qEaHY99itl5yttSaMUpb2Z22iS72DHF3oUSs7YYYkSR9s8zGON0dNjUcpE7vK5lA8LwT0be+OlvbH+e0wqQbwJDIR3HU4TI6I0tjDIkEuXup1LU4TxPDP4xTb8GdqpWDZgdS2/7g7wqXK7BuSjqHBzYmGvnajvoFYNVc3V7rnPHmD0V36u+rXMI3/G/wIozkVw8k86fP26hKc6npyEaNgKAuCv3pQaqIk2O0LwO+ax32mmozTgUVZAfDF1U0tCPm5i7FY2vB1HYPBhGJXAHLz+cO+5GQf/cib1AXzqZCXzFFeX5ER1zvNMw9/8qHyy9Oe9l//o/pxErzsT+rBaDxiQ0p1KGxPMozz/apAHhScH3ExiSURiuXFfSnNjunWCdyTg3dxw6Of692EmXhRepsuFiplY/T926miLhUKncXuwpuoFDVm+yv2KeOz7ie0lv0h74taKa0D4Hy47/4v/J4Qu6RkuqJMjYAYbe1ASeyf4gILyVNKEVb5VnkHeAdgeG1jFErqDRF5qk5LsODwZ1hA3YeARp/0UttHNhxMUu7OIbYlj4X0txwwbbOBf1T9paKqGi6Qzod7hmB6JwFXfIcir7eqDoSOoN1QRgihxKSpBc/ttiquPDu1Uo/TJ7G0d2CR4cIeFVzlRX6TI6SRb8kgpz9XCEPjhcmye3oq8r6NutLNBKskFZ7hOKZyNTGRyxrpWefYPCFNaDjLQx1i7XVT0oMlDrNn5SVJWGvr8dR6OLAkC/h1h+fnIbTCdu1D8cR5+Db8UIH2OqeXOPItTW4LZarauAL1LQeksfh7wRGHXIiO1uc/LyJUGqYA1PfO9LER3VfCSCYHDWHxz73VAEF+5S+tUDMyPt1FgUxI8AzAhuRr1Ndzsi3uy/BGKIAGfM3xWY33cY49hVjW0YhxXVMH3RhnICYSfUSbwNOfGVABjeOWU8kHKi+JOg+Ou8gzdB+KMcbkuTmZXkkreoydjK0dAykfypcRRrV0nw8qEmRv0GS6TCwhJnrgB9+slHrUZeY7oMN+72qBhNvsERE7ygOB40zOhtAbvSn4afWDKNp0/BIcr1Lfk3tnLUghU1EUp6Lv1qgQx+Nea+O6cFD5lTmyylLQbB8xFlSTB12chpcUP7rZmY3AJ9oILoaO5i61QjUC3FTrhW2VaCWtlwFZXxbkq+RJ3Ak3/w5qoU+ry/6kTLz9q9pzPM3aj5vXr4wZuSIZ1SpD5IA93OWcUCYshYfsQ1KoUSmPa6ZCQY8PZPre6sg3H8LwkqmjfaTmy48jGeiEvWB5dZlW3PC2tZmhG5gLDUGMKFIoQ31FSS1ZSgprX1Ril8GBiinSUc6PQfOPvoTaQ8o4IqVsfjc34dQ+MR4PFomgKFG79Hk22yMA3on8QXow1e/LH1pGaLY/YYQ5md/xLbm/Y0pOCiXiMZxPe6yKhlm4LIqSwTcHZ+L4jyfif33g24I7Xt2580gKooc2q4yXXpzevh2DVxx0cLlC42gl9OUSKx3UJE2eSXscgiLZ2dd5Rq1cOiCBquhklY/z4GoUq8dRpoogu1PsLUWmglqd1qrzoeK03jU2DrLmxtX+VI2es8txCbgwTr7MfgbPmgoP1zff0TKZJZ99+xD34nxsb27ocCqVZVXmbh+tAwbrHM2uGdxCgfSkcMJi1+NsmuTsbSifyCkzRsuWbxJm5RIquH3wlUg6BunQS43Tt2so7FIQszVmep3+Hn2SJPVnULnsoqnLE16LmyiyT8lTPxuqx1O4hyFnrIxfOJpgQLCZhYD8R8HG2X80qk76umWlPQDSk2kJTCZtiBgjyg8OVaL6DObPbOM4Oe6t5J81x59euhyEyEnXnCI0CtqZ21wBNYyNQ8vgFCXeHNZEWoPuUitAQovDtVKyadJ4CKuSyAWsOdqb7TRjq7kMce0uAT6TUSn8SZVI223Lxs9BHdSZCGtR2NTrWYSxebi1L7NQnACEvTcX9Y3fBQeKhLtw8zRK8bMvYnqrwsRr+c+0iXEbYpUYYtbb1xM0Q6sXATBAcbHcB4C5J6S5y7sOUiA1h6ksNXu+QOFCZ48FtjlMnCAvVzNyYDGvPKfzlqMd7WUCN06tsXTyjb8NFuRdJlfhr531zhVbnha5tvYsjJtu0F41ZLoU6ZsHzthgnUgxLlsR19awVx0H/rIj3gq2hYU+PJosr1Kp086E21Rq35hIUVpgyTzTM7aN65n5Avs8BPuzb9ekh9odWMTeFZ2jpNVAaS/ZIeBE9ohZTxDA7LFz9pI+8j3I8ozjdnSeCDSNefOvgWR5lO2Oe9Al5PVGnHRkeLujuJMXxUbEG0OYtFKXIkEREKacfC30N1tZ7UrtF6yvXE8vH+oC77MUYOqTQOI+pXrbf/qYqCS88pmBu+VAAUunRVua33vJG46OLKi/473wxvsHpoqZuzTpZiYXVlpKHE4iRm7RemmNv+lk7wSTpbSs5VPlwzwFgs2klfvGHrSzoOfbfNHLV3odp8YsbdstZccF+lNnDuCzhULbiJhwDnFTmsUJzBu1CIf6yH2rHo8CefD3q4EjWA5R3OK3y0aGJvX7Q0Gu4q/cs2D8AOghxztzoNE1XdKSfQLlj42oJAcZQl8R1sCYp+t5mmwSn7+OY2ens6t/HXMtDaOMpb55Vo1/zocrDWTjQAcxtX7mzOzkSfHIEbfN1wSsTNbf3Jcrsg+AQSZiAcve3fBmJMmDFEu65bhaStxlSXCFxVjpykQhvbtOMknke/HRcxUfEjfpU4l9/XJ9B5AWOGMjWl09OphZ9FXMsKBhSnn7z3FIWEfJ7cM+DDmkcclYmCzJeW3WI/H0Ze/YHwpgixzn8fdUw0+K2+JAkX0ESL2g5KBhg3qXJJNNJm4HmqDkdKmZ6/PuYixChJYqiPFHRVFXCU78sx8vBkWfH+l9Z9DEM/kcPyQTJ/ErEPyMj44tJbMTga21R0e1Bq32JP/9Guwjh9ZoHQla723RTwgJ28RA+oqGy4ZVttpEjJwwZSPjKpgk8UmPBECMZS1JMvxJcjBGd+Tw76aLZj2oDSKEvicLAkh58JfB0zPG1HCR2glriJ/qv5/iTnDECht3HLjLCrU1ez+5TgsTkwqs8UCDM58ZvSKeD1+olYGIsI2/LnfNUaRrjGMAgJvuFSHfKXoEylnF2A+8emajjfdnEcSKMBbDtI3lkmuHlAHYmYewM35QcFJ2xuQsuXqUchYtONGA5FOQdAzR4cGmMTpurBLj7ZWaSjBeFHCwFzCesSbBLqGZPLy/QSmtByY8oP/f9tSP43WGghI/1Oz5VTfbB3G1lpTsEKk3wRcEpUXTyXXCdOG3jedyOO/xCIjO+hCGjs//DPazAxROU49JxHCR2U3VOjczR4loU7OLvE4+B6WziifYpFa1HU/htEJdgbTp9D5n4kwl8lOR7XW9Z/Du59NCbvA1mGuy3P4/HFOMAUNjSlTDCaHe4TNLbqm0VMqsrzs223UhOb2jfJqfRMEJm2E4cYO/KUbyVGWDWqnlrnOWWc6drn0o/YRLb5+wjvVlESwQVyH2CZscueTcsc1s2ThTVFjZYt8MRGD2fQIFmc5uzUXDI/1Guep/ZGAiMv0JUS2Fg68Vtnt/Byoc6wGcU0Ju8D0en3ALwugrleULkTD4Bu5n30AiUQ2JFlWLFTmmQ36CXi9jwVFPp4xrrWcePFi+BFqrYw3QSVsceGlubEyyu9cGIo1MsAMenorRLf1Y13lrZnB5g+o8FWxF9GDq+wfPgBAwQPVMybOYgNZl3jJNRMWubJlR/OxNvlHMgnpvy7rFkNMVnH47l161qFRQwWKZZRWYiOnjkmKX7vWo6DMl++UC67oGuAYEQMgHyPZWzDPP53wVyxPx/PPGpl3xfdz8f6+wDARtUpA/4ky9qcPW46CMOnQcaQPEkU5AxvVaPsvzPVaKoDVIH54R/HQaVqga141LJwGzxtjZEIoull3LWFWIcM8jqo3ZaoJmfUpDhev99iltYVLUbIzDCtLZ0Y1bEe4oQoKaq9EWHnIzJPdWAdCfSm+sBPN/dLj0Jc2z+NkJm4ELGnBSwAiARCjH7usg+pi5fup9XMlLznl87KngCNJ572Tda4uYAOE/fhnLAsxfl9fpwixl3L3YqU91eTcOPkjeXJJkxi9unQy468j2mKfF8oo1pUigT1aXxYmpgvFKf/nZVIXE/HPnBVo/2YRMuBpiGZRCzxwisX7MloBYXZ1FdNqUsrNjfw0AP+YHR6S0zvuEstJSQvDn7fJaRo4YrHrr/SgKTIs3g6vwrwXhif1Bx2d/yUYh/ZOqTKQAYUaQI7RrAUhgGS9IaWErbspquTBSg4wGB19XixMfdJ2IcIT2RDXBU4gN4QsrgZAvCfoT/5vJejkg+IQ9ORZXeYw3lJfHR53Wv2U08OGmLF0y9XlUTAjsDncxkS+k/H/Gek4RzZ9+qun067LlRdmaZLwwHjTwqdFxN28qsnvSdWaO1fy3rMaufGVDrpTrzFQUNMYsS9kYpinm7kwwF40On4S57DEwXHcXkZLET9J0x8kE0DxptfYJCunxVWr0ttglFtBgJSYyj7Ewu0S8h6LKlwbmw6YwVl8tqLri7xplfLY31Wc5t3x4ro7azs3hGrDlqwvdHri8cCvPbo+Bm09rq7A7x2IHTnNClFA87knrQa7n5Mxs9bDK4tJIqiZRxet53rpGgRK+A3Fi/gaXnL1GHYtBq1sLo2CU6tatKgIJAhJW9Ypet2FOtwPlR+ayJscF05Pd7naRhmpZa7cr6rrvy/xY28ch12Hdyh/uRYDFOffhZZfI0I767bTHMW0Z0IuWsCjET8OaIg9pIwd6/XtytT5nlUsoXW3qQ4c2/btIVoUQU51RHRcN+hODYnFjssgyp5juLRZAq9Tg1wwnwgGuWHSSeh2hTMl3PagQYH1E5rva7sj8YFCM1LzXZVCNCcwvxXDfKRYG8p/aHieChn/BFadC+UbzdTvIcDTrLlYDCPeXDkzZ94ZZsu/bUPsiTmFOA0mAicrKrC9NS8d7MTVZVuIc5mflhCacj4uS6v7ZL7I11KLkDPD7LUAx2OQbdYZ+IJU+0OpzpJsBipEST5VIDL30EfaMTws/raM530jG20YmtocKDvvudR7LEqr3GGLMIwOn5sd1R2V7hijA7wyBc5GaLblmX90uN53iMzZTHcueNrHm8DYh6q7COM2PuVCvbxeQoMbHyAsMn49qkr/AC7iAjme4no+mAvezwPccJyqYkZvBGjcovVKGXl2XhIK0m5wkxrWWxix/thb2JClkdUR8OqctylGiFS8H2VD8sG8AG3gEi+DYxG0k0VLxRlLW84UP6YMQQO9pshj4yF/OFIctyej/11MsEYujsk00IfS1HzG78EiNnA44FYp8wIN719OY4XcS/wE4bAeSeJVjcSH3K6DwhA4N5ZU8j5zODNH1WDoycueE7rVowrAgTmQdaUgC8lUPF1NExnlUBBqyw1sA3t20Ur1n6Plbk62E/BpppONzvQOJAMZSrg7pZhWOoikZIBzmgxZwPZIZyBqCqmq/a0y+EYAelkdXtUVwd5eadL29X6zO283RbHN1KyRl7ovO4BP3F11/hRWiWeU7fPApUKA5JJXBpOx7SMAo3DEoQzWu1MJyaqnDHBvhYrfLId8BrgHW7FqMPa4n37Iq9QoHsKCpnZx73aMybLpY8FUxMIzOWWiE5dVm24zHTJIj1snGJ5wSrM88SGd/KsYjx7T9DAKO8+lIPmUbk5un6HkfQY4Lji5mBFwIVtCuhiYk97njI4I2eMThGND0WjERU1YutMjMbNLIKwX68YHLb2YxC3VEl3y6cDzydvY5qlMqCHuI6zEXQBMMOQcvL0KKk402Xwpujj59aN4IOvqnKNKWp7323eBuR2ZfY0h3EjSzKFMT+QA7rMB9GUBDJDgCuxauU9XlrcoiQrMxBj5dOV+HcCGTGBZQ6QnhvPiVRlEjD9UHOyfD7cFjZ5rSshT0YXAaM9WrYLX8VOGZhEjprBjtsOQOtGyobZQMi8uTOWGYA8ZvfqqyPw0hXo5PzcS7K8ECC8MCle2hjXxqiKHBvvCzTmuYf8W4uR84qhXlOzgIIduz6PEFl5SVtbES6ScGxXYsT8E7BMXAzRgiOhoHN5/aY5dk6SLOX2OArvK5Oebo5KyuLskhKs3Xu5y9cW2SdDeXu5tFiMJGmRhc1HHgFu4Ku0HE7X5uWAPHqtEAT5ZlEicKqjLl30KIH9jHS8DLIdj3JoscDI6FByKRvoAyg5qwl+yZx4h0qKfxV2eIvdaukISTamsMmkvIl1Y9SWWsxT4McCUMMdOMgqIwc54ZzGEmIhKE1vC5ihzocUoeTal8w/ttjCjmsVfEz+tEmTKgwnlxbmYh+gk1A42DxiNMf89PE4q+sux6reqTcdJ90cuOxHSNVyC+AHj8aKME48Gf21wW2qwQoEdadsJ+n7RDa5aRJb0pMffo/r3NC2w1h3ERmQTTK066ZB7M7ISkSTRwj490U/IHNOOohlCkRFZvsp5jB5zOjKtpvBX/AfbzphOY5dGjeuHPVK1IRfuVreCV/+CIJRkQqYeQxuQtAoaH+y5uza0kjgQ6JphAFYDIjxQSapUoyopEzQCJS+uw4sQRiR5Cur2fOReaVEJK9j5JaXNxRMweEUp/evIfD6kxwkAvglRMJMXWeXfAdUtUB+2A0njqHl3v9kVLd1QXEa5MsC++4WmWOpxMIYSetMtZTI5EWqesI0tMjFn1OTF9trxuaRI9+ZPJ50bwWQXei5TkpqXXOtj/l4gew6IHnI+GhlgVkVj5HkKRbRALx7eZv60ex4Z0WIbDMfZzjNco1wTQM4zV4+Qv1HSjSd0LzbuoC2y6C9a348cCrMFIvvYjGpOgY4usHkDujwFojpoUVZmVguuWfakOaKH6JH3EBi2Bv/0V9IOV5OtIBClwrf3kTRgdpm3DqXsPd76kqVORfdBl/saLMgH9x0IK4ldcnF78D4rjlTRhkdXDMf0ApnpcHHgjEW/EOGWOKlFBJS00JOaQbXUMSzkKjvS2B0vkaN6xJQV2+phIlezHRTvOeQdyb7BH7lg/Bo90bUzyd2E5+XeRAnP7kgAXX88TMCPmgkZjoj9PF94ymBiQzT3m/KGdNiYZOmY25hLVUc7Er20y0hIOJjGMInAP9DFxeLyUgBsGat9pFNbmDDi/Cb/Y+6q/BUBgANcaoFxc6MVgEH1TrsRolxdtP5FjtyZnBqwr+Wv/KnUffkojGws/ANvWwVwhiTDYVprQBNBM4DRZhRVeLp3J7sfoh+M87ED5sMpRiON8dZNg+EfLpx8Pki4a8TGZ6OUYd0D+SO//3+k1lq+RANvXskOldKeNTVxbltRb6iGGWuOy/8W4Go8hsGxAwPA+RQxjbEW8MNP+b4JW9q0jvhWO1zkGYQ0TSKIPYDL+Nrgz2sHbbdg/ZTFYIIy3XzsqJAZTgsyecc/bt/F/yj6wL5+VAjSVLRWwL5+QxjS6VJtdvaZQyNnvY7+utXKWzuqEvrRji4zef5dNK/krs47yKGB6G8kI1Byluiiw+BhUyjObPnTVsi9s3L9HEqvJlVlZN1zBq0KWbsAmgjYpfKI9A+6hjg0R4WYe7zOs/SYAxldJuDG+G6BwPSS3LR3wqaHxXQ8ZVq5YBHW4gOSmh2rSkRSSmC0BhvGEUpaYpEhRZX4hTXtm9cHwC+P8b4R4YfRe8bS1Aa1aNsBOKv0gEupvd03CaGY+y7rbUB0Bb9n42PYbxN2xl57Sru+42iRpyOOHEFFzlurbUsZmOD+ZAX1FXeP7mF4hYhIexQsCTbx7uDR41cAaI91EyvXdN+FJw1KWydx7TJJubOzjxjJkdJoYk+xG3L2Hu86JFUTWWP9voDY9f+YPoLHuGLCXT5UOjvypCJ6E9nfAy0d6k+IUU3+GIhC8cF7ExRzHfln7ZzgyKOJR/ljIkVE9x7ALrPvur9rnMd4e+s90VfLXaG948ZaKPCmcoiWIawEbzsBwBduig98eZgyaPvMLf4XdK7ONf3WeLvnra+YF2h0exOALRUYOQXK4Rq/k1LTpdpMe99uNGy6ValRfDib+jiOe0EyjxRsIIkhuzORNWxZEqGBg5EwaYH3W3OuDyl2vQB1H+8aziNG0nlR6YazohHGGOMubf4ajWCRgOEPttK7QdKhNvESfwRSy4H1v0sEH03i0dOcRqbc0c5tDxRKK0MRiDg2xvBlKf3SB4ACwnLzRkuUS25Aa9E6SKE/gV/REkz6ktsN3n3AoMQjJ1PzR2tHfY1QGgz5zEf92u6JHVnK0cA20RY6AyHaYz1Qq8ZizCkaHD+pRfz3HXh8zm49a9U+GLd51XjCsRJK2Cf0hFrefWnnYgrq9beBtatu8CSJsGaLJVtS9rYPaBa10FFCsl9RTlMPSVUjBKxuKRqrRWT2tYLNXt6l0haSDYqmplPsj+EeRI230morjslY+/wQ2DHz9Yt6a1RDcZsfpLd1TPasf0Zw3fRt/rQWccCMPk/DPhXzez8TALRzH3tbsGFSwRQVab4Y9oqghmT4oz1MLxOzbcr0XB9whHzuraVANXU0NIpTJlZ4y94ER2XqCKAFWzM6U8h9GnvPRUtwQir5WQUPlNUoYoV7VuWF9y8FQnwCCOy0PIm74c+CRn9WSRD13WebgHT1kGKn6l1uSO2BcCB5NDeYwJcvikvndIlETZ/jYx1dyFTaf00iUPcEUjAkHyXx+UBdOIEMFPoUVnFNtbNZRJVz7Em2BQdjqjSBe6lH4NVxWk03qIItrXYZ6zI0JkgXZqMuDtCzRa7kv2I2HP2+O22/vPsHumvBwEzCrZAl/Xgd3GmV6fk/U5CSC24qyenO2ay6itgklda5oJWqWXehm2UVLsWza2kNN39L8xV992t3tMuBFRFAuoc9B56lKZcX6yuy0JCid2rwPEWtbpoaVaWnu7m+N6tASKKudrApZrP511nn0Glsa+Ml63qjLN8zUL42v9eX/cn5rHc5vt9z86a0E6ZBsxu3KfrqvdhEiw+J2NeB5joLb2BxUFIUe2WJuq9oiVL9mkZNxb4sH4Jlw/vHVP4VCESud2Yrn5c7C/enprZL3L3hrgbkOsyuNw85wI2++/Ou7pur5b81efCNmVYjgwjHlQ3/gA9CQEfN6YGVY++2e40tETQIUVQCJ8N7cDio6mEKwILZhhgNr80xveEitGl0zFxr+9Z5knNpvxuPzXJSiX8Ja9+4Dm65BAFtOuWmVhsqi8FvKDVNgJrt27qykzxbEpVw0kH2PbpTmipP4oa3Q2gmik2t4uPGc+qtXrZht47Hq7KLj2lNtm5pkD6iN8+yTAPr+Yyc5jZ1qUiwVSOQd1NNi9e24kVxoH/Rv5qVL932dLv9oW8RMyrs0AoiCio3W9qgQCNqMqLuBEjdeYnSAY6wO4a5TrumtH3OECeixGEdpHlMoUy177ckQerQzsfA5/ibhIEMZRz4cVs4BDalp2lu303u128/jHAP9Ljva18EAruKbRcIVe5hh0xZ+3I4XeyyGN3dQys3cD2d4/sESWXyfCmO8pgC+vZIIDkQ1TcV7hosPtazLXyUKlScSBtTrwWE5t3pLPbI9ZQPJWIfLrpat0Stz7em7zGr78G3X2eT+vfzDC0FxhA++VlMqJeQe4xv5d6V06if1Qbbd0jn7LFqZyJ4cghU+iBD7JjXq9xFztkkVzVyXVo7BEGvs2YFRMKbsWw5+FtOKZyepAArsekG0U68+a+5WhGfrles88GGFn3Fd4XVYMRLSsiQlCGRBJ1vthyjBHeA3jW1RXzw3vS5nxKX1X8PzP+N8w327FxGGOjVVb1fp6ZlUBfTZI++vJTJZITetjVorekUhccedswnyKM8kwUz67tqp3eGJ/ENMTTZV7Qi+hf9onJURks/O7iNosg6bxlNsP0OPx0P6T3i/phDH7mpSpUQUnQeldFOGarZRzbeoAsbGcOvEgi1WBJBGS3+rQ+Fc0to3ZASGJTwu8Ke4Ids5OW74Qmu8lxsOffAVjOUhEebclr38YQoGStcmq8VS76/fZRWiSyvU04uQRw52yyZk/R1Yco2umXQmqc1g0OTC9hCseLYkKqpVhmJxdFTo5NN4rJv3sn76yoWBbyjJ9KIpTb/dhioXit3uMIjmCE+hWA+9CV3FkjAeb9u+P7KsKR9yQyiMCiw60WHecnw5ZFXOpE22h+mMRw0qtqyWJDot553Y6AVCQSP5r5AD6fH8onzhClnBd6W8oWO8kkrDiHXS89h8pzXyYZcPpydplPuapb694ekpnVe4+Ep5HW4bxOmRfb0+84dCR2p6+HHhjiAXCaqpEp1osQfUvXy63NBECURUtH83nsjHJqr7reJbLdEEoUbfDWplV62opQBiTgZH/hQwEa6ce2AU4xv3hz0njtCLu8BXJfG5W/2ocFxyyUV7ham//0vZDgQqXmKJR8Vb9RnrvI8wh1UKl3jhy9BI64sFN4t+hr9LT3jB9Q7kno4ujxApGn4f3y36QgpDTH6w7zOMyEeix4YQeWhMbuFPzvU3h2YiptPqHxIjC3m50qV6S1kLwUh1nP8te987JP03QYes8u1qjn4+TNrJbSVxwvJgL3e0+f8mLZK6jbwTpvUnrVnzEx8Wv0KmlNMAf808RgF51HTiBIRQhfSpdEM8g3g3N8IvfloXOtN5EzcVZIviE4x0YnhWaAdnRXV9RZPQAwKts4FdUZeNQFbCyZ/3VIdNczhG5wpgheagwOS0IMmiGuj/J2ULom86EyhYGwtmxkCqnIIzjsdTkU4lolru19g20N39I5e/akd3X0OYq1Ioh9oAGkIyKhIAIk9A7DCASa4akMnszVIHzhTD/ImtySgGZ6KpeykHlLRe1U++LNKIipkbz1xnPvSnyn31wdvLkrJXvl3we3i+99QBEkKPgII0WXE02/HfIW2qupWMoNIIkvr1/uYFJZ5JCoN2vsYFayEpLvuljusLoGYoBhjIRhOvUq+nDWxsoTclfL82nS27FfwWsul++kiSmgpvAC2JwoFPF3yov+njNUXVz/MxWWY6rgCARxp92l2yw+6vOFecLVB3sLE5k6Q9c8QsAmpOpCeC3TJQcQ5NWBfWaRP5yeuXc8VU2C4roRMhJnpgLqyLnzjDIdGeVMqELGwa9yNsFQV2Hcobtb/rioHkLkd45CIwt5QyKOxQhubhlLFQNyTloszfRtraZYl0Wb3zKXxixpYl1fSwV/R7sEJYSOIyrEb7XQp3CcJSef7um0d9ASO+9qfBXRmwLE8a2jp/C9W3bLhQzW5zo9azefm7hz01WAKViOieKj8O2CvmTw87BpyGy5FultGIgbgDKv5tn+6l6WJHUSt+3OKCdthK/hW+rkLxe351AdPF69Mn/82FIfDZn5SI9Y0KuLyuzeQ9b/3oLd5pHbo70gfGZMXlkZyMZZKNxW8bLzPFaeBiuMEsrURfsO8tNnxjSudmnv+PCh5VKb5xNX6VM+7bKlmtaYmBbl80f0Co8c+UVdS/WSXDNJS/gBw2ud9UmP0vOo3cv8ROkEivYo4vMZ6gSuDvox0pIGQFFjHWr+3f2VSXjUk/M+sAz1JX1u5sRaiuuUUDuTFYaWTlO/PtwBzYFFQzcKR7i/0gVICyjJseaym3D/wlyYJ+nhxWTz9tvRSmQFv1cde25mjmBcdTm7boQOB4jBAJfZ66lGVF1Jv6hypE0sviCurUpgqLAvNFseNggz4dTzewja2Dq99RyW0qQbO3xehuLLgSjNt8UMTs+4EYvEOB2OVkFWAP4e8ayP5MOsm0QV5DhJBIvkqYX+J9IB25clVD0ZR6zuQlifTDhgcqXwh9/HBCYJRnmrRUf7yDUtafhiYuQ+3lkVQAnP9udtC8Ii8mjJ09B2caw8GSREoydEmwJrmKfi+BLD2M4Jt+9TCoSkrMgLbYkIO7w30P6JjBI5UodMYktlwsDxGEjtt6HYMLYQr6LEjbfnKuIgYAQt0FZvSUpcVsNcmRBZfcRtYpYWPVqjAax0GlWaydqraVYKp4FEdtSfb00su40oNhDK9jNcwODAGxqrm2If4PTQCpJEIVgrLcp5+flBc9+1vH8zSm5RP3Es51zox1fNIUBPFjp4F3j0M+p0T7zXNoYOvyWgg/f9FzA8SDs+oh3VL50M75w61Pf9NVw+O7LOq/752IQoJboa01Q/17W1SHGqLEN9yk9bV8VX5jOIqSslXz8tzUOLbm1TGPq7SF0Vpd8rh5Vy5iS3O8GPKHJV81K9jWFNs5gRUqsykg+N8pKpLEs1jDyWtNHV9nuS8X1XaGOLSVzDKXipLk0QH/on5Ki5Dm0ps2ePKv/5BatTj+4HjlpwJsSksu0Ts1rbLpO9ng1I7moiFjtM2GFV21SOTmuMcJRTzVJb6Zr/ci6McGsz8XtFQ2K/0hmb/g0Dm6fHnKfl4tauQtwRbMMf1pu52U+K0ZAUjuxwDygrh2M2Cj/gKAyHn66+cNe7fAuRWSqQVVutg6w2JfD4JAer+VN/oTEk9jNhj/w39cW85zHBebVTgTsu++CYzj/p3B2/DCpi8xwaWjYBju5CVqJnE6+JtF1GbZPH4oQRQVTwXUSMv3P6XebxiNpftFaBT/vexbU43V+PuHHULcbbgsMcxD4G9ArbzSsOJOryvRU1vAxghdhNe+RHF2xWV3CnHvZUUtmeR70VN8ANMMEYXXXAdzaJLQ09jQNkzYgGaL7jFk+jOOZAwX2pnmFZTRaWvGelicjZARRkdRT4qJ1MfZP9d5jnTCMx9qAdN9nCv7NL3Iu5B/rwPxrN3LTT4wnXl92M0mBU+7yN69mw6U+6qhWbBzHQ3r81VH5NxI1bcgRdK8FfkW1VyIAKRrp4NcSbaFSClOuLf9f+DpAr3KNNrEwAblNLwhHCVKI1Hp1Xr37EJ4AXdosZTU1uQUyJr8gn3xdwMJAROynt7e+GUrg1wDCqsC3ucIGLcYQSyfsnfS/ogrliCGaty5DCxaw4xcN6p85xc8lG62/kW3IO5qtI79pexXGlreyNK9FQwQpzuODk9nLQY4EvM1xu9wBS5niNQ077wU/4TH78SnyDbpjEOser1THMSva+aIiCxGrtmImfClDZhQEZXIah5Jtswwd+a+Z5TgXpch/PwM9K6YK4DwcZgr6KzUTdV1wT2Dmast7lGfFJRD5+kdKvVXQptxTGmRUxYLl4j9Oz25GVGRwyWtQOZR+ZQwr2FAC4jF8p83UTVigfrFKIG7b6LSog6An3np+g6MQxcfexTtkY6oagVKvf0GEZTFVDDVZPnQfTPrEpDUQElKRvqXBdDA8wXEciLYfrqIqYxQAzvj7tf3GS4z7UQq6mdK6HMx9v8AVW9GUULSM6Mod+0NMSPJ8xXWqbQWk5Xtk6DFVAXXsyl+AFiAv0VRTZVZIT2lGfCNhe5udNDVEDKRSytRpw7fXrEVsL6XXrF2+Dex9jEXqP21u6cWvLewhozsxr9pcgbR1Z40JZBdR6GuI77QpKKJaN3cvS2bszC3fvftkpmahcVq3iLnHRVwf1b2ANS610DiIQkKy+Gw5otJCa5Euoj1PG3e+OCROukdBjBpC5iWfED5z/idYjF4Mvv6BwgVY/XlOwpJMW3uYIQMlEFxcIW+MeTqwRAwKjlYYomHYgqiF0VZZ1NSznWkN4PmW2Bhyd04LloGwtAaClZSHjGAXvSQczICDWS/9TbosgE23My+Ne7/NHzyx4wgWCb7CvDR0oXskiPtBxW+NNQyocBJaWUeglIEMdinGTTwLJsBkype13CoxpbnodxNWXN9OWb8Rsx8MgsOheFfBHE+iixQTCvDZnJZNbvLmAzKoCDoP0dcmeUn24xd08JFRSGmKMtTlO+1AO2qGON8MjJIbvYJfH0T6LIq1OsuZw9MTTkeRebBC3yIAJlXwrPuyktBuCDwUnCrubQI8BAsuZiju3cyUa6ApkaigIbTnMgj+MAp8psxJSGvQytFGSFnrwpL8k/B1lJSmuW9Yr3mFqc7qtOBe1ta6BpaUkc8qWK+IAgRMfs0n3k8N1HxHoV1BgrALZzNQHPrYO+c8tO/W7DJyWRwusyZkD4VfXVel8cjszvLxACAwB7A3WZnZIOnpy9zaMihkklG2bL/spRF5n50yUesM1tS6GUgX2Ti2yuWLSreZ39C/aBpCFzTL7R+W6qNrnD0BJLUFFJ6zU2xYiDVU63lw4Ic+YfXaAtjy1a1UQVPgNs3ALsjjrjXLrwCO1IGHZsgNMb9FFqI3zXZ32rO0AdLRiV/a+EvMRyHQ1Wh7elTPoMaY73ImPjvq5Hd8LbPJcyBUMSqXPnE8tyyb6aJQf+WkiNwbovQB8SRBxJHdEFpZhnHvxNZavYA4nQEpT7CL9VKe1ttL4HpxygLcUqVXP1wqR+A4fUslMFpo94t47tW9lHT6DS0zJTIBBFEm+W9MrA+abXOkAjuAsI36yhKNbv/siv8gNbWRJyVtbK5HoINq2/7nACZRQXKqOeAXUUubIwxF1o0ViBXuS/maJrtAlwUdEc++lc7Cyb33MHiFjZJ2Uha1heL8/m5RBuRQCcaCaNSzf/HBf8MQvJNL783cxzFi5Dgk6rfNe/GCw3bnm+vnhATe6MKtpQugby8vhtQWbYEgNi3qghvrPs9gdYs73kM8/eXW2YiTU1KEr3LEpYC/XFfgEC28mJUe/jf0pzVn3F1T8ST35SSFge2q0EAgEkwdddx7YHQ2MkllQtDo0jNIlshwmNlA24k/SHwdUxF66u53oS7jFLRHBL2fgkp1js05sRuK5AV0ucyjLyLznCgHfYpDC5/DpmNexRfTG5n89CpAxaur5nF9MvCVAzDr+vthQ8CkKKpIqqtrqcy4IyCH/e+3LLpBiV0pn9p9BRxGb/HFSaBCB8r81jySfGx/dL30hlMOJNxeyG5l9KkS+GYiolraSAQtjbek9nxGFuTHtpAYpqPUuDtdTbIWD+n9ozdFVe6EL4ogOGbMNYkZz6dYtILEw4I7lifv4vyBlSfg0WW1/g4HVNFgjbc0aoj1OjOrAZ/piXlung3HjJkQ9G7L3R2tqj+yRWic5LDlhXR4GA1JNpm4RYY9JAF4J/a56ie9X7w+z91k/8f7CU0+r7+dmB3HsoEZbtC2yVB7p7zrk8jF16/cfRWY8oVdVkfn+n9+F3Sh0+NkknmmKQ8zXFQ6zZzFZdm0cmVqUDOG35sQJtan7Mezz0ZzKGZROhpLGwO75BYg6bLLr3QJDBWsjb3N/Y4nT46cmdg9WN4LrnxBp3PERdAIwmqLJBSSnqOgNEfQYUp0cGozY4k2XVL5YuSHCIoe/VBPpPpFjrQKgxyUH+lUmQ+zp7DtVT6D3s63lXcPuNcwSImrFeXE2bDoUXhGRh4XbeIKPDLfrTZBRgQ4spwmxqQM6zxewrRu8Kdf/AafCGdjMVG/MGCPs9WXM3KPmO5WogafHoZSwsFlt1Fi0t28aNOpCKTuZApr86ot0Jl6TyxkGGCu2rQ9+Me+hHs5rbIve9qAhdv5a9L7s/5uOhCOuwxP5ZQNXAiROnLRxBneNjpvIIc0hL3Vg3faBmGgOh9BYP7MOyEgR5ZWZ2fc4mH0gIbJqnf670NT602hEhBuxomC86wefuyy2gUvKlQ4SALkcaJYXSH6vo2xIVwdrZAEO+sMWpOmejK/CPRu7UUGHqLe162lo7IDVRknKfNXZFKGN7NQvXCpIMSPHwLKL++Z0wbj2RVje/6npWf4Jehhrmn2r16GP5vXpc+KfdgmqThmiwgr9cuLNsTmrXTak2pJIEN8X7BsJEG/MNvMs2QixYYwPKoJRV0RKjwDJ1Uj3nnU3RNfT/nkbnXmRaSRIzUZaE+5jeVC660hYHel8t2015IEmVozfENXwAXrHKWHm5lAOdhQMYGNfo48o4EGMguTsiaL8qhAtFwtLfJCxJdaxgneAeMRFjHa+0iUnm8PLSKyNyhPYX1HMBkALsc2RFN2nvSBzcfpfv0Q5zAuS2BUvpzhoTbQwaDEv0xCLpyT/1jWEtKc5mPtOWys/6wJnWGHfZKtySLvC+YHvg6mLkivKzJVzMAjS8FIn3U6odNAM+14tLiZr5B23T333ecPbpRQhCdlX43/MTPaJUhIeeKH2fVBuTlq1kYkC3yk+N7IiPV5rS+4fYE40S4QSMi7aLiZlNxFiO6rUI7jdM/q0LkVbcpWnt8y2iB9JMcEwFOcVjgopwg3GRHoNgYqkwdfUpLpmTuYPHKWxVAZ6fZGyojMjMaju4SXENKPGnx0BA0u8/6Vx4xvwc6RGUL+ehNaV4jrpNsspayWBLCsDcjlXiAmWgNlxhFrIrzt8hnbeyQc+QoHwNNDLYVOrRCUXCXqBZX1hnmsNZoDXZXqAiMUtM8uCQiVpyT+kdfXDL3WPpyhl56A7pw0S3mMF5oPYVT3FQcqlb+ZhNYxwiXTWEUZlJ0EkLvRqX1VcaOd3l7Y39PT8OMs+2GcWdXQzxv98yUDMtzaNq2WhCY7e8pp0GileO0Gq15UvGYx1qu2xPmiGYVdtLWX0qjsI2bUty9qinokw/S/YslFJ6vZFO1D8KeWUyB6QSrzCVumZgqwmiyyEGjBu/XGoVks+mSkqduuMYwVZK/NV/j8QoxSYzJyYkVVTZPdf6vgaauQLXsC0F95vUdEgFW/8JT8ArakQKtdWd5msnoYizOLomz9cAstS6ddfpDkqInYMh9m2J46TYYOlPnt2ExAVwySC0vxbGpKJT+o5zrKk45eNrYW6DSsk2Ox9zJczCDLAvKH5nSe//dghx312IU9k4WG1s/cjjbzzXECQK9jRtYVooE/xCQ1dWuzgws+82kvfxRTsjVzKyRraSWu6dxGp506DEncWDg9bVd03XcTCstO+431aMP6eXbMlHEWfflbHbCBvmOIXwu5KY5hetOOPsaCHmrOePLfpBtgjb1AKLYU/3VUenCwzE3KEX/AmT2D3KFcUiKQ5BNsg1yHRpLkkRGCiSloDT3a8zFuXlMuz6JwMDRxyJ0/KH3i4+96TeU7LPw3yL5SA6Qjt+qj4ar7mGt6kTI4uqJxiSHZwzFKRS2voBFDxIbuscmTmKq8oYkvnJ3B/AOqqHLnR2gLEMOQ3qlrHTs50eyamAm+b206MDgajGAzIK2JnRZyUqq912uYHAqqZZQnkEquNVCT84kWVJ0HqghurRlbFVfBsx2NJuhNN8sjXVFVz9NaFpZbMTlwoIfU81xbF4LpsD5+Xuhz2I/AwPZ6cYRPrbtvrLdQXTjUP2WFWhFJjZdpqXwvXrSW5NIIvuvx8xsgRsHESBpEHgYC+i2RbdEJ9sgywi+AKZ0oNNlAvt2RJnBdQzzp8PDkUpbOseYYcSrZfLnjxk1N5OWPeAb5B5sXUKMzLOSLs7nx2xo5HN/LNBV/ANM9jj9MVIsu8KDlwX9/+rJKRaRdCtvh/fPw2Y9DeWuLjLl64aoRwaqXUF3bYOvJjptlAOKjc7HDPu9cpkiZPUUtVzRtjS7YoEsYkledBFmRrabiFf+kg7sBq1l6erpQ3kjMGSoHJjz7iUr8hZpyoIa5QU2jT5L+bkb5ygIDO+utTzNVXxRY3EvNpM2zQmbCMryQfHOmXcUtKeB3vABVhhAjZuKvuQlP2gOnvCF7eqFTs9Iq3w7vVy3zit2ZV/na1NHX7kazCVPCygF1+FrG/SwMZ0OFUDLZdc7GmOH4JdI2gRXLau09yShOjksMv0namAokk3HWkJW6GxIS0YFV4LeRrsPOf2n6Fngre2+KcFnkthmIdqJ6GIPDjYCjzUfbwIiDL9OdhKGcBhkNY/ZKv8ophybkjZi6bRIbrYTZ3tlL6jSxJ8TEyg2pWWpY3iyljoSESgn0BjUXfChG6JpSUUISYB7bsy3tUfsEOPjmUT2uXHBJq5pHKX36lGta6fO2AWaVMpPNtzaZSJ0QYVt8gKM+9NISDoLxpg2hkR0G3qTBihNXLh+C8kCLRGKLsZcmeUvd0bGwKOeIczHBKY0V8O6FSPp404NtyoR1na8ReJpq3SbRc74MnrAv9/gduvaNp/bIWjcCGLZXNlKuQp5zdVI8DtAUIRmTfvmgtkRpb3f1rv4EpqOUtPduK1A/RuXKJZYilx/rEKoiOYsOeb84FIpP0tNhOBRGbwOT8fC0uuHIZBaB+OWtOQnDC7NyyF7luIZ0Esm0QTnZWlL22sGV8Zgfaqbs+//abvYm8rliZ5HZ4sexJNSHqirByzZcT+KI/E33jACo+1Rh/iuV3e9q3QrYAm++a85/kkzmVX2hHJMdYbSaiKtbFbeKE3En1qiRmRm7Gfa5/Cw/OdrbYjquFSCTiFhI4Sazmje2netU3W/j8/npTUhnEStT3SxJCZ3UI+cwA9jPjFfsdfCYPKg6qHWypGnVLOmgY/ChhzDkrfIx3qoapseiZJFxXn5VQSfZ3X22NAPIAJ/V2ozyK0T0M35KcZeClUBZxa9QaHHhLzWSerbL9D5jrAkMnD4PzbjRZILxi2JwL/s/Y5/rWARD3uefeye5hiUL3vnfAG23qGeq7rr/M5ifNj/4/yIBbsXGIOCF3zvPA3PoARIAlUMYY+Ns0tLm3upZ6/HelfjiGOZvDgQ4NjppNWh916CIspqZYPvFzMXKgtPvBNUfrTcUIGYJwm9/ZTfRFEgqnqZhHFtXUNJf0M7H5fQG7ZuZ/xc2L6PfwyyiYAinT1Am+9aXTdDLIbK5370FUqyyVbMzGu1uZdFFusRNqY0mD3KeHv156qp4jqgwOA3AZxD7TrX1yrnCJ4Fpz2NkoFGmyHENuKB43sr0OfBZSRY102oFPJ+oIvCnEtE0Bse3M+HDafxuuo3tBReJZOgs9+67+ihVVcjTqRMJJPVkBC/ADGCXsDAJxUhc14bf1ATAgK3qAF2C8ekMvs0aekf7fPD4LDkeAAZ6WgaPG0IGhy3y8gB+T7rCn27kl2bKBHUmn6l5/m2YRtzGsjWNKzeChtKRLmX7DDbhYxO8p7jkxO6ErW5vgnNzjKa2/oLvTtY+0139UK75cjArFVl4JHjHffqCDrWeL7G55E3MMvCTwKhylvs1Zhf9t8fkqWF8xtSkii2IcG/kWNCY3JrpPaY3hu2DMVnXio+gVKs/7QqsEtnf3gn/xfaXvOnpeDQLziZ+ec4ek74qu8zgvDBkB+/iXp1XpEWXDNXeyd5f/7cDzqyKnwzBncNaN0tSs7G9BZaQ5F/1oMgp+VBaSmFYT9tpVLy0rdltZ0xgto/wW2iMlzgSePxZLtIr4/iLYzhWQc/1T+uDIYv/5HQCqUvYSS4W9tagxBCRQZ48JE9mqpMrxyrqCdTyWqvn/ASNNkgKWhCty+jN2HRqJfXmLOBRMpS4mPuQMSjJq2HXa0PyGUrc7bm1w8AIKH41mk9wdcgoy7uKeP5ZHpUA5+3hsUw5aezX4AIeji6NXRyO3m2vSuLPK0xso5jKgdRepkM9UaqBieMxNOtzH022P0s7GB9I3YPvUKsBjkRnkAKd+9a79M8qKr42l9q6dps527fTX1yaLqtLziNjP4ZzvlpRWj0tP10V1BNDdM4nuR2y6B3DA5FILURL7Ot/aJAAlU6cEZKJCIleKnceE5z/0cliaXRKM8Y2VT37gY+CHYbubtl5gHI6pT5W33rocqCKKjrEveTSuLv6p3wvsc+uYKLFNKLj2tfZfPW5hGh4udc+oXMQEVG0v7OQLa17iwiKPtjCDRXElPLwjw3L+LLvHga5VuANRr/4B5Pp661M8SqI8dQi7i3h2iG/rV1MGZKu/MQ5J5LnXW7CEincHAE59TBvntQqD1T3dbh7IRfcCBGbrGnwTi7TXrT6nq2qngJAbuR1h34uM/FswWzBINM8T9i9NLTKzrCSUZwRNkiTWM/EztPTyPAzlq9bZ3RxGrWRluQPJVSJS0hgS9ylrDKfvc146tGheFem0YMvO4TUs6fENo8JsyqHKPdd2Hzrhn4X/Rl4R4O0EYq1j6OIeRGWPZHs1qc/ertVyKS4XFc3+sxcG57eC64a6kiDcqt2aNGWWy0lK6vIS1WvbJAuZX8SsNNxr+StslX5iDztRU0v+fh1QHzlDjmZlHp/VuxcTb3uWsa0A+X7GhFyWc6k4ML2w7PEVyybsk6Vc3Dvr48q1yIO2cRba59lMzpEL7dmfn6C1czAaOkLCpoSU+qnlfvLs2jf9J4OHispFtxyYg3zms0TouWwYs9Yr9ZFCH19vNSxYcepmFtqkPaLw6773yviY/RizaU3cfPPwiVoT6VGLd03NYkT8M2mDV9niWa9VTsUIyJdmaxnLZF6ZnwJ7QType7/rIha69nLeHH26muHcpTX4NRUalvhzfBRdcH0e2/Xt8eP9Zs04kx849OwIOpPcmynMmHDytqBPdoeiYjbZJzvclJJifS6v55AFOdg4NpsdQfbGzyVRRbwnHA0ojG2+Qxmpz8JA1yLylwsiMCXbenHXytcPLgtzh/uIGjwoA+ba2qdT3Y1Y5lL+Au2FrhdAGq1xervA36lLxO1QvgSUfUGoPZMH0GlTXjX1ns80JhtOeEOCfJ/ib92pmsFzvzMhOZyjawswxEjyP5VXKT7O+ZlrmP8zvhvfe7TugkUQ60JPtcK4L1tp7joEKSBfVJNSnyJc7oL8pWuPvejGcPkTOZmcrQY1hH8xH5uSlHf6VbhaX+ZnDz6/8qVh9TWGf8OenvxW9hqfMfB0nuBGnTRcik0PxnbzkYmSGCrtQQJshCErRN/nTp3vjRNFsmbQPFDQaUgHponxTtTr5yJ8JXt4VrP/UMztUr9O9VmyeuKQNiFiCN0RFG0FTsmm4QXLkI3oW4QbHeG2PxdOAgEQlHz6wp15+j3t0swgbQHbILRJr7iRJyquS5LugwJ59LqRvCJZzIQnhlNB2FexycCU+1mpi/F0ITyMzSJeGB4oFVw2Y7tle35Iri4Hy6zjT5cj57TRIMv/vHzFapRSU45W13fCuWIhNCbzb5s84sNUxCUww/DOCft5h0gXu+xulXBg8OL1TpXDAPZg0A9PFJ+BgAb8yacJS1VPOkAt3R9P2wT2jHXsGVWKjfIecmw77oBS2gPcAlLtYCNFG1r80XEDyOPSxy3lB+oijNRvZS72MAQRYIkdNQDYBQiH8Aoh51qMTe/4a2dayxZmLGfeqMMmJaCfTdnNHxYFG/3sROAlQVPn6lbn9XgmzMgvw4B8N6GHU2bplJXJQAig1I7qIBaNC9dGOV0ywQr4TRR7L+G9m7es3DH2EmakiM6wxLmtiIE/IwHEn+GzlgUTMJLzbXoXDTzZeWFAOBoDTSCJv8BjSWSw8xfGeIoCzoDKEN+gvglqdrqg70LeX6PgNsZA4hQWXcbafOcumLy3n33giUKZtcF9N4JRPx/sVWd3CurDaSx+pwmUQWBC2+W4PDUjW3VVLvdLoCzX+FUXI53xIbW+QO5L0FN8pEnHPoh91tCHS8qhKbmwlxj9z+JggorDmhzByRcvcBK5q6YYJgeS+4P/3lg4FdD6Iw7JBj12oqv0SDnfsuy0iHXcFXKa1m9BmyK5stfanUabvLSzOa32cMbxZvPRYinPEZ5aYk/1SujZzAzvEwJ/AY8mPgPBq1qkk7lrxWhSYOQgewdJMN5TRnYth/fQ+Y17Wc5ARqAXevdOzFPVsNgIRMhZR5hP7UrPztWkTpyjIyPWk1U/5HXKo1SXhe4zylH5MhCPp+O9bN192vUXupciz55pu3JWYiNOMTlQzWKGtJhTliNt9gDZNH5D67GwQevgukzTgJnPn5NldE1nKacO1WsGyofRWtpMa4frLFCN8S5sJKT6JNzQ07oEu7v7BRMjHiHUS2sgp7hfOgS07xAExS+oi/cUP1OjSiynMPqlzR1gnqSW2Z9MUBW07lRGr61ocyiA4cDZiQtw88l67N4mPzUWQvbM/Enz9+rds1QEMooaOzGhmZymXr9FcRGxVzJKpsDUKTpCvznqcp7sL5OD0YN/AJGBkc/ei/Jj+6K9JsuCZVYK0sx/MJoZe4AcYAJtMwQseP6bOLghsN8awcasnePiYxWdwHIFqKFl+QC1Id52d4iSCZ+y+fGKNh7xf6Zu0RhrYtuf0X6IWxHpSPw30afYJ23xci3jGPwX3e7UCq1ON6ep8lVvsjdozyDLJXNdoXmVURb+0b+gfsjOY5YzF3Yg/UNNKd9IrSh5fkdGqK+YUMnALciEv45zJDAIrZPj6syzHtY1xUw2fuN2Ha0CUEt/acZV/H+819Vavp2ba5K8pvGzdZlI1LLHpImIdn2mAJ3D+AByNonlfWQ+pZotKn+KnJrKZXfswmtHn1tTDKfg4kgwnulDBYIMHoQ0iV/wVr4HVeQCZiUgFfB5/FyCyT9Efo6LECq8u4X+8VlZ5hS+Luf/kg+ImsI8MwEDFKTZLBf2ZWozpX8/ErgpMl/c3WeX80DFnj/K5JwsspXB5KUvebmcrnwpi6lYJ3C4phMrO3OHyi6jQyAXXD0xJ3/jHAW/UBT/NP+1BVwEGucgFWZRaDWhNLMdzbnYgmFxVogORdC2Bk0INKg0Mph6MJREeiwFvzv8vJ5o4vW4jHi8yuCrVMjIw7SNM3cUx8PcdlF+atmTFQNNs4n+WKuSf7UIrdPPKrAb5SYzHr0hIJz1v5GfRWndvqdU5eIA7pSXBc9wlVVljTLrUB9T9kT2Sa2C4WFJ3+gO9sx4Z+STJKlar7oa1HTk14+Mscgs4WgTy6/3Pqlt9oN3oH5e8BZ1rMHextm/RCFj1f/rIoJ1E/Oa8tM+HfFBp73D7kyQ26IEfPk7oA2MYuaBTmxrMKa3igSw3AJ0mWB5bWmKWSi9IwxRkrWZ3t2dJI3f2cGz8TKk3PgHJJwmVt5RLGROFE7UF6XdLcuq6DQo1HZ/90nj1kdofWn8uprWskvN5zDGOdAbqjtxynHHw1mA0AB0o/Du080TazvFy7qFqUWV2Gw9wwaRpoWEeOmod+xIwGi0O8gQJW0XoX70i0/9EE/2/mIFeAqe8DG2Rp54bzBGS86yR/yZJg6z5Ghbihs64Wtt7dv4olKnsgzTY8GGDV5pFAAIDsOkSbH+/AWWZ0H0aoTM5Y1utZJ71gZPUIhcj9ujV/tbh98GdD0yfpFX+++fkqtkB/sRTQX9zIhSOTmxlM9NE/y0hM0Z5hhbMsD3MnOAywODZuWHnqLznSEo510WU1bf4RpanASmBPxQkagMhv6obwK3qIoA9ek17p+ZGPab/habkaLQriiGWQnuGTDaLrLJnbN6dcgJk988yUhEue5brGxBVJ8n/MlLIOyb4wGmj5Ek5SpyckPZosE8k12VAGP8sKqS82jC54C2oCD6qwtKu0qjFbK69DISM682U06kDg4rHf61yAXS3JFDWTx+o6xGcbU8GTmR4b3hKYbkX7JLaSREdELvbt3+AQmmkd2NLrmZKtLZH+UH64RwrkztS5EvVfWho7A5mApAw5RMWLpAsr2O0n2v8OcRqf2jfg2OEOJyi3iu/D9UxpY2ybLfVE3b/Kkr0Kqgz3ls5zci2zB0Bv0+iX/cDJlHavrLMwmGHmAgTTd0Ey/ejdcVSyKcg0dU5w6g4UpZH2lOG3ZS9zm3VRVkScXxsrMxOnoRBM6s1Im9K/9dRl66reOG0Vb8cznAh1QZA6w6cgxOQ9sGgqpLzcls+Oe3kwCeTRAl8aMfVS8y5qTxv10Uin00Cc/ELEZc/cf2WgagUEMyyZt+uSsc3c4eY0Z15PifsLuYzF19gxSFjVfiUrqGKcGMS2F6olHHsT2SEutraanRyZgne5Lk9xoLBZ2zS5E2l+MdWv9/KF+0Xz0MfdQNvmC9tViM/vNJR9wu079jNGCz0be5m+QzxCTfrlF9sptb8k1eGagm7V5a/nskleg2Xxngp43o28AFEOm1ZCzgamNgu7beWmvGog0O8kYbavPzM5BwyNW3/ueZGmn34n29IgG+3Nx4zKDviUp81dhoc9SKY+q0jF1yRL8OwCZfVSnHw1sGas4M4z2g47AMQdXPLTfgKIvnQdrJuyO+7Q6CZS12T4sY4kxTNCIyyuYIZcsxNfLN8MrFXP6VfAWbOLPA/YEec/w9MwEgI/fqZG8UyJTeWIj4JQGhxmFOpalAznmhN+P6gR25ATmAGWKoroaZHEOplhvINw91Joa6bya8LtEok+HswORklSzHGJWDzaOFbsW2FZE4t+kYZ3UDmJi+BxUjPxL/IJf/KI9XX1PfLBeVA03+FLoLFXg5NB/gzwj8wRgzAMu+mUYd2g0uR+VGdeEO/Bh0ePTdrSpVpAuDA/5Mbqdvv9Ad4yz4rw3Lg1ZyF1IIoeybrJNyaKylystbpUB0xUXVwZEF1qhUm1ZxF8H/1+Y4XsvMGQC5waWpXkANXNGH7T/3zw11wAfl9/9iApgTKwR95sRlh8RNw0Xct6ofo6yFohj2Z2j/UqgpOMVsenR4daBLrhWwxMvVR+FHyasBme+3dSk2e4NNtD4F8Lh42ZOn4K4J1j7gHnEFQh5ljLOqc5Qo0D34wj49zKKwQbPhSc4nj34XF7IiABqAo2tjyOpxG5S+VRk8ZfJ1JWH/TbH+ZrLvXW04MOwMNI+/dUk8EtoK2DLm1l6kuNGG1pm6JWyjnRnhs3iAfUKfJusuXbQE1/VG3WqiPcfd6A76vVzxpy24EQjcv1PTx7uYr67NDz3Pbvh4+lrU6HMVktTxqSWDzcZZC+Q7oz72cr8xFO5QqkKiqYHPVllvQJXVYEqBVryfTppkYJe1bpwCxqQzapPVFXJjsRszW2PlMXpYidsauS/oVHr0fkCR5QbSgl3kDlOaGLM1dqwTegjoyd3r+jTK9hCZjU1rooreFtRSckYv7C8KGEGXrW2f5ZJkyFCfi2LLbSxEDSISiClmcdA3zJL/MhGOUKvCRm+7qyhwt9ow2IZdcwKVTXjcYvTDK5HEkOT/C+n1K9t+kXyTAlEMrp+L0abVqOdSHvGPfbCcMmAGZkShtSiXHkL/bJwo4C1YuSIXxtsMd102yQhzAYSrw8smbzQs8PneHaaf3xQfiwk1dxiVyKAj9lX6pbPSdfKiDOiUo5fijAN+0XqZyPNZ21R1CayR6lvabXrgDFsVW1sHvR9SWtB0zqXRDS5GB9zb1l7cTcV59A1pac9/gv/flDlFJpIjW96vLOtsI/dmvi/TN1aAiWXmC/hqxSgHL3NArHR3/NqftaBOh6Wg1oQ6gHbaMp718RQfPgWEuU3IWxOp7VYj5OuN1QIBtLuj/Sruwbs9Yh1UaUhEcvrIqpdkg5YZouDUbczFvvdqcSTPijF5/CXfoeF3T2f1V74IHjn7+JAlcBVtmr/bsxRNqhXNdW+D+ybR5Z3QwdKNTN/BV1zNrwDbKDPhLOqA+GQ1jiCB16QznJbIJuSd/n/jqNgNd1+2NIL1kfIFrbEoflzroTSRrg059lrpqsyqwmoZP/8q66bAQ+XA+FaI9p/tI1sufG2+HANa2nqhVVbwVU5dZ9CIHcWEzICRT0/vzmPsS+aT3nNN/uB7vdxR5SmJpAgi+Cn/9DDsyrDEFrYi0PvIhVsUa+Cl4cwFHwLs6Wb9GeoE7d0tElDj5OxYbuOrWyMABWkZcBjX45myoBgk9cZJ2UKDyTKhq+lrqBvCXf5z8wbbL8Xeylt5+dUgrDzcgXo6+BgFtL4M4Uzm/jtwCi9S8Po5dR5HcUK1+SPvpseyaTCnRlXrZlsaNLCjAMdZT1v0tYDBplPDGcnq4xIxsiwI8uJPTEPD91YDfq263cHqQsvIFY+jQVz3l9Uxi4Fwnfi3TbRrVudRj4GsK/Y7nt4sj0Xf7CjycQ9i03IYBELPhYQf098J5zHZDf9BzsYebdhY+ikdxb6WrjH1GywgGH4X2D+kw3z/+1rOnpkKYI5AN36BmheiGwZle7YuQZ/WEIiplUkYtRhG5lfvhdCrkEuFCx3gMfX33ttsptEDnC5TENLAM46Y7H6LGaCGwmFdyOkR5TdZVmgevlZgpb3kxBditvGrsVQnL4Ts1bEgFhbGG1MPuy7hWKxmZvJC1MGa+E+leXf9T7O5Lung5FcI2yMG41DOdVdrVDZIkvuqoEkjOWfRkAywbH23uaY/OPu5ZK33UCTIf6qGNHV9jLVW4Obp4R1QAcZfLkGFuX/Pw1rlzxIRre2JVm9bO/VJ+79tlmuQkJG46RHJJ7Du8YzgzH9BLFvBdMBfk/SKvB4xfkeS1ji5LpdkV8lVUvzFovWxhfQ1cs48Dj10OmX0EcT4JMJmWey+eBVunJJluO9jehPyL2vcJlk7U3dixGteBLJmklX3BcT7SblO+KQuWmaUIz3W3Lkzoz9edFHGAd/MnwaQjwljMVAMG92sLhaZUvoYmCer6rMDC/MBkYGRiEtZvkdvk9kXTcKp4nXFTDgWnc36bu8EslsfPcfMwmFWzrgCIEZ52OQCbzUIaveEYzeFPHRzsjsSguvlfwW6bmSVLFGYizTYC0PYnm2xmIXVuJCfDCols3RjZQTKzJC08tkXe7wgU6iZiiB7aLQmTWe7b4aUok3A5BE11XEdxBkQXhhqCHlLSDPsGhLNMWB+ysNO13evxN2/oieeyrkD92L8kTPPdTlhCKNw9zpdTLNcyJ3xRJGpYj/tnR3n3Cdab2yTUlZBfzKNQ5TEht1oTuLwDEDno/Ben63NHXSxVDjz1+cMBpOw0VbHJysasRgBnZuFK1175RIpihXUB4UVK7Vu869IbeOHWqr29g/uRLkP6XUy2yPtV9hak4GUFtH42IhiM3WV52P5ekvt8CnGPSluLnsMwTNf21uubapQJEA/ryosiciUJ7IO4unW2jeeBJ7E4uC6rghREWAffm2MWzItGtum+kPCOXDkyxF51FPRRtHZNnTX4PUploZRcQItP/k+vrlzR0tWEiWSXxroRtIYSXTjSeLV4wLp6GbpT0cppYvaoA/Y/ExcFFNvqEImDyF/ncpVgyCDMl2+uCf3j1/RyIZQguJZM3TUGV+k6q28xNTgONXLqrZKZVksDscnQJNwAsOvOdSMQRTaRnsbxqglvVgcd+x6UXh65I+oXq3UT41Vi1b1Bb+jnMcMGUCno/FFSKyEgzvxcfJ+H+NixzW7ty9niPKZqEOat0QAF9NJH7HupVoRFjEDgp3HncyRDTp+rT5E9nmmJCWH7XE0sajU6/KOmrCAciD//Zomvb9BhkM1GHfBqnh4Qy//O0szjGG9RM8Paue7vtNHo5Qc5SOdyXJ/Qwod1TjktQMKN/XfvqLQfkxV17Vy7r1xlmgzGx4MInDaP8LOjpxMgHNE8JpiytkPywcaSVylhCmfKSccNXU9+41nkuecdF/89sSM9Oukgcsu9EQG72fAqB0MOXUxRROi8bA7/6ag4Virtkyj4GocpJ2DoOidrZUzZjXCQshcObx9W7czXXtGMzTJVvWOM+5LZwnLfcv0Lk5x67+IdL9yexKw3VkoPSsQAZcFg5D9WrTfTCKIejMzn03FTIxyx9dPxQ0UddUrXWXLDpdzG3Z9iJaIphjYt8hygHleaoasESXzPeUxZQw1X5xvqvN9AH9HTRVXI3nCf3ZufNjSrJWj015YxhKrcpI1y2wl3WdBRc2NWSqgnfTfYti+OPkOe+krjN+TZCWb+AMGycqHeAtBmrHzYf53SrZp0XaH5uFrjD27RoC+fdHQcMsADYQJgPan9AJ8ZJmJqWwWG7O7fh/uJdQm3HeuJM6pdapls+uHH7+smL9IQ807t2k8aufFarQfu2dwmPkoQYdL02EV7v4d1anpVl4mAOcMFMWCUk6Mw03ztOcDmOANLNrvN4tkK+EqcWtvyn1A0asNCjiTnfSsFber7KEg7t65/VCB3AxQciIkJg5rgAKdmyYLwtssbWFABNCxHnQ6+5QD4cl5fJt8on5/2Zta76QrhHL1cooRtKBM9iWkerovBiXBHSOrdLnzsEbMaVhP0xNnYTNffdIek3Y4hjdEwszY2T48+oDEFyem9+IMm4p9oyFxyOMCVATIw6zX8jCV8g4vGl6v+wxteJFS0P0sa6EQFaYkRGqzBe9nVNxKF0SwisihPtfBsl8Y1529Mj+b3Bfp0p0zc3Lfr4vli5VFrryVH+/fsGTd3g8b3P92JTf8VezF08l/UhFu/eiEhGhdnLORJg0qAkgDK9m7fsWVpDdhDO1+hQvHFogCOoulJp/HDQysEGvflkvrO1Gl9XlSBRhhUQ0iYzzkXvrV7mhsRl2Yl6vCVKMWAe9LPB868xxYrvDJALZHaXjpR6oygAqJIgNGs15I+oI/jWYnORoZgHnWKgRGblIgvE2sTQdgAKly91XHfUkZRDLT5JX/G6QbAdS6hzPrGyiljV+hJB/nCr3RDzDH0JJZx30igi9eDRPIA4c1b64aFVTeXbhb5Y8C4kosBDMNVOCBhlGID3YffiRf0bTc8gd1oJCLQEqENsnV91KibLIal2lmW3XC6hq23ByEndGGHqVv5vXi9WWYnthLrh6o/Dnt4tMkCVtmBHK3B6zMJ/Qxpiddk0PWLvCtxPGC8HdeDSl6h7mPQLBtwX2T+Hmo9SKPzmhFq40qqAClfCv/YS9Q92pQkJUjioYLdT1qJrRI3SPOSqn6X4PYuLzu81kB+VV27PSjbK0vtavZJLPO0ZkyVooJe407qYb/zJBpyYWvwDpg+J4n3uRVbkP6ErOaelMZRQetLY26KG97wV9NXKzPomva0MUdzU+oKpsGfxes6cx6U5BvylXUHlI/YDsgRsFRMcA0WOSjqDVtLU4e/H7y1XmPT0owOmmCIGPcF4uWMJ8qFDozjCQXOmhd32Xxi/uNlK76OOgq1+rIvqTScbERgWOmo9YbROj5/yOUSZUf4HMw9f+Pcn5k24oKwubT8xvirMxd2IhBNyNTnJauEbT1UX4yvyID7Mq0Df5tcwMmAzGvJed17Ya/jDIZ1u2dP5zj8+ZCqRSfj5kOhkpUTR+BQNms20Zi1cBWqRcb+JyLzYpFZZRw6xOY7qgy7yJNI4hho71iYwS0n85ighMZuSL7QgiYxEtMHsfx5etZrksAqodCfzev5hhVxFdoc+KL/mYo92bcfsaWKzWvs0z81DL115wvT6bEXWfyXZPUNok1GrDJZkJrK/JzaaHC6PuW4OT0yUD9Hyjp5KhgPJQTeF/MXy/vl0uK2BghfIUFzod5eBUTXwjwphoxvLQk++9uZLPwwWVT48mD9t8cP9ox0OML+aLw4GeWLhE8u8CD1GGacgwIZPWjY6nBswFvZfIOLZuOsWSsgKMdvIGmm3X1TR5qeOXjBWXWYhi5OS7NTHAwmG/Q2CHyBd3pWwGGMWcEimdsPa/kNFPCm41JN2wCXOtaY5BbpMuK93vVWRV+XfYEzBW5RZFsSE2BvMzP6p55JPb9u+bfq6AT8KO8moEd1VylSuuvypzEjKheQcdyZ51hmVnAOoWotTW0+IsZEujZkucm/q8wj+OYHI9UCrsllz76l6gzpMJvty8TDi3goaoWe2g9RkXo5bbqjWxg+lK5f+I+hYsAkK3/dgH1XmytgQHXJgFhdm00XUVdq8ILVXbnTbwlDDpyqwyqR/K/bEB3FMmB0EEQr80tp8A7JTvVATmVEb+YUmq0e7PT2fyPlT/kyf1+XWF6855BDCvvY0OET0X9aL0bOiy1k927iiPLbJKdL65Pg0G+rRQPDL64HoD7aB6rDc8l6ronOoYCX0/25B5rhMLn0neNvoNsY33MOUjVlSBp09IbaB+u0s86vun6xXZeAouEsU7xDFXY265M0ZJNVWB+PDqw55SCBRUvd8jWw9wVcJ432ftMDrUIJ8LLXsywQ8+h9bjoIXasmnOfQUAxRj65ZUkk4v209/jYxaWmid8cbgYPUmdPY7J8DWt3vV7k031flV7mIkEvt96ivzzVbk4lyVqmZR2mp/9zFWIIOPgt35g7gFNK9JalDyh86pWWdlEPpjBQOCBJLpl7sv77mRI/mJWvEWvkrinVFq+Sg1EV4gZyoaOqIF3UtQ1tU/3LvkmuLu90izjiQqOu1K1qqZ0NYN1Ns8fCZMMwlRhuDFgMMviHBzj38q12wUB/MT3JPCfzlodjPmSAdcEjql5vM7uoULzKg1Gvcov9oX0RFGgGfiuFhNS9DD/wQyuEP+W9nyfwQQaouzzCpvBCGk4vu7ld+JvUEVmbEAdFnOdZwL/D5Fy8AH/76pDOh5/Sc5jazgVB2t+TOjXXjiJl3dGjXMwwsg8wlzX6oBK41E+P0ycfQZzKPsOHPguBWrr1zprUxuFyt/ET4q3bXjJCe5K3RDcYyEiPpDJa6QtgmBF0+wi3VeN44riFZSqCKtPc57GdHxkKtYltYLrJ6IX23yunpcCq8aH7ex6KQgYraYeq1CKonFU94qX+RR4F8ZHDDIpgmAf88FNlWOTHRRzVmZhuhaeCr4xLXLtUQniSd817HN08UwgkePrqbhW63jeLmvJmYIM3GkbE6Yv7RRjEapU5QceVuidyNvhjIoUTtSl+LtZCafQNmz9HLJGNctE+bBuMu/gmUs0n/FyaO7S2y24TaUf1XFecD1WZVA/JWZK41PKnHMA5MUZjkdIp/LUATrPSGAb8t9fEizKnPrhBpoFobl11WGOwrhNQnO0KMvcBPm8FMI7THUW+TaXzWX1HZ+d+3mwVBQgsIrkhTK7JthfJFSKwbrqVbkRA6jguvBx4Eup2qGX8qbjelhOu3divcmWHtGrv62yzAwfHQYqr5unyKdIZYEDVXNQWyOlwb/t2NEXKoutfL2voOMDvmn34vGLRaormEWfoArcWQaKxSM5nRmQFackFqViZmZ82SZO/IbGTF+M/3l0Z3K1YaUe+yI4BTbBP/OQUpDtxjEatTG1fXS6seBW2d1YXCZ+sL+BGvowwUwvvT3H8Q/K+gfoz1LQgq3FpezwzBpvi0Uhh8Lh9beaM1fa2RhCyX0aenDC8lebz/0NFEz7ZHVlV0RRLXgHKfIjMbSUQIqYlz49MSmNUvFWgXVJGXWIpfubfn5SKYaeSU/b4iXlHtWi2tgUHZ+S8+VQxj/0i2MA6fljZu9+xa7+FYx6xaXRKyMhSS0VVBeU92UlEs/SUb9nG/LGlfq0z+W3biXDT4gGbTg7Gon6TbsNVFbxWQD+QFbSsTIhTYlzONFXGZNWs4s8CTIhE8dp08o+iM4PLJDRVI4CHpWK7pLcNmRGkIAamkUqLIgOUmcHo8Faxk2XI5Bz5+WHN5AuU8aTnjEug7JR5LCYItuu5D7enSqKYl9JCVfBUyArF2+tlVB5u91dHJPl8khxxqDLh18NUFlBPIuqakOHo5G2Oxk+mkuM0yHw1Nd0UVHIZnijgiF3eHHXDx5bBolTBGa50NhzDTXBfdJsplaRSfndAAMAcDwrVL98RMVRnbOhg4KK8DsSHsDwS/nX/BM3apkEVwaPGEpkuk8K8WW4MfiZmuAuYFFwUavvl85qvgYzoiADz/u6zwshz5EPhXVhrNKGw71GXAYsCsVGcgfLxTnFSffXrYCWlrxrV2mwZXqVGzRHEgoJ+52ckTgCqDrkBgyl4GRowdW9mzvbhsc5AJHVGSqESIRK4yk8TMI73OEuie2osOXBgIfqmzrFbRsRchJQhD5T2Fr04X0/KjkPUM5biOYgejVb54U5gMVlFTRuNCByYt2cXVl04I6F/x1UErEOPEeUlUSY096rtCtJ1oCg3W+piuVmMvZb6CV4ZzwCx11GBLPCAJ2CPDTxub/BRcy1Q3lkV6DctZkf2IHg6KcsgdzrvQUQtcHsE8yrXd9NLetl1m/lKZbFJ/7FwCGX4mJI4jtQB5rMLpqyartpUWxoYhpwltkhophEr/+O223snAAq+O87RlJpjOJTPfDh5zYicwuhR2H1024QPf4oykxl0/PACtaE0DDIWqxup++SbU9zsRUoSlvB+uCyDGnJ4I/bmgt7G0tIH3NlPWPRZFH6s7NqI4Feh7qOArKuHI5EGoAYfZYARA8W09kA2Jk7CbYbnjvkXXtfb5+j6mcj7m8FlsznzV+LQOt4kAxHgMLx2s2C1jYnH2omknaebuoHfwrzFFKD6B3mxcMQkjHHVUWD0zXjs63UjCSfgPCOxa9RelCOnxXyxhMnwQDk2JojAAXH2RDqDpBxBSdECcyTM58X4dvjcjAUWYDMJpEEKWEN2lDWhE3koPkZA4jiJfJyeEdEDowjsmWxDltld6ae+AUEAwaF2sonKQxU5YElV6SrrW8IEgYkXJ7FvVo7RF5NgjGRASsuKhfl+CGO5pIbrYKTNa1bh16rwh+/wex+zaz6vWP3tPTlndLWVa+yLUftLdSzl+1lMIo4A3KBbmOzv0X/k2SO4IRrhICAY1tz+tsU5LMQOI2GpIKKFtae+SBWUZPiHfnxEsqjT4XCgUA7anQ+rjQiHO+u0wFRWhMPesT9fUz4VkEyttmNl9xiIAqK+EMXU5XdD/GxMyti4riYCBXWKQHKOcYPp2xNV5f0/Sh4UEc0RtvSVlFUtOSLXC7LDDmktvLPr+v0bti2gAuKjIJaho71tWYTJREBreMvt1XuKVyz06NXHLoSnVGMOHVoDj2HxTSAFotiy4BKRvfqf1+8N7xnNZvm2zQcLaO7mugW4SGODdNyuc3x09qv5CTLWSRnYM5zqmL8NtEU/RGOvdj45gJD3tdxBlhS52rohhHKwjHaQUmScvEjgTYkjnnG9hr4SPhiKdH/TRUACIyxE93Myf4XtTDCM61ls1QBzZj99jIw7oQA2rzRO4Yi19lkKyGDE+M5YLU1SooM4EdBvF8Hzjjv2DgxHJ2A8d639lZjKPj4nnT+sxPTxVOzt0c9rvybOsNbgXaUSQOLIZoDmfuBN/I3a4Zy/UzS5xQQMqPWzhw4jSe4rilhDOn79Tk/EFvhZ0O+aFKO8O7cyt7uMy831oFbJ8BJklD6S+EW44vNb6KJ50jpxVpTIDiIQQjxi8xt7FxWz06ofdjG1FsHiALuEEMRb7/kR6eleW5eD+3tFNSr7n+/8wfvoyP9zpsbdBLqwZcoLavgBVesDT7O2boacafcfvhN98+upNqaM9MpirUxHg27A2OVzfo5O+2jrPETD+EA5YwLaKoKFhAO80Ewea39gPuzOWIX/U8BhoY1fuZVFmrzq27C9WR1hVye77tMpSz5DapOMxionqXbOEElbFlSxRqiP6kyyIa0xoXTo2XbCwvZOc74nK8JaHFREFJRv/2TYbNKBXC0iwMbbY35HPFOo4X/zK7s1qk/5fsaJvdY8UnuwqJbxb2aRVtJupjwvyL8dQJuX3a+3//OdCkkTRKp4F/ugNYqsx08lLZJMbP710PRsMVc8oXR7SF08dUxNMDPdXiqT2SzlRoKH1punAmL9uqjM8KlDSo9oorOCB7HK9ZdwLoc0e+DLJxDVxl/4/SENr+rp2nwZ9lX/nInDxltg0a4cBgxHX9HX2jgls44euXfg26IvfJbVRiwgYJJdZtGDJPqzMec420MwbHjHeXvG5r7n1kDYfyaLqDX0/61z+qzrYXWdW/eDQfv8nYpiimYr08XrSkALwmKwRqEmI0ONvLUqUl1jAGonD9pnD8Hb8qc0DoynXWh3W2xwbLVEnQePDzhqMY4x/Y0P+iG1ckZeWBVSbZI7je0eeYXK7+rGtnOt37gSscmQQmrDXFORpnkg+gUlBCzvcQKmoml1wsSzQFwNi5aa1ajbRQM5rRUBmstGpWcoDeF+AC1glG43vYtquq8sqp5i+kLNgfb4Uj4TGztd4jXWw7C63t+4sutuarVxwyBSQb2xsDwuDlcX/9A3EUISiKFlFaJms8qPG80F7oMKdva9wRaFLg+8Q+tEV0qxbigVeY0WX/avErwF7S6m62LcvlEOihOM/i9eEcKnrXlS9VkAUVlYJ6gzz6w06pHJboIkiL3g0tiAxY9JKwGjNGg3oMvWo3svDSOMoAKabIr7PGhdd+KCdaTt0rUMudocnIDwwjvOsnZQ5eBPyH73ZrdLkaq34Wnz+IqiEHLnHf3i1s9KHaj5UjBf5gorMdSHUCsrpF0n6Sj3fz07Dpi5aRF50Fd4/f5rTFP1R+CD367B0qD6aW6pWXZq2I+nxb86d4s88ciWR6Oet2EcTW9NUTPib4U57tMHrpF0/hX7oPLwHfd1Zz0u7AzxqIFpnVdw6+AmYEQYNn3FIXUaE/E8orWmaGHL3seREtca6OPkV8gBXNmA1sZvRekzSoV/65v1eUN2MmBU98ZArYfI1v0xJdm3GCz15n42FogpllTFKfmZphDs4XVnkO9XMyGv5PAHfhLuaJJhYP3BIKBthUjdf1cWTQZIyIG6UZYxmM91pwgCLBoeEUIAeLT62msLLqroVB43ajjbVksWh5wFHqx5nxcNU6VYdRd+cCE+uIkscidCQoVfqTFgTMun2sUC+sdZyouLtrmN9subhpO0dk1CN6xup8L9wvg1/D1KAbRcNRlPzUk4T4ZIuZuYrZp/VbfZg3OtENJxLhlhQz54MkFMY2Wagd8geCpU2dzLpdgKgTuJVlFemKuv72l95NnV5nX9Qu4hudlwyB8sXQ1DNV4VucB9tNBKEOJhW3J6/M45AtJZUSxygQoWbURsbS5xEU84Dy86IoWAGVsZcjmlfzT9i5yFuJeQVMuVjHxCi0LDcETYnk9DYbyNc+iUi01pHG0sXsDQChvjdv2AjRekS9ZT4MSoZne+tSbYKU02FKbuLqisPotSJGygDpF6V8B3YSvWUa4JyVxrek3s68DIhC/AGQpmoUcEIP3MAwioB98zLO7iY6WuKWJuXrXBHkO+20NvDZuMmCCL+tDbxbbGPSPIuQ6mwuIlfsJNVynkFiJfw4wuV4Jq3Syoml/Z0342+tmxnnWdpDj/qiPcDHalC2ADSmOVD7XGsqzwH0GR1XbBp2UGx4XrSQ1RoRfpIPjglEcr2sFlSbXwfVuSiYnDcfH5N69Z2on3dR9nSpQYHlMgRTZhMlD2ckJZkDa0LoKtnmF8FNoE9Qqk4hqWe3CCcfoaNVRr3JvDGUlyn2rUB6wwy1HdCL1K9Fwl4aNtaTbIaCNSL2abKUYwqDir8CJMHg+IRjDMdIy3KsipLkN/Azv1kGniBy+7QVNk8V9RSC0HSaGB/z0ISMzRWE1kEoRzoJ5iOfEGJqLIjJdeiEYwHdpUK/H8AfxKkWuXXlQ6CpxRDbe+0CxvdRiY94M/ZM70Gpi5Lyy84dW6Vl0Udwpy60hlmhNfGuoU175QC3WEHnvJbSK/VrTvxbwpJKmhlQjgpsJeCtSzTbCQBAD6Y0MmBMpR6t87GNkc4hVyxpZ/Qho0e+9/VILOsZbu0k1t0zbEgLoUIBLXpX8bF0Okhc2I4JN2kBL8QAY/aDZRmyQjZ4fUl8kD1p6AfPlfcDBvQ0mjWcEXU1IOdHVhne6jMExO2MtmdTyff8Df/fYkYaF1ShoNcAhC3e/F/DHrD3lazyoXX95Z2PiwHmyhVbMnzUo95et/KxI5h7zg/LMGtmD7OIU4f2qleTXMJP237PNA0cQApchZaTAdNuME70TTRia3f6ljPgpZqOADWNzta1J9cY5L0xPSTvYr0/0SPaDJUWuAmJu1rhaPFpHkKA/rD0wV+YxzNrUPT129rj+bLxrZzHyFZHrj9KDxHqZ5Bh3b0EW/rw0uARB8wJ6flHvSjF5qqyRU0KjtJFL6RJHX858oktcdlJLUZtSxJjuf2g96HcorU0xueU0eOMeS63zv5lMXr5zyAOwrsJn8aL+tT4419lVO7dn7pgsfpXELBW5bq7RBHjHyZfel5LYqNfwv3QviPPgOimgZ0bwMeH/60TZwsmtwm4txGCQG8xF6c34eCA/ZPdH5O8nj/i/N8NNAd0e51J5pmHdix6u2c9rJn8ADBgq5Xw4dP9yUC5123PdKfAXdVxyzJzk6n6kHVZlNeH2ux4elK9QGDqvdHcU8UVBVVpKWLklVNFcjQYlzs5mDsr1IeMnvD/Is62dnfIVn48Etv7Flc46pNZwY+/u53+1wn8gQuK/eoODxYLfsxMtBrynOgwbPFGOwAQM/4BmU+1+BcR9rDcYNpHtBfpOolxzc8cmxSpX39h/69Xyf+V28uGsyqm3Kwue/SpTVhwJVI9cKUrzloKF9u5PjxBQU8781zaDjC10HmnTsQKXZfr/wBXm/3mo7nC126InUz5nij6uFj0RZigP34vMguV5q3jfXSlSAfoOsEboVJSNAnFkIZ4qrLTKkpFMB0WGh517jhQMMLNAYwRYF2hfB3TU0Zs7Y/qMM2Za27QMM8eVlo7mT1oMZiybtc02GUGkL4y+ppD7WOv5BbJbc6sx37ciAo8kku/EAfUownTEBox06vZ9jGMIn697R/dBHJtHGGmtQJD/4AJ7GCiwSUhhaOarO8u7y10xJ7q/wYLAbRYXiO+kOpwWoVNpd46oYUgLpuDvnpHv9slUyc6WBwYW/1TWR1EzHuehIMeK/mD2NXcFp5bEYACqqjgLvTiC26PABmy8tpZ7AZoz762wMJGmmUFPCywJ3K84TRFEhThCEuDci1asiS6+QwkYk6foxMEQ16/8FBGZvFFIkgIzhTrQ7Jl3kOTfYGflOlO5BmDsS/Wk+Ut+NbxHVSJDxXyxZIflXaPOFkkmkTB/69nAZ85egp2dexJXoOy0oNkeloNUgD9sqbqWkVOtZ7VAXvokUvyGMU3PJVMbWsDNDcsjAZ3gGZSAOGq7k2K0PM8euC9+InHU7yiHhv3/xRSH8tnUJl8rTw8ZWB71jzY2BJME/xBAzpg4B6+vtR+jOvIpjK1/YOdjaGmdu7u6aQGxr2P3Bb0EHAW900pkDxWjGuC929jjRXdxY/uvcTU6zcDaIeM3yCkw9Pf3XA/awaVXXek537xynT8VtiPDIAjfIM/BLrvQaaKXvoUGq1yMSqUHU0zvDRjZ0u0aLJlUHH9InHA5thH3Vyxhc/vZl3+MwrbpUMUKflpKiyd5YwEL6+SjTjqY4NNO+TNOd3Q9sJGNaPKwkUo/nxkWKprKujPh3SQ8xX1ggo/NVkg44KrnDou50zw3ZqlELpUY9uSEhig2jRZ83IKrP3+0f7dqZTK2swzLSKGgVKqL1lYvBiYKKAlWMRLE9SM7nDAXiX/FzRwk+AScNxfjnna2gT2h+pbk9i4Bn4SCRtqwoZxPq/UKfhcSWky658dvF/KecnxZpMqd2x2IO3wvsnqgQAEhpJDlmEH1FnWANFSJcwQyiyg6so+BBBkttF/Yz2LPLMbska8srQZjsScwJ/ozw2TsOyMYQ0hs0CkFdbrTms2QZCCFZKtnsDd3KqpqizJkTuPbIB2qKZsQk2gdAYnDt7p28lgvGUiCDxbI3QEPEd9o2ZcCc4NreaakF52Ni01ravZmmIez2UI2CUkbr41Qn+1D8HCfe7nzqUfsv8/D0KuMvb3I8X5LtmStXYRsJWoPCI1k5mwgnj2mjNbKIfqpsUcy1Ox4z4JigBYZjaaJsoXagNWWWCxG4tPjm68Q+iV3XPhAxl8Wdj3OeKKKnlg36HDAt4AU+47g5OgXt32vVfPCqPv5xE4jKjKPut+lruAZjbY8r+lQM2YVf9rRy8EV22WJUo7kYV5O+ONt4hatArdGdg+2V1K2Duy13Crqb0ncMiil1S6qS4zbv08AzgXGvJdeZcdSCQJTIpWX0I6+rSjQICbn5xgcaxfp7Aal3oBojpKvmMZRie1uvOPmN8/pIxlqGEacz7pHMdh0Utz4ijJeawZ+cw86sEOVn9bMTK/hlzLaIQU7EmSXOTgS1DVvY0u58QPWJuSkNRJIjTEJKxoJboz1n0Z/zd+EkGUXk0hQ9Xm22o0s4zAVPOh+4cPJ5I6/zDAOEi7KapNZxRgt6CTpq5HFdBGz8EO4X83ux741KnnT17x6JKDd96oUftrNtqWfc3R/4Yb9EsC/di8kmOlrB5XaavqqJEtIqN8qrvXl8IT4LYEIFRPVLE69/xHb5Ytc5ok3in50Ms80PbuFwHYmFY/aTak2+X6tn98GF8duUQgewit3FnC/K8eBClHQkTGXhfzJSsfgluFmTho/o+HAXJyNSbNv/iduV9n+d+CY8hlIr5TZsVqDwSYPnMVb75z+kRJDujskt3Um4L8dAItDTTypyhxSegpZdNJYCGf3VYTRmDgv7uXTOtcSoThZyvhEohBEPqAZLDzFLeDd5/nvDkMPIDvaop8eNhXzKGHUG3YvEYJdyu8GO7cj/DDOw4bJSFmTx3Ws8RJlGupHcehuZ1uT/r3yoVxPtnUqD06/6MGo0VQAD4nAYV882Ohboeq+aCC6tuFYLH4p7DrlfyZJ2Q3yjDWyt3CISX60OACgvljFmmOMprwKeHSlbuyM4sJ9rBCDo4iC3vQim6maZHVM9j69aFX82WPRa2SLpOSMr0x11PgGQXvuifmukhB2X6SGPfRDdFTbpET6uWSdI/g6uzOgzHR082ApO46SR0eBaa+FzAbyQi9CXDj9qP+fKwoZpJuEEYKkSk76Vg370vD1bcUZN1/czJCnZGHPsSzFAchEHoccRnUs7DQJSlRrYThQroyDduxoJ9dsU+oA9d1mKaXRNXyKHQ/OjfBlMNMZsIkfxovA82oE+6WUMuUGAjV8KUJjv/2WPTGHhUjIQSljn1NHsdb7pzEObmKdTQx4TU1Jieh0dhHxVlBDBceUwmRPT1ocqzk6vHcORBEwhm3nSRgoMYXJ77aKIIpNTqTSVcEyM2C3kcTbmQtuvqLgHM4xw5+dM22JdXLWltCXAYdGrsFpQJMvd60K8QMHlJlCyyYmf8izidVEnZ/JW7RVa8U7177KYIuxIma752klpzhcU77W3CcLmX0HvB4gpzO6y8VtQguUgwvYbQFOSOkC66U+ulumizS77iGdl+Uq7yXwYRQxV3Fm2joIZ0Njw34iuurk0Dpb1TzDv7TCkD1XuDGchz6zsjRilMc3K1iBsArAaOSiV66RSsBTwlR2q6Uez/NzR62oPwhicG9e4fFJ4e0mj3WJTqv14B6+MGMGXTMp0Sg5tEwUkscehR83y6vDOG43yq6Mked8sKZgPK8INLADeUX7FSXK393fenRyvOQRVe7NQ8vIJufyLUOrgT9dKXxSSsB2WyYbSeUwCQXx+pqPm4IZpwozd2+3ha6m9BIkKRnorqpTyX5QVzQyTbf+7OlBjyZNTq71IrL66CNDk20tQC3tXVymlRPMP28iC6aNO9V90ird2Z4nRrcZq7qkjzdPL04eiEtMJPuBzYPWCwZm+J0YraWEvpAkJYY8dywR6iCwAcWnCRMqOFvWkXU1Vd2yONaxFsIAP78aQqj8QYhLsoMvM7P44v0WLynQPZkLn5uJphCv8G3I/RIrd9F39yRzh1GVKzFDNoT1Vzs5EQT8x2+Dh5F3/XjHWMXN1lId46NhqYF22hOUFpvsfgpJhSufWUs29f5xaj7Oi9HHT3aTscBaCuWJfRbu1ZhJgryRy9XShivnXi1a/V4m6yuO1YXEUaojqAs7eEyWstHU/RdyLoJKWEC4X3pMCie3GRsWSQ1X7sqeYiAhN6uHVtwZA/wTqN3OHdozKr46dF118xnDPZHdGV99Z8Xu5+dGxT/RL5umjfDixFlNAY5r7V6mei82XhH6rUtyb8sHfY0XU1qXjnpN0yZTIOV7oq9NSbWJQsnX/uGhfXtcSPR9hahGrtZUfSr5K354+LPDiSVG7y6TNFmLirToXzZj4TOPlkfrDeDMuDXYMy5tnJWfD+c9OAFUYlUeUjiToD+HZrhWQkx+WVii7Gs0hePepWND7JwFUVbRO9+hQpJjCTTKIx11r9Sh/1Un5hIZ3rE8M3lB1IHp3cBJdTcXkoUQGVV/vzmkxEROY/nZBASYWQaESTw7KkwyhSUlMGaNL5gjsV973h4iylCXNgVnk/SCdKziIGP+KyRW5onwB6SlkFeBBZlOVDTaf3B6rcYdOthcgOOKqbOUQWajdf1yNi0y6IlBSo2fHCHmHrcYOt21EbYE9+R7OrldD7iXNB1EWWCvkZD1u9MXq5LiCCUy4CelroYL4UWM7OyoHLy5H58zGjMjtpZuhG6Utl5am464JVgP6zGNZycrfbv/2rcTI7Zt+lEjl+WglQNkD96b0elGB/FgEGVrfW/fEbDMbm6mL3ZQt5tw9S1KS3e+lZ+6arkdxiiFsVd4mEos1wU+tnRNeh8m7tB2ez0iX6SWdGp9i1E0Vn9X/skn3CTrvPZ6HWv1kspYqksvrMw4s9k5hfl8Zq95ZFUqT1rASQ1kQXxhthzxmIC6vyOu4ZCufy/YcgD4ANNmmjr7gXcY/xT6Oooy8gIDCzfJBydkgTqwweZVjK6auBwGqoKGe/VuTQxieQVV/NDwrs75vG+hUmnmYGErSNfIJ24UnLE6cFXfhL1oJmP+rhZbWo73hLgZX5wgFrUSpPvSFQL6oxu47wiQyDS5AUcjBIXOQ8Iuk7HhM/KTjAyBTOwIQTEVnrxEdIJNrOfvn3bg5a5jxsDZ87dgK5wiac3XRpbHY0nWWCQqqKjgWFJjnvFVMbr2D1/+V4AcS2+tl/orY1wxiLX1RpZYvblYnjydUIlXn+bq9hk4exZJXpS5H6dJF4pkw1ZuiF6fCBI+A2bLiDNGzJgoizK795kAkuDl4TZl+5rwVutvm9fUVUX/slYdTDWFfBYeowO6FDdz6QMaFSSv7TGnsS49Wv9U5x6K9d3ODmco3qCFhjPJIgtUOU2mqqJkVLHoPNh6n8o3fnZui5VUyb6Sgdx0ciJGadlkQhbcDSnivBWuzp49BTL9s2fSrpIyQY3czaPgoXKCdQk++Md4fq2ath/URqtDwq+Bon8YKvMBJa/uboMAK2ro6JnaWkMXwFQK7oPt7fuYYjUSLebjQmZ4594pRUswqNz/CBbTcl671xunRj2xbxto+bu2k5EAPQWh1E+33TMjGrVpQiwIkp0uVpioXxmDRrI6yr+VYpZrOf173oaPOuGafSv12Sc/7S4gSyS5FAW1aT4tGLBuwEDuwH3Bte6p5KGN9h7ClCFGCAgmbOPXXI+LIxMuSXeLt8XtSrCAT21Fg5ebW51LAUZRORog0ZDWNUab2HvGPAgJgUzVPOf3P+HwU99JbpSUdX8rGkx4xEHcrHwcJ6VOTQlBA+I7DgChCUYt7GxolCLldXxTEG611fdo3Pxg1NWlcDGDDM4+WvHZi7Tq+GF6kRU6xdxHMFPl0hx7/8289OXOQlZzk3zu2peub+1yOMbbIQCH3ng7599xSuVpLV7n3lcHRfb3Q573kONYbbV8CIS3nWiYL/8Fp4aLnRY1MwhId0kgX0lSWB1rx+IZHTBOKoKmCuPCC/HASJpD/ah9F5R3G9FLfFWtSocd+ib+077pOLHfrYqnKWuYR5+K/L08LgmsXQfVhDc6zF7YLYhZb7At6nVqNYK8UeGGi+4JJ8z5DfX6t+uS8wXwix2yICPASw5GWgtsvINJzqfMaUUprV52P0u7bMsoAn/AvmY4KngrKwWOSLhiIWx2o0+8TF7YBeYFDBQuRWxn6HV9z7K3RP4j50FcDYF7y6govMVBfdbFmRy091qM6GljSzW95jTrAjkDk2TALL6hnLEirQi3GTwl1qDAAT5AuKSrLQtEFeu+HpXpvmUsxtgrZ8fyPsnCgkr3W5ciZp1iib8FmgPpmMxrOQOwtw90sjTaqIg7LZoo41TX54lxkY2RwvdZcCV0Vwm9ObuydtqGSg5YkviCNmpdE5YXqNWBEAw3pODfPKs22CBqfHcFb8kgr+Rwh0/HbaRZx9PqWO9h3fSAnhXveBpUQ7T861EZaXuaBu0tbrhOPid2tvoFzJ91hioQhc1npU9YEwrY/M7xcR+MCFFNMCzMIWE5BJVBVOYjOxDcq1qQJF4RjLWkpJMigdD/hUVqEEBWAnttj78jAWtkWbjR3TfczvRqB0gaHa6NFB2eMipXBnspYUJhNSxeNrBb+cSMuJVT6MaFxq4p7WDRglPgrbVXe5gIIW56UUOAwIB23/xJQ0tenyVFdEsZvF+mp9m3SIh30LPC826TbJZK3h+0l9j39TTXA29DS4UKc7gz9HCVDPUeUGiiAAJL5BQImgigMvCqmMJf5eFTzLbvc/iPFVbxA0eZ9bS5VIDmXK5VME2ANYC+gnB89kp7N99yNsCFLQDX0/kl6YfyHgjsIEvwaWwsKzU+EylDnOQDJRly9HLE4kxx0JOSG5JdsO4dfGGpbzY7VGF0A75vKzG+7iyJ76TBdP3/8+gdjYSp6mZI3rMMtJ1dMNfDeRNa4vANky6ja3Q6vnFt0+qvtD0m9T7ESVcLfmyL39iyAaeTNKw6dXslTCvPbXN0hIOPq1dGJRJAdm65v/6QQgXc/JLt2TIH6TOEneeGspoap6+mEznFjkbyJNtILdyhYbuQ+KRTo242epBILFrqAwcYEXi2bUdNlAgWXtQwHLHi4w2DD7Z7BeywvYIMehdWyqI+dqyrTs7QXcwg260wX++2JnEHZ38mR+WkHvS4qLo4zMl1yY8pCkesQZuXSoRbGqmXMs1DxqoM54LqFLTAgNr1R+h3c9ZC+Vq6NkTtZXtRddLV66GiYkCh+mjIBbxcR5D4GKBejtaV2025mnkZBuB5aWMOxukucYCcp56Cb51uG7rFcE39s2hfxp3smBqmrjOdk0xj+iROdXH8RXVZjJgktP8naDhJRjJF9R0OzTlwCBBRw/3m6spl6jeWzUAAQUoaDwF1c+YRk7gl9qnB+NuGJKPn/u1sobqsgacnlsAjqefRd1ZdhOGp86dfmopvDbZg0R2mJIXNvjypMbx/G5COrTsSfkIsPl2D76ygp4uSOd58v3utOeNLKIJzG/MWqpe6K7+WL621eIT4e7xzPLltJHQJkiHKpux1ckEpnUuGDILoMa7e/OZu2yra78pGJgXbhiJBPf7NTlR9Prua9vIjcIygZm8dE08Z+eWhkWIdrLUPO1N08AmEcPMN1HdaiR2LE9xTYWPAP5C+wSYN3Eg6tTqRdf9TQtPrQbs1k1BxpQjsuPaqsfqipSAIUx1FX71lipsrvRG7v3A+OFfNvzQZG5SGsXxgxnJoxlo43z87As9yASWPPG9IqeW/le+1VG9inNMbs5cYOHdaTM6gAJWBEBeqe9ZlsxfQIqpCc6PNlERI/l9Acc4aoJEWkXEdy9OTjA9f/lhtiLJLCWXgaicrXN/q9fQNbln5V+dr6Us1BF4vtgyWx3CU/jKiHRiX1IigAAO5xzfF8AST1yq1/UbMiVHrE4KxOcIt6zSQUvMQZ/PpAdKklkKV1WHdQgiT5509AzIGq4GugLLVKYkv2WCb0rKk3KomcyBNRddUTjLx+vPg9hqPv1l7MjbzOa+5+swGvKxYWgbkDpMhEIAtngi8T14TSYuSHIi/1O/GRrpe1jbIX+qmLrQASSrpHv1UB+TOdQiYG7bit5KeBpr0G+Za1UJuE1/SnABZRO1jsuThxGJTNyR1br6Zd3gGAQ66+Vn8sbhFxCQY1o3JMMmS/E5vdDTdWb2exJ7QsT8HOls3aFSC1l25P/2vKxL0zo+fuaAivJMPz5TbCAbxlcotKiHwsiOd6tPhRi+23Bw77KU5D2O3bPCUWie+yDe81348qo5p8h7Ujeqq4RsxiVkRufxQMivbE/qMCZqOgUPbfoGkjSbKcmXM+04CrWNB2miKIRQqCm5NXIK42BjIXcOxMrGkZmc9smkindLidhNlurlXMKpEUHAjifkNtMT/RnPTP3y1sDkiznI1d8NGF42f+Y0VAgrWs9TyU2UEBnkh3zyPAKmMhP4lswKU3sB2SlcRAih91aA8zJNK5hkHt4LlnsWYAjExq7Zbu/ynAc9qscZmeFeBqGlK8TvHa2TY0xOTTLMqmNrE75Wp2JszSQ2YDuGVMf0nXpFHmGxX5ydlGIVHaw3Dv3WLKlRVzU6XOGS1RHu9eHQzfXAKMTpq8iDIRwze9Fm7EnqIA0sxQHRJvDZy7jxBpthpJF9LHaLxsQzzGZpxBthaZ2J21EWBTK1tXCBAoKWEesQMEdnpvod3U5JF1Pdri1GTfkWqRkgoGY5JSn6NTwPxsmglI+xvvwm7IsCOQ119IOEdac4pUFboIxK3h6xsrVIRxkLEwcmRKmBTSID7eMyko45WWID4jxriB+wMslKjWp6yFexvv7p1c6Gyw30UeJBnssZ/Xef3NbJN7Rk87JYP7TNZjfDp6HHoZBAJg9iX9eK5CzpcuYXmq8IbwKXN6X3iSgV+bY0ng7gF2iTJ/ElupgyvO35G2nwp+lIW+OcR8sdCwAfkBZwM3Rg7RAF4k6bqt+x7vEt5967oNeGJ6wGqkc6oPE+PZJFjN9euQbLJTwB7HkN4189aIE1xuCEx2RD0lT+AggbZwTNYFHqukkd7ABdAdwrOJsCm/GQuYBq4KLHSGj6kdWQc4/RVICRg6fBFzI8fdVQy/GEha9xjz+VZ84QJDZxzlQKnlPahUYgpmcANc+ECIM4PueMoIp7hL8DMJ6VxkvjXdfjd30TWyhvM94ulUMDs2Cn5blpERhkN32tMjJ4gxrXdihE/JpWKolg7YgOFdWDBW2Sq4PCuB67CBXbbZWxN1+OrLLkIO/D994leYJEPEaPsQ/hJ1GYYx06jP6hpxTeRKtkwMp9WBjTCzMixXCDBZ1DMd2K+fbAIzS+aiNKrsgO+ZWDDTi0vb++1NFHJkgZQRqeT/bcMWVH/zSNOrNa41t6hucgezZ8JQJLkuvpU5FEDL1zg0v2gRKVNgE0FWLrLNXVQ9gbdsiopvSJ44EnkXhC9RjKUQRnjgsftpWiwlOV63Hauz9aucsMENFH8A1Tk5RTKTucw1KTOlFqUvQC6U3RpPoADg8BOckWamwCzOlTwzGd+y8w7m+5FfBjd0lrv/jkITOMQjTXh9qe5W6k66KxBonevgyFHxOH7g2RiE7+Vl8aaq7XLUL4/Ku9s2ke+KUTq3T6KF7YmnxT+XpKFQ8PWliAo7lMQ1+i8S/U2byaZBwYZDjL9eT7lOxbhl/Lvvh2E18wePb4q6PM9bmK8CCdRL/C7p1AoIaR3nmF5Qm6OnEvg4T0amDquKzyYnKAKg/gsbWDnvFIPvHw/018zHXdKesd8MQXOiqAckqxCsCVOgh+Jw51WYco0nCXl1U+7eBPiQnuwsiSbfP/3cF+JEeKOpInXKtiCSICVgPHYF6WFoogDMtvVGW+Z7gdylWVxgM7447QaOpicW5n9utB9BNUjKWCHqMBICN5h9/508vMNUs+Q3DXCM8GL2T3aw6MUB7LPXx14OrYlVmNXJnWr6qEfafD9+okbkGGZnjZX2LmqjcGH6FJPAIfdLGOiBkFQf0Yo6NFvs8cfUE/TiRtAFT98mnvbz67p//GsjEj7n/AAFCo58ISNG+V2x9iSzseDXwbzh9YdrGotnKWlh5tRZi45+2Hbu7KAM58Ifakn/HHSgSXg7pPzpn2wj8R2iJfur8YxbGRCuFWCrl3RAFHXryC71+397pge7KN5BgWarW6lQyfGVDXhjLHVeD0+xUKqs9CkGOd8lJtUPU0Jtb61OjKYMmJ44G8ZjZxkqkxihuo+nsOWyLQ5438n4p0tUej92na7LCYzeaE03sktNj4Z6pMqAKmlXnMIjcyk7qTWHpFJZluTa6eXR+JgBEcztOWdU+zZQmNGGqJiOjh0PBAjNt9V0oqe2/K3tkrAFyI72fFBWaT9rXnrD8MU33fQGOMxqJmiiXfqoV/FsZO5V1ssWTRxC7fG6D+4LKB/2mjJ7KKN8j/vP2oo5CLqQ2byDlkdJuzSfMVTnzDnIKb+CwoJn1IGQx9zmjC5qsCjcwdKzILXHiy5hTmWeK/DNXDzhDwOCY29TmVuOTSUYR5wFppLePq/l4A6UXAtmtFuGjRsJwt7UY90LHzD9vJq2hPVyWG/axFS/xTccraD6zptNdM027GNyd8dv0RNJfU4HVKARn+9aJIBsVCdSgEC8MlFK05p69HROLXrY3ACE5P57LbFTbbhzs46FJr8jmAqU9NuzsCFq4Qzuk/2D+nBDCiFpu7dAb6dNFyUjNoTI1FSKzHU7iLAstrutVERMZyjSva/ARwR9eusCEbQLptkeK1WPo04AKRmHSXWlbttR2P0nlCZ8kGzvwv+JAHqEPKqoombdYvaakSTGn4SRxZREulTe+n7WZ31My6jeBOfV9W0qKSy+8xIiDQa2hhDPAgxXcHi6aLzT2sG/r/8MFnY4neg9zi5h8ofFo6QjPkM2kr7gwtg+D8t8mQ9oafOnxeNgZ/vrBhP2jAk4EoaWa0ZW2PWQijopxXOWW4FNxorohzCElMTv69c5y5OwzVb5N5rsd4JkOAwn70lOYwultTvqLpP8UW0i2y1YhY6ot8zOYaBWnL9J3kJkXBLMWszPZ9rjCOEOH+BC64qzdfYKVOOVQWMdQWWD1zU8dvvE3gzyia6YiDwyTwOd3L1S9Men299asTd465nri6dgbhZxNqpZrHLk3GTyWwwSb+zFxLqgRmXMEYzfYAWbR552vT4CLpruxGaLe8FzPUcjTnefRqVush1qvmeOrDkSXKdz5TiYAEwxKdHJq0ROoId9iWKYr6SMwoCctf1bvorhh1T1a9S8bHCJciM0hpQbChYmX70YfPZETQgaswA/YINS7hQECEpNh0v2RzKtBKXOplKMXVbjLITX9H2pGwqZe2CF80OA3jQ5BGnz/Xaop7cdZYahkioTeDmwvIzwnZBVS4qqtwOBkcvWhGM6q9kUtEko8hJ7TcTJyQYQGScw5ngorUXtAdu/MsvvGqr2+CEo1rS7i8j58KFhGpOOzZaa+VGWuwWVEJlR7hELP2p1t0TOidkqEOcDOxpXADFyp7BoF23txCXAHeLVflK7SGtGEjLu+NnsZzulXnhAWNsYtlKtqmw+mPG2GBpfetduu3SCLSLsirDLAvUjBEU53loFgHGc6Y/AeR00uIRg/x+5nAqWKCO2ZYxM0FMY8b4GTGZgaWy37Jrv5BHakvx9drkHMZxHttF3LlhifPZ3qGPWDBH652LD/SDYg55rZ26mBsBnOl7VHL5E5ucdZuLoZeK6N4yjPK4NkYS3iyS9Xs0AYzvBCmSa37gqcxeMccp2Uu1UEVQSH8vDkRSgzbI/1nlc2x2fSofl2OM7eAu98GIEBifQmr4+ij8kQl3LdhiV+XZBiBp/qCRQ0FSgZH///4AGuLKs4/svTjgkhlm4P7w9I4s1/rXO6KOhgDXb1sa9I+kIHfCt28HtYbqpOEQQBkWicPQi5FA2XHkF+mJERTac7FRjtRhvjGilt4K5X2pQKJ0Th3IXDv7wL1uy8wSc6vGS28UH7Q01mPIOrnCPhSopnIgappkdaxd8nXo1Kw9HeYybIfEm5eUlPngTucRHQOhBi+chZCEEy6kEqycJT1JH0mouMCvOz6X1ZeiWEe2fDuZ72In+hWr5R6PS7qU3YyU5IaGMIps9xjd1269qp8cdlsKraFDSU7eFietu3eAz2gMlazVtKSTtnLmQeCDs2ati5ID0RDAgbTdKEno7lT6aTfdOjEF+yjCxN8PB/25x4QF36a0iCp4QAIKJnaN+pTsfsJNcmSYQZGwBqJDsBvSIxCPLqsPOdB/6nCaG+/s4bz64QwC9GnPaUHbNdSap4ygq69ToWlHlsOZJNkZZVMB89wjgVtjotV9rRaVTEeI4iErVy0virzx1+ESR3LfT7FGRVv3u2LPQ0QgSK/2NgWxhRVab+6Cr9rdPjMlKIg4Hq6IqPUJHSlel0BVyFW0Kfo9/lb01NfnBq8gGn0Uj5C8CQWqG9fWaSWzA5Or0u0oiagFiSS58AkZUsquxOA7gyGDFbuTW/iURP4wJnBpvCsasajP1Dec1BUJhaaRe8sUTP1wUesq4JI4gFLevtXdZbG7zcF974g9igLVWVj0N9+oRaG7y5BiLjeDONehIol1UuKZ+fCGcAatxAA8VLUuBSHWTuY32EBZHrMBuJ/40dIEf6AF43QTZYDXbQ3bkjZARfRb6Saw58qBlUr6Mi/ilkwhcyRv3R55UPZn2o99MBRI1Ew542KCsCTu++VWeZ/gb5BBa7RS6QB44OqYp2Lrnxjr4e8JkRmXyswpsVlEKyrb81ATE5FKr4XOJeQtOb6DTTyaYt+BkzcyZRYM4UAjTLd8Pxu6ZVSw6r/7lducAUSXU+kwWf+8yLvcb6HU4b8zNxB7rB5z4NlcD32V0AbHkZQqUS4E46A3cXQ/Wm2ovkYcHR0QcH0UHEism/mxhb684HPexJcX/Keef/J991+O7LIjOjsEuCOkJrNM2vpRKU6pzlpL40UBMSfecY6vAnbpqDGo9qfp9JJsMcMHJz0zRl7xlsEv3qPHPVRGXGoYPe5IU4R2aqbCKH7YsasqTmNGs8XrG3kiGKMtiwXyOxbNUO4S03DUwoVT/RnzDDtgdK91dZlu8wqm3Maw7FjUaWzrl0tJQ38CEffAp2NoyGOzUF7a+k4tyeABmeVzb7JiYCGijpJ+UWtOnwoZ/CHVYRzb0yoSVc4PaYINz/KdiV6BcM88iu4OkjyimF9gqGZstgEcZ8IjpWmGoShYKmieFzGVSXbzZU0oYEYblk9QMxN5Dpvyvg2Am5kp4euSJY/kIN3LdoR7/MeK7VhA3wm9yH+LqwPKLCf9LoeGD0Z9nTsZZDDocG7mvX5XCpS7Wc/im/9KnsiwqHqmFjpoi+wXeunOXYJBhM9uBvFTBqOtwv46b0XZrhYDaqyDjnGslcGQDJuf+U1u4W2G3ZQUQWyP/569ynGDxj8e35w8n+AhZhpbX5h5qfFkmrUEVA+5XV3WhmbFLPVrPbDUGxYkzgWJZI3mOr9QhSMoMCAVZpoVQ4Qp+c2YJM/HwV6/gSo6MfuoICKS7E3Yc23RWe5GeOrPMdssoaaBvePR0VPpySVAiNsS0PeS/R7CQ2xMS+UbjukzH2p4B1jb7tAw6LGMHYwrrv4y1urWi29kb9J99wyjRr1/f8r5TM8tDFG4y62erx91P+1asHKvGghlJFsrrzmqEh3Ibkz8zIiuwMc/iuOgPgcXhKU7O+89fH3mdeqI8Vqo1wHYC4WoiZ8QUMpzwYeBB4wdVVSPAT+OSlAjriAB9H7PSyz81qmOuKieteOBVf+kyzssPdgMBJ8/VdG4F4v9M9lNiM/E7DmIlOUhQOLfijDvVEl7fqnEPoEkDB9An4Rwtp077MvwvL8L88oCSlXf9fetipc9/FgxBEnZ6AaEKI9Cq8i1DT5qINo9vbGm+2O2Ebeirzgqos/PbwoYDIsjJWeskXmu/G+9av4zSn8eKv1kHS6WdbLrUWYBCFZByqRU+Y0gWGZY0iEk8jVYrPmunaXccUGmDYZRVoNLj/7yFHlBLJMySRdL3p4vpAkYvJAiCi9o94AxT1kNTD+2wlzxVvS4sygE0sG8Flh6M3fxN7MEjUeNAAl2flEz8UL9HzWsTmN6LOtig9cNscAoq5jokmkf0hd1D45yYby2WqhaqAKzzBcccQfzLjVUJHyY5OiSxYOQIZsmubyXhjdAhPwGT+YodtvVWsEcEvUCMI4whrJxHXIDSvqkmMx6pzBda0ioRju5Jx84qBhwZAzd2kDrqUe7aXQAfilLRJKNVopFVRO+8lyLiO/gCc3la1OAc2R9TXEMrvJ3dtA5ltJQ4ltjHJHyhEAEJ3xM0RXr6wCsyNDkjV+tiaH6zm0Joh49/ZBIpZMutG65GLXVppB1ifT6RdNfionVz60XjsmT1G2tTxd4kEvfYZM8lo20urdHRLo+zCJuYKaseIgEWO1LyzFDftphjtNyOMsv9JkxVL3EUNiGMDdHkmLA521b2ZmMyE0BlbgFMNLZ2LvkLsZVs444gi4xGHxviZLt3jZbSrAJMMfVb82tx6pcbD4+Aq+sjrsJYbE9QAS18SABELphpqnBxNeCgi3FyFAoR5tgOqteNmHhXTdGRVMbIpraJo9zki6bt2RlFSax3Tm9vZdxYTvFlNhRM0Cl+paxWVUl8X/8lE1qit6nHUc6VHE4vmBg+NiTQEd2LSZP5DwvSsB9gkMDyLxRX/YRZ1PxCWDYGbM8cKPr29s9Ux8fR6x/OgBcsn5QoXyYZFfWOSHSdkam07c268XieyANNDfr9D54hMJkyhOjUXLw2IEpgw/RMJ4xlmHB6wUUXYyGGZAA8ALDc3LpJN+x6zDCJ0xZgbZlqLV/Nc51hSwxxb9TvgweBpCxmrt5G6Gk925yJ9LvP9r/3mHNDjI4znpvyWyjl6/i/gbkOtEU8T3CMegbx58YjhGYGHaUp0Fx+nlHu28gd8dVb6g0R553mF4tBKk6PbxfaVZFKNh//08oTKypRi/saM3wXEHG7wE7nIAxAypP1IPSJY1PTA+86FHLMhu8wd3TtDJ2xQuYzt/W1ypFahXAGUCKrOyRgEe/T8vj+/Z9zEt+/8CpLC/5jYT1iGe0j8GQll1MjfQfzfhVKa6TplpBfM7C0VDfsQ3cVOq5OGSDq/oX2XLM3CG7eBkidLZd7yr1G4QLvvNKeJ/kDnnBZh3FhfHiJCRY9fQNvP5NrAwVPjg7tfLMwJMYAMpgPbugjb3FsorH9Dze6XVhoaBsby9Gg5OqQDb5MFoG+1E0mz64GEchFCeFduydPQxHDLYzTYPYXiINQQ9C4IzRCIj6NS0e2s9j/0igoxxElNeJRDhJ2cZPYlEsReVSIGAryHdAHrfiRmM7iWqr3AXPts6AdZRv3IzOEZnUDYwA2XhdoKGB1QtBLAJI4WeAeNI5wbtUKgki0HW34A3MiGlFf9TTuz7UGcDRVB9AFXfy1TcNuZAcnkWx4xbtcWAdVgmQohmEqdQBc0nLLSGrUr2wKcx2jJaAMbofsqOYsR+U9/Ia6THc/5ln4jKl8OePpWyhCB0dL3F0hpMYo0F+CgqcHS7S37ijtwcW9bbUyeqclsYEhzZZ+8lOsieE6LXhT4Xa6wgjbRkV1u+9OjWuUIwr4ghneQUK6ClsDfe8wIeS20qZJVbV/fQGNu/wJOSSWpV8/DtBF+D/HDerAlkY1pVfbbPjDDdV2dE2jadLrVmMsh7UznGcRotn7qKa0ucogpAzJa1eBxaKJ12pF29RxDDOG2hHW3XFY6h7bQRgm3+r9MCpHP8uuGU3VwGq1LkUaAX6S/hIgr0pVdvYar7UCV+Y8D1jKHsPEYu9GtYX8eQvQJI+7bMDKaT5RAIUw6VUJJHJvdu5Ap6Mknquqo8RyhHSJYY59JBtl//8VFE72PRz04CC9m1iU9MZb9FvPaR6VlZFJP2mjpASn+ia/eNzmsf6OtoMyyFkZtwMD1BJylQA961Qy8NK5PJYtsKlqcAfv77Ft8GYs1Ka97GIZn9CAZdsRs2eLfGtAQkB/RYWVE3aB7w7KSHAkOQQpK6b1hd6BFHVaSzsBlcC1mBUW9yCU45JpYxlsHJfWUqcr+l0y/pIncPJgf2BQPPt1qLl/dGZl+qu+SBqZ5XbcCTFWF3VuHPX29jvWqVyZvV+t9JQB+7UkmOCMJ0/kNIe0ityNwfFf4sw2n2ZqCYcH0Ntb2qR1SHTIY4mib5oLautB32KLIZ0D2D7NuWMZNuhJuWHEfqPMmCxTSByN2cIvtb3cut7w97TMKbNfs/K+4gtZ6CnaFSpoteVh6ZQoatNbd+fNiflAvUqxMMNQRClkEE1GWyWxHGW3gCustU5KHmZBxG2OTmAK39Rcvju+ovPWTkvlzUCus8LqLPVe7lsqlDGJOIR7mRiRTv0uyDDFJtpWEWyXbvbWfKigAIQAe96ZrI4ss/W+7fWHMXFhg0rGDXe9wzvc8LpSdmL+Z3kupPx5heX5Fyloy9IbOH1qkLPMWbnrM89fg4QwG3AagKuEVBu9cCFGQ1jYRExgF39rlR1spHTJNLFg3kiWlyWjImPVb7KnZm/QW8ppz0k8F5Gg/+xUoI5Sn1bH91x7evs9M//wPD15DlRzb2tvuBXLL4HpCrixxCzMmcWH1sskOS9+dKOxKa6Jb7oUBPfZwRzKH+ADlKgts0J4S8trC5jU22XNlTNO63QjLdpv5pKhK2L5NWuPNH4+2pVhBwuoc2BfibPAKs4U3cbWkHYbKJ2kILjPAsYqCinvkg6lr91Si2ZdO9M3Cni4XRggKwx1g7+t8HRxGByfhiJQDhr7D7UdsvMpv1jeBRJTboJ643NJKNnp6GGmeLfocNwhE2kT5B5JCVyKupG1/tUaXgvpOKZ2p/TsJo3i52SIcadTvEifRV8cuKSNMG7OfCp6FmkhsrSkRlSF00dw/UHCtMKbnVkpfWeafF3/L5AK2oCdUYBW9D+skyY22tvR7uxJlBHJQpp3MchDW4GIzeqe3cIXGIZmEvjkEUE6W4/7VmjKSG2MqUigRWZG6Xzi49qEdXsx0vWO1IhKe1CBvyrEQYnSTHHYUk0Fa5iV+u/61Awk+ZGF/6moMV+5fgVO5PnB/A2X5PIgxFSRdtHqzlS9fL+kDWjqjnnB5QWfa6SdXEvtTQu4NfUWcHh7AcUag1UI6egsdYBH5xdjebx2I9JI756HjtEBFH3SNefvQ9c3ipNBHHvJprboChIOAGuYAQrOHsOqWIpMXIusR6Vv3h8PFh4rN9b6fx3xUbadtwYS+ISHDZ/3eHaU1hUGT0i1I0WDyLf7u6HkomzxwF2ScuUn19Rt7LK1gWwVahMNYMVW3+6YWQ+9FBFlzdIeipkxv+D9OuXXwQjsx2CGDQAiRIlLGkXJWX7c/dE/iNbSqTd9qmzBZhIr13R/8nAasx9yj0UaRFSSmWJhxlScWzseJ/wWbp9+fNabJxeBpnIHXrjapfml0V0ha5eAmo5vRiFOKB7pjZRmYNSrLgimNUj9rpuYZIN4fCQHENXRCzG9TWMMF3lrJREWTQUv1s/e8fvfSbxTI8sXQsEIDKyFYHZT3vSCjNxcTj2YhUKpOThOLg1EiXU/GfJVcy2MyG1jFwZ5ZT/IoOqtDh2u6wvDifEPX+4x7ze388eK9f0XE0ohBK6bo9miPYhFyepPU8aRg4gJjlqvc3t1AoSw0oUh8rRoorKjOeMK0rT/qdNs0eEYsPu/YSsvZMmpeWnR4DfsRrtMsYxwfvuEYpZECmIyXiXeKajb0wgKEnWrXonhQ86KW2ABG8HnR8v0wSXyPRXI1bj8W0UTYmpGajDysULxqqW7xO9iLvWWtXInbJjdad+Dr63Y1BK70AaJoT22JMpxrDxMHL8wH7upuiEkQxjAPW4Su9EgdBjaCVKtVItvtOEFCtty06Azz+ohLPRNtL+Jm2FauJCIxDh/2R/iUF1v4/vVU8uKqduq2vMuqr4w9mjrrSnC8Txdobxted+0/338HV4RPiHowkB4/YyN5eXY5ygD9XAF5lA5SzXZP6xLnfZ+MTxR459YIjvqzoohcUUuz9mcnZcayDHDKLszRXjXImPLpTjW7FdEPXt5EaW2x2p7wnId0pGuYs4CXZTz/knwx1UV8NBVMYPo2+UbwjwB0QdHTjgQMiTk8ylBstjqczj0GThKg9mRf3BfQLmi01qrPZuGBZ05m8HtvXqrqNUQPOBKMgPyESUZrg7a16jYt2uJpmR/nOiwOFXFExeW1d8ULDa0apTE4bpgguSjkqSU4798XMhNw7l/2tt4M/zTp2ruDWnpjK2bMwp0jO8ABhHE+Y29NveQDAiUeJrPEGz/PDyI5JQJh4wta7+yeMyHYEY2mIsQ5B/I7I0Ez5qRM6mSAhzz5QLPQjoF7PVV0p5MAYaXAMB/aDvOsqazNnHs+367/5HUtKsG84uxKvqugqhGC/IB5ZGFAZED3nOMhAW5cR40F4Kkg1FzVXhr8I1wL8qPkZfPN5/UrrAeM3uTzygPOYDh4n8eliO2rpIumcgJ45EWrcVqpgJgjdEH0ssL9zmJnVxaHipI3MabOAzKJdzebyIp8Suzu7/JX0ydlblumk2Mmr3wGbSb3jbE0e+U+LefbVFt/BSwcX7SrOBsZkTI1pT0519mdUPhef8p5v6IKfroHnMbG5c8aHSCr/SnJY7Ap187KsdgglHYuYmkW+MQFNNkw0ugCEMnCLf11Zyz9yiWzmyg8eMzKYFzvlJptPB3eNL50PP2qOsz/tTR909lFGBB2x8QINelRxjEOFQYWOB9FEJJcJwGnNK3JRvHSKkLpGIi4AAnBkzwMkterE4hq86aqS9SvtKkn01Y/5LeXkVcHUqHFa/P3NzQSm3C3OR9YFo42guG4htP1Nis3JYFcuZSSecP7TPhbuVH9cq8OV5M51Xym2QKg8KAnB+4H8hr0lEe0P8HfWipoM6l0rqCEAaJtZRSDBMOeeH3lU8+XvrOn6WwUE/OmxOltL3WxxvbLvYpwjJfo/gKOzMNfusRJSXAg8bc4Z+ZN0led3BgYyiQFDTGJna+WVnbOVGJvMhIB6WPZh4TOWYivuv4WOxhr1mvtlN4BxRCSSJNahtWhOKsmwaZWhvqmqxBNL1enwgQjG1m/jPsRTil+Odl9DBf51MhfXvgDWvi0vQAP45KasjsYjdhnS4qhZk8n1WnkZHf6Wio8OvVtU0pK5ItGjM9/iKCm//mGeKURmWSdQXYXP8aKrCaLtlvYtd4g++4kaUvrfe4Ch/vbqLl5C18rGIZkJjKJSJSZ4BNJ+eIS7SS4SoJo74XpnGVat0JFgQdo7TR+ATgRWjulDI5HtHgVyRjoWcCJpiasw79Hah3i2IWQ+ptxUpoDT6f+gqO/3GvSjMt4BxviQO7KPWCx0+W6Btx4/iDoq1rgGLRGIhsY+fEc351/sJTHlFqRQ9UoYOUeOsvYbJQpazjfjuVuyl2vlXig9KGuDxzvhOLVK8ilUS+MUiXtOLQW0nrgTkciTZMAoUz9Si1aO7lEK8VQhcSVR1z3/z68L8BATqnXz3rk59oSVTkD6Ilcx2NABfwVO1cX9YDh8EuNwkUpAo3XEKwAWiQ5pHgQEjKtPepCZbK/iD16jDevMCsD8c+Ib2qv16yqHzNpIYew7FYjWpqgflG+GHeCC+FnsCHgMhd4gcoTgVC0kSofTAVwSwo+4tXPAzgjEr+NcQ72ZJ2qOHjTEMJ9u0muvWGZt5cnhUqj5qn06GpZGl9I4BUTTBkr/Y6ER3iA6MymWEyKQf9lWoGXf/hdwDhKkwpnYphfBvhBPdr5zu7NLKqHixstmjuEqO+Aw1TRKmVQvpfjcz4ywY4mPYj2lFmvV2NaZSWErW2Tk8XpyN0XkrDi5S8bEwDVcTmYHnryPzt+XCgeyXKJ0+oVjN56+kcEJts94S34Y0+E9qfz6ZWid1RnIUQzVGGJdEBVD03Ejkcdix+RNGF/NlIzTuiJmRNIqciJ09lLaQ2a+DzaMg8lpCLCZXUXar9l606r/rTx0xJYgAFthQb9wapelxwu1iPWya0PW4vHnOYDUEPrh5Jr1GvLWYMhZRzBlqqIaZsSlUi8Oko9p1x/3PtdR8MGXEy+QVfefAnkAXLdDAo/7J0q0+47fh1HtAciKpDsPSFrCS+uVCyWEouylcZ4xDaa1f/6wDmee/oZxIgCzybuo7rhHLPQWtQNyEKPyjr9/Eu/HK+WumDMkTDcvA4s4cMu19EuD8k9gGzuzL1pUvKXERL+P/I8Yq+yT1BCx58korSH2DyDNwTbfJBDOGxxaMqmFpRbaDsoBGY5jXlb+IFQ1XgCQy9Bhaq0a1f2AaoglJnVQyoCbifr3bduGNmx+1zNe8VqYpFB7v4gDqEJcJjuACBinNAwTBLDoTEaBNYNj5wOxY4Ms/6+D01zO0nwbjkdTHmJtU+Q3LZIgxChiK2+V5x1GuCVr4H5Vd5njUj/rRzS6CpSULRX1tYwETiMo29Y1e/dGIh91/HXS1ndFkgH/B5iM0J/6QgX1npRkHQsyBHyyBAzDB3AEZ85dxJnIuw0h1yeXlJN43oAyslsvnNfFM5SnzFGvReFaTPZdHnVo9Yx6am3XL76BBiKQ9HQH6upPYNJaGeYQYAwIeV+QG8W4O2zRa6UvBdshi//wVUnOyT7MYWbTUH7ysi6l//qgzfLg9qCpnwLlSlX5L6mOXffASBdQ/SS278YC8mvghm0qaP9xK34lhQupZmzV0qNqJ1tUXNDsof/nrCNsmK2TrihZrsEO5uxWbNvfmkTlmMk6MdRmEbspf3ymWZzxiNGXeX4OXt+TiVFrtWvmlUZmR6p6d+6ocagkf+YGd9JktNofuq6lf1xpaslrNUTOeVNXJwCyMsCSZKWOg8CMimgJ/V2owQpBWb2mR7De5C2FjkHY67pucyiiKGc7d/1JUDJ+G2di04qyPY+vRGpLf2FjtGvc/RwYB9STs+45BbAFXouVY9Ah3rvzXkyx7UzLswwDQzGkAx91CRbhludX8htVtHZlnZvT2PrRqwSqqRIeWybsJG2OWBDl4QrNeqZZl+0pw/aeQpNtbeP/70ec099xvMmdjLaNbfnJ0qPb/OQcVH/PnsucAHYRW/j1fphC1SmsdNt9jZCcXx+C1l56LAXWTcO+1A93TcBIqCAUqUO3c0ky8m002KnJ+yFZZRwGVSaeK3fPnivLVtadCD/KZht97ANXHGVrrulEhGJnpsc/yxq5ecNiZEknTwL3rcbneCF34yV0LFReuVnD9xDTbgE1CXu1aBaoWnjFvQ1726Reqoe6zbKHq0sCQNnMrVX4BvntOiaLHsdxPRXzVCwVgy2mtcNeBZS69potvVa8Nsim8IMq+n/hlflr3YIqDlbYM+hM9LwimFGhXaocx6X4G7NgtIlu3BH0jzQD9feotDUfd7cPv16Bu7SXbQCsYNgQF+/aE+OZcUEo5a1ejUm2Iez3BROo/GGX+p+nhmLmiITmkRlgFNwuhqFBAnqyN0yCawLApVgLXBQBf/1D93JKTiRgSOmQpli3eEhLFNX5QN9M5+FfQFEYxFIva0fKWS+4q4lBSmHrOZ099wXTQm/Z3mTPtFNFG2Fv22j6S8qruqi2NpG56r1EKkdkRp/8k2/0FbXLcy+o6LNREgfrvYrESbgNl971EKmaDTjM1/UmgByr0emd6eIN0dDY0FoYl76Tq7gPuMrhMUP7+ML9pZWB4TKrpwDMyEnuZelu76mFudFeCuDulhxUEwjIRApL44Kj949gplCHcRRKOXv10d/aXCoSx3P4a+OKA7eKGUEpdbY7K7NfE5Ylg6g8NDItJGco9QWdXH2bWSLBmCA9MDTtF9CDL4+Qea6YDZShxJsWnDplonftN+pPSdJhGN3nfMS4WSFBFSJcVb1iFc3aaIiFrZ5JSDv+sJ7qy6dDK0SHeBViNTFzA0EK20B9rAM0j4kRTg1zt1/QnjfcEkOU8/qRK5nUZ49Tpecpr7C6rgDZ8d5orWvU87dZZSUN2pnI6BuZl8KlSZ1TmExe7rmJk8eAkYDM0voN+NUT9aZdY8XCS/VNzRIOzY0F4GBC4Mv30CchaOzh9U8MQgKIb33qQVxNnP7SgO0KTfvHFPYc8qy3Fkq7Cjy+koNAlsFvhiVfJ9G02ZrLx3upHFkL4WhChXBhvwrJw9vt4l5xSvCE/Vg5VkxD4AaF+dCC6ZQrE16wmi5QL+WiMwXCpA42iu7ighH9FifYzexILKPU8tya0zByBl4MPqCcrzKsck2/eDJ+YrAm94E3VceD7meJwiQIMLKFY7BkY4wdqQfX8p2wJbIryrNcw/a8uiw2XohbOl3SSEUSSdxqnET8HNgQz5pG0FsrYSKnxJwDgBloY3MuE4KHZO2gVmRoTTpJT97ySFxhvptzs10ntxCtXihPfUO8J4AeAOKg7OaXETE5oIXKof32gebbFDpi/yYh0RFW2ga0lMLnTDNUdEd0TGUyB009xF1ULXNs3Ssozl5jVqqjbSTMa53ft7b4Kay7L7jGtC0T4SEknpMYrlVXN3F7A9D8RAMDCLVpGkRDhP0pkpJQ8oo4GCftBlSVZYS3YHs+lIC8Nfm12LaHO6Kuf0NT4jiEjIPdlcCV0t6Rhf6sobdSwfCB246rvCjQsDZHYf8z3Abcbc5q18RS5wvEythpIE56yuUCvMV1NMYcNh93VB1lM/FjidG67AMHBzYvBrSd9FLvz5taaJp9gtGJo7XyTWLgEOswNCLjBt0F0TyNMUZW2lJoBehHcE/YeHXh4TiumNDr4YZBhizQhbuC3y2gGaT+Dlzmpq1zfYn18u1xjlVteCgDMR0bEbg9eQEPnRhQH5rd8EDMSS0svvGzg3S1gt1J5lVOlqa3wGbpZ0hLKQG3pfIL6OAcRjApLI3qkp2DIr6rnC0cGiByn3aHfTdLnUasREVhfmSrpmgWcD+m3kQ3SdxcZbd9Y5KZyONQ3NTg5D/L2i2ZDoO1/+edAGijxiUNq/A1+btYiEZdDXMiWjEelXiW0O1KkLVihRR+uF5d7egYIFAOMWXzK8/sN4F15Yyy6I7UK32d6VjZA/ZHYZV3TTmVBJiFUhJqALZmdEGlcvZkDTJcybqGnGDVTPcheK0sUhYYV5vdlD1JnOZZtt7TRs0OULzFZ22QSYrSbhmpUMtAFKt530i4fsLfGRsjAhRaHqCZoT83EcPLBTnj96WGtXdCzCuTf/ha4m4Fy8lIWbz0R1mIYSW1JYiFinCEdE672svMUyvqmpnxDnGHrG0Z+sf4eYHqSE2rPi7AuQ7JBKSJaYs42c6J+v7YXQH4y+sZvHjxVj1f2D5ziPvuKQSRHJs4GuMhX3hBQRpFNG6mVYUE0tEfiCdg5Pfv7g1KRrnSKawQxi/KwrlYYEAOIy4i492FmzBGcuYAbs5DcjTjLI/uMHhyvajqbaYCKkBAyDXRcK3LLdNZyjLtuBjZpme0XWRD2MD6K6I22AfO3cw93MIbOSimnKqMeAsBw53yWcS9mPLPhwH8C+GoAsbvoUloacWZw0DXZC10ideXwCs1A0KxosW1FOrlfC5MFy5if7lY9oM/i3PgfXeH2iA5vyGvuEL6jDfk+jN//W0mbouvAUPLNrn+cITc+b49QXnO2yvO8EsH0+3umUinUVCScwsS6173TDcs8SEPUjXkYkfC8oocRNxsW1ctyuu0Y/qyviPCKgMq/dIqaffcEXBtrqzqTnK+bvpvR/IRmwvVTfTDijYsZLU37ysxBhCZRLQGOuxrvVeexVyL+Q169SZc1smKnfYMX1RipElcZtOP+IsJEXLU63ddFnrndoyylw5Corq5Vl1astKQg9tk+vX79y6heu6dHtEx4WpKn57a6hh+u/g8nNh5fgMz7VjpgQDauqM6RGvyNIJm3/mL+cZ+/+Zl3fVIVTSpdHNi+Bnkr0e+w31oWi1l6NqpeIz13E+TE1gl8eGBQKwNDQAqKbcLZFbRx9bMJdA8DFZlZL7fxIin8Dwk4YjQbLGyS8ZPuaKcjT0j8af/S/NBw3F6yifbkthP1dwL4NqMKtBFkZtPSp89ii/enSv1mxJPHDB572ifD5Fq5SEi8d5A1VWxLjF0o7LhsRPb6uHSw3clh9XfzdwRxZzU5HdqUQLB8hmoERxqpLDynkeETYkEVkTyubaV3XodDhl086lHtW6BQkmAD708Tgn6QMIcdrou9QVEQxWenF+VNWOn3mGsCtZC7snHnND7VIh89ka8ugZfLHq68/EII3OgL3jyIVnHxbfO7Ijl/OA2J9QPowfoBk7Zsp0ZveOvblSsKJpWjzMJfykXfcGVwAISQ25i4tyMdzSw1JcaBeG7oP0tpWSt9pQe0tp8zd/lAuS+DKQqDz69G7gmCmSCvn4qT522n+ANpN9T+oeE3FUB8gAkBNe4kn1LaECRSGsn/ZfqlM8ZfgNRPEb3vWOTaXA9CAtUw+z7YPeWun62ZfmcXznitwyzpWlDAS9V/GXtFc/kcNge8ZzEVonIgUfQIgSr8EZz8YqZS8HsW163khw5LOQqlcLIhSZv0LQojr1KELZxmjH73T1pvSGALVhfFvG2AkLgM35lTGMARqJaMXMiWw+EOj+IjhjmxvHE6wM+gIBgNvidNTQUFGnxaWoLGDRVZQ8I/OouhaVhTzYn8oC/AjRHssOWUbw46iHtJAbFf6WbKqq6x1IrBM8TDtdYAebPf77evkZ2TgaLJe9zm0dBY6Jy++addffJFVFpOIMx5PwA+ywValoP4TleLxYgkelcPLquZkcH0mbtUl891ZGydaif3GUc7O6+muixSiKEbL6I++CD/gqwtzK+bVRJnhkrOuBA5ZR7hZS1diGtE3BO2WdxWKQiuaBO+N9FO/vDLnandYEaG5MFaDvHvLp7Be9nEP8RCdn6aHrXK92N0OS4z/vN1CuBdcfvD9+DxX4SsRtudD5jD2JFtbKs4gZmA+b6YApj9On/JgWJ0NuZKmq1sknighDQz/djeWlOY9ep/j0lH27BqPHd3dwB0iAr7wuSDUrvvBQ1FvpiYHZYPC8P7MwNVyD4W1AHxsJ15Ychg5+DPqCV9+Kd4fi2D8OsSZxTymGtNwCImc5GwkbO1698CvQ4O+eluAwtEC+ct/cpvKwy/m2JVr3tJO2JG5ksNoNVfMRYkCkJntIBRnCy+1mwVMhIZ2OG1SlHPdpLGGkD9m/Dlv3AkAlFYKS123zHR6A5ufzcN+CBQ2E+GQH5w6kCPPqkrUyKYVMmRkBfCTyJ68aVvQRtouwVlSCEB5eitxcwbMS/rxPvSQIGNzfI5RxGPW5tWSEtiMdAfDK9jGkWZAuB8E7Yd4LzxwD7cXYzA7IZK99sIAQZ6INmTm3s1D4u8kd04dhR89mrTimi+wNJnLvXoPIDdMZbTWtXwzW/ABXhcbKSvyxqj3Bx1xyrVIDNUqTj0JWgnXPzjCcr6ELn956xhIWBzDq/w194E4mGy2vr4o4F3HfIfIKM+SvAXKZ500yC+pgOa8qfhq7Ke9TUrCK6yl8O+swiWWF/oXlpi6YIatUFklDHwoCRZLNKptxu/JWhsZZXBteQQnN7K+FzfZ5H46qUqkVPORYcNBFWDLPjYY46wRGx76Yj68/rFl7yZqaPOLCZRkeNXZxDL/nhafclltzVrLBNEhXHRho9LUKGjaERzIsL5phfuJqG6sz08HujdSAkebN77stQmBapLqN0d4qtN87XZdDcIMaQJmhoXir/4aBjRHhxMsRLrN2KvxQuQXPWSimDlmEPMSWABxCXDSBwHqLCdtJiitY3nhOvp97eaTk5WJKiqm+idO1hpbFlSoiwdagqV0j5fIO9RUBqEMg/ceRoK3ibIzrdjwTuv/OXxgu9sNpTERvGaMQ152AMsb5RANg+HUoc/ek0uyTxeX/WkczsueDwDx16ww/18VH2Vv61wfKPlP+ztdoOaH0pIHTN23342thTrAm4KovymvcM4UAVHeyoBEYhQNCPMBhY4s1KFvmlap2TENpcH7Q+ikyzpm3qXt7o/y3xvhGlB4VQyNtgBybWA21SvZ4Wdy8vMiYsHg7ZYsxaR+q/wcwCTmz5sCOBuFfZCwEb4/v9E/3fHOqhAJ0Ym+A3tN9vjVVY8KghOqKtAVW66RViVV+8PndfT/d+0twjrDrPKiqpWxayiZwFoFxl9569siVQyde3lQGGdFEasugMb7UWyKMsNUpIh+Kgzir0IchMOisDnP9xW4En5JwBS3NZVRMlt8M7vMPLfmIHgyepVa2FYatlRhXQqZ+O87x3errPU9mqBeBIbb5stEWAHODvWpOBBWlYU0laENCJC+X7N+IOmOeLI7QqXH69DLksaDGiqWvPNTMcK2lj0APSJZ9jS9TEy01Ih0Laarom8qWSEnaL3fbi0ndhj8jl2pJCseIlCKF0YYMfXXLTarwNWl+9VzKPl0aI9m60RO8iEwMoJCzXDIaiDDlp9oPV2mV3GvQ2l9gEDjFHP9PO6DM2uR+neuIu+03cEa9Oly7DlPFjcIciH9lrOur8oXcsXUeSmEJy6KYRc1YY/9fm4xJMg7VAxo59JR3gSTUOywtlK87maaQSNgW/sws+sf0WHs5wp8FCmdedjCX+kpeJh06+pxztppW7IpeknWZDlEiCcEfpzEzT+DGhjXugJxGxWHP2X7EdZMPwMWj+Qec0vRZumcvzR2Yr7fAY8cF33010EYT81nD0zuD6t+v0IJzUWH3bDhK0VbRVUQAZEyKKsAJqSeWw1IAfFjPNKFtx8smbtN1e7P0/RgfzHQDKV9T3HeePMeL6Pec0Gzha2+XI+cBWrnihuNMfSPZHpGO8qLbvsXLbembGMA1sk/5FMhmqgAh1j0w4DuBhMm/EuY5Qq38FKF3oiS4zt0+8esGhvz3AVhPdWqzebev2lAeKpaxz3aeESnKLKqUcmu2g1bOnHKOvuy63EG4TgqSqsZQm6IO2PoUh/sN2XYSH2cJpjwlWvNJxwCbj1ypjSiByOW+KVtv/cGgxi9FeSOXsLfhSnJrQ8Z4hj7MQzB6473MkLFC7tG7d42xUsfGFv6AtzBxmU6ycbQi6H2F965xM+0/wGFSlehyp3mWYnbRmDIggxZssf+5ymNojz1rKj0lQUqyE2z0gCIPJkzrNPvkiOPW3bxn4G7xcRGtfUpU2f+MeKFqYW4zAErnOrpaYabbZoKW6lp4EgDITdWRiB1M4C+gxWvE2vrFH6Py5xH5aQ/HNoopP8ttd9X96ulJrHO6CV2fLO9MS/Z/pu9imEW+poilVy+RUFV9kppOcXiWMBmCqM5R/k/QvHWNI2CR+X3VGTcUnqyJ4qZVCUqBiCOrTao1FqxGYwq6R5MvtMjCNIuiIoiCqxuA/JXNyPphgxK4J+zcBSHkubKNCAw9qZ18o6YFpDItQ6UHJY3rtJVNVL/xcaWtzfm6sT4WSX9YAcnJOYFcF7GQWX3vVvrP4gRxitV44rrnsppWgAcl0e9x5nde2zibsMOOzrSB1Xt9ZSyhEidUGh6l209sEZZBtvLTXQgbPKRXfYOt56mtOYTmWtsnRomrSeNNsCmAvPcC1GZHdpRyimFUBM1tKwFUQsCp6JE3h79/Bj44Z3egmniDtxHDvQt4Ik3asUZcpPX8BoJ7FbGUusult3PP2dIRZfAkx6bVjabNCHABDS7OoYICylMf6XAc69pj8Poz6IjCjMq9D+L8AnKtWLDJTxfOW+YrWwuM/60WKFmu7yqDHLfyY5aeDHCYEcm7/d/98xIXmoMxR6mPq7RdIZns7Tp0ZXDozBb1MF0x2d8TGf0FoQ9G76UE6+fYo6hqwYFJF3o2RSskIq2tRF3XqSFTswWsIth2E0SpCgV4irg+HNvx4FY5LLyWdRCAiSMZ/vQtBs7uom/XJmeHXBocwlDKTu+wZXNh6PECxGjPwM9pZ/xqS847FTdlwhDI3UKHO31Crz2/mSlFiIMd8KI1WZHL2htybNYsdBQvgaMCT7kTPNRYnRr2ICePy0QAKecUH3qTgbxqrY2bGI48rofKBWzOCfF9WfRYzPQ5oCER+d2/vKS/qBO8djZKCmnhIylX6pwXbVZUFLeSoBLoxGH609+E8aCHpG9MK2X+XB59Rv5Erg8plBP4YHOC6r0ykNU+k+jJ5MJRiljAy4uBPmC4voZ5TU21RmNyOaHh0CXUiNwEm+Jp5YlqvIQYXUf9gCWPmj0HEHC62niWn5szhCz+dF+NWbpqi5axxqs+uE7Eeov5IngyPugiZ8vfVmBvi81Tt3mtwmgNkUcv1Erjvvvrq1bmbbTtlrAvSug5/0RHpE5aC23F36mP3pikAf4kQU6eP7HsxPDDm145s+E4/GnsZ7/9Tj774VbpOry0fNdbxTcrwJr0muOHab+kv8zZUt5KE4r5WGDZCFmj3lXo21ohj4AFxo+CHm/CZzZUZ0RlAekJgWVJkHlQYQaxxWFQJ/Xh///h7vh656eJk+DOZa8bLOTW3zEtmwJ7DHutxrXVQ9+CB3oeaQOHg6JzPMrTZd11FGQk6gTZhNZ4yL6aZ0UHmDugnGr72qiPb1HksLheoZChLxzl9klVjzp8cn6WY5svg/PX7e+7YemYsFzFpvWJN0qVaYUdE6Undjo3oyTS5edL8+JcFatHM9gPXnC82L+N0UuP7qySCGs1LiyyEgeGvraCb4wSzheH+0GSSPjt+l4EC3crl5oRKNDwEPhc856Qo+4NGVUMQfRIXZwnDNia8gIO3GeNTlwyW+nEuKmxxpXm8y/DKy2+Tm81QlzKSn5ydSTjhHPnh+pVY0jZoFKUQkNVy5xr+cGI+8QruKDairiEGKRtT7U48jx0cYHpbKW1Sw1mXo6DUACogus26I/9L0cQvJOp/U5lc2nqtOHnNulh+vePEifwnJcgjrEGkrucEym7RwIZ9Xy9BgDRXspy1MlWTcx1aPziZ+iPKcKvzuAXhVMeEm5slacgifdv5neMLq03JuKa4CPxcSlYvKAfQicvZmNKDyWxG3wUO/zcmG0gl1PmIpTU1AdwpVZXzi7BAFgsmZk4unXiAiHfYY8prVPIXsabTKdGTSLlN0lfh2opWnzMzK8qRcr0bdbUIs4iMAJPw8xsCNOnevJjaJIi3fvpchW08bZ+OrEabcXhXmpKBAaXQ8hyacnGN1Qoy1M7c1IxgDSW8PtXzNOGbUFgdxK+i3P4UoZ+3L0AiyRDm6yjFb57ESUy03HrI9X/QWTBHc22Xb0N3AQEZUgiv4guzblhOvpiDyMV2zuGIueOR9+mbLd2t5GnSXxUP18p7VXRZJT4aE7QWcy6Y5YBGVwFMjloCJPj4uvK0eU9iSSi3W283lBzfUZKGNwKRLHwVA7oG5Jc+/3IflqYwqbHAmSFojKx8DXwZeQHfoGgtJkCG3u7W0mg4cR8iGWToVPrA9U9ZhGrUkwWE5zkK5XQgbUA2lbxf1aR5r/K9hfcoG4wg6rFs98Ckl9dmP4Y+6XFPHMp7fXgnh7QWo+H/JVp9CiGUeG1YAHUWMQKl0XDMZaVE4+6qWCy6SyISKjRrZs6NoRb2NSTLUQDV/2oah3BZ8JjYuN+4iJedVqcDShqoMhgSACHUqaAqjgx7ofHsC8xblJtkjNU3WxwtQZnvb3s0LUbTY6D+ntJ9Dkbl6MnJ3HpQ2mXCrLoVjRtcYuiMMYyLi9YL0Nyhz2MXBB8XkLVQ1eABMZ/XTCYcQ3Jz6HwBfPSzi1twwYGF1q/wu+ZtjUD3Ua3EyHBr32sbM8+edMH0V9lyTl9RTZdLW73O7IDQ9L2f1cdFogAyRy/U4fOZFk+C3lRcQsPgJKVZPxbyG8X+LCQimStftF4j3vpTR+AxEb3An8pTZWBAV6kNkJyHxm6XgxcMWngtaGWt2nAK9cq83TNPOTpVBvwfD6GtrB2pBbxn9tN2kiJ49WtNZJealRbOVOzBKfXzmjAs1UaBSR9FH/rof3yidzhFp8Hhbpd9SlGLRPE7DwEQInrOjkNrX6PnTC8gGfA5aGzPSpRX17uuBIDINswyGx8ilF/WlclLcEnLtyjheWBfcrDOZoiNLvgSuyYh/mmN97VYXwDofYh1mDVj9+ITuwDwXYdR6ut5IauYPo745oVUS4QduvKXzHtL0vnzpNCFs965xg2kx6NvBarz+nb2XY/L8fWh8UP+7WTgX2xWLauc35F8/cpPB6NAJb/uiW9zl6F+5JEUG+DR1CXKs5CyFKG7aj+Yyy2dJmJMNgXo9S6hF3HzA53vwhdX02jFv+5K59ShVH0WyoRkw+PXpx3+pbJPrD4sIl62hRhnuZWk57Z+fgnARbuamdC5VK8p3X1wwXUFAFGVRbtFV1pdRWZRHrPecm9qyf9iUa1oPoGngt2hJxkTWxogD5RYLYiw3y50z5aUHcSKCqfI6Uo27urf6WO8XMc6ZBlAEUwkuuOuj7KOfd+DCGlRwJzGE8O4gNTJS18vPVNQggv64Kjn7IWLJc6Tjg+NdIdV/E61tMHTJcCVzjNaJbvWjmpC20CmhPSd0svnufKGcNtIbkWALi0xxvcsOjyJQRpj3HKSdrdSDJnKDRQMgAbrxJpV/qeN+kq8G3vCt8DedX87zL5WH/v/ArTJAGQ1L2ZyNtFeiCnzGThDrlI1N7hJVNXWXMd91OnckSouknC0VZLr3242c5LxCN4u5rc+yvERRj1rq/0hQoeUyGjLaIWhWfE8zJ2KAHC7F0Xtn1hQYohj8LIx31Bc+CEuVVcRWprlWxhhr2nKlj26E70iR2JSHmZqqFA3q+7cicfZbzfd3A6ywJNNGytkauVUST170VRPq+j7Vq38wY0uZNX+RwcLGkGUPhQBYgXLhlhTk0Txhm2L/o2wNpOYzdsPBMOU6+aDXFrCx42ec5LbWaJcw6M8nqmVMR15lWmxqd+ToiA6D8QGJUDBoqkjw8Fs3WKHHNVyKnYIQqFc60aGn6dykCYiJYCeO0LNxQZhVuqTV7dfZU+lWaYGpVfJo0iX5ey43c2YbVqH5GtBzMQ2fLjR0fe75kd3Anmx1bSjStvSQ24XrinlTkI6WnRjpim0po1951qiNYtLPWDrGLhVFucOIHSiMnQgc4HiE7v+uIw67d1iZXEi2tm4vyE7Ub+w4XcaX+2YGLbjl1uIJvM20aw3iJsgtCNADlLjqcJDObgdgUD0vZd5GwVpVVXImCADQzGdfaJEw3yA+YxWg11zbcDHZYKUOhycCl6ZcGiRof2vys1pFYeBlX3RpOkA4T0+UnI2nSOj5ntBdPgXGIOVwQiRKrWdAWw//L9EeHeXjtA4zvf9iTbcoRsKb0Vc+o+mOW0B+qs3LM45xiXVVuVj5N3SxSmVuBgxIz+uOe3zA0UHJYsh+QK5hzpu57eTl79TJqYNLtfwuwq2dpktSxkRUMU7+/INYexBX6AvTWuJlEoaIw8gWVBhcsrJjsVXGFJNdbJdXAQQS6d/u35joCO9qq4bLnlA+CuEdjwp6Z9sIrTf9roBkACVhqQlnA6c0QHNiRUh3jvwabTU/OdAUi50dML+wBwba29bacZEHyiehRK42mGQKHGonsp0cyWRuUUXElL4Xnc/vbc9mJiWwuqQ2Jxk9Z7C89mHhRekuk2wDjhkx8IbUX21zjofWqTMm5MEAC2U49e2MSDDEDSPWAx/5ROf1fpdmscmovV9jy5ptOeGrOS4e7qWMp+9Eo16skbLb2V4GddVxr+9lG+yfFuZpnQ48T0v1rInbBKBdy67ODSdRbglohUS0jPLBAFWJYe4oqlic26am9Lb+eUPA+DoVujh/MSDNyUgWbZp6Np8qEkzaflnR2pbqROwzxNdw9/d/BoFbWYPZSRSwdVL/puAMqM5H7nOFvKPERiP1cfFe47j5MDQxEwlj13pUl++B9TCbVogcJ5HBgtKk79j8qv6ldUNNWZcxkrnee57hcxIkJKIEEMDres3pOguFl5qEKsWNqs7kucpKOHcW7CyfbDRnnSBa2N3o41rDvzbmvrSMWWr1tkkeG0vtnw4iX0HIyw/r3EDCCm5LXmeoykxaUA/tPn5NVnfjRnBlg3S0Z1R3mBlOHZMvqIN43Ewv8c5PHlQf9ss2oVB8n20RcZJ+Tc5gmh+gIfBkv2G6S3eQEbfI3fEAzynQfAlHWu867aF01ApWmLWLLnEhKxdlXBKSuiEGRgrBoSOIIDL2mPwpyiMnlXNA/ua8oh4KPHVQoY3KCyvSlRSbFHFBK7eWnulpmEQrhYrrm7KU6JfvkBcm18KyO3jSI6TKkpjHivxwOLbwzdX+lQ3MYg6vBveCqvrJ7RlcwK/S9ZEv2ngDWHudUMKyo4mn+V/h9tX28ajDQCAe3FI6V3sUmdOkYWVg472EdBffxICwO5KIMMiGsE+ndsS2U3zNqas8ZAu1SFJrNYD4YsrNSFO9WMCKl90kSpb1yF69ExXIuYoJbzVhGfPQUhvFqRN3w3EDxwios2kFZn7gvSSGIf0kf8pFAe9yqgWAyayzFzOIQ2GgAzHltXL+m7sL5dm54PDrmcp1cmgbJfsb5J0FD2s9CKEOaYFM4WNOitzu1LA+NPdOWOjANqm15q3I/iGekaSTSGgRVMVWHXItMk3okcw1M8HbzNa55MqxQeIGVHkLdf3mHdrwlca56nsBhN3xk7VRw0ssUE68bnfgeV+d5VMWNHuMpL7CQesyEvesP9H6GIIVtzXPdw33lGa3Hq7DN/CwItiNor6KKr/43wtp7y2NHM7xNx2k5nxpr66XjmwzJLF4fN6j/Z+pWUuoEYlf4EyTGY8RD2pc+TqdJRNxJ8LY2wbTy5Jjd6IVU95wsNJYkioT6MR6avNLVfeteh5EXcw6LjmFy7bn11JM7OXFOGjajwJuniWshgQDcr3lRJYgNufsSw4TfrTFBmpbAYRzDpJ512wBr0a0k2LLj+poVyrBRW+LuU4bqs+PgvztJXoAhyYdJlxSN+bZhW99D2c0GhN4QAe6CoummiPznBDgGB1mY2+jXfyAMDFpQn6xZE4TJiyELDj10jN4rkeSDlgTgQEG7gkUir+/nuVTGSigGTMPzN8/nN//pzmQk2cGVreohTO2Eo29fAqEY/0DgKhq/QyQ0M7I2aHx2vPIbS6fGujLqNuxvxcnBUK9Fc7UI1EI5hos3oLRqZNMLZV6EnjZeEIHAv1qqcWGoGC89BpLyVLEELGDBRlesma24zZ000lqSeQvSU08QWcd5I490pOspwYIxGcGWOrrAKB7Kstxk0oBW0WvZE5+qMOaV8AdQZtUOS0o2pT4NfX/6Rrut3P4MErkKtKxHdCMpJUn17qBr7ARv5tHU+AdxpQlo621S0vMALRfY/ZHS3qqgIdQVHRmz0eUfUiaYm2t48fZYHwV+nBJEMPQ593Rxi77/KYhI9gRDizv9KTOa0xisWveAXra2czB4FAwgDHKLU3PK8zkBKLsRARVIG6FzX5smrkb0771EzYoC215fQRICQlQ0nJayKyDukZPK4WQ2Nv72MzBoJP6DXFkH4Zom65EGg6fK+oTI2/Auol1R1fmmEC8afPabVJ2vvQ5Uw2ekposeXSc8bQZHiAjE3ttiqONM9Yr6tR7kB1pipNYdWlYXsRXs1ozcrKUpYeqgtGcgB0WPat6pBjui5IODs0ea8fxLWWrUevJ21TWWeXuBI9AEDD8s0hZ4vZVZrD37qmBv/R08IMJhgJDJh8HOD6GskuS35HrE/TGGcklECAa7CYsjQwZ492TXSdDeRA9Rw6YGPQC/NSW/tDS98DxCTyWLoZndBxJb3v/4Eax0QHEpYNWHboCzkBFwwFboGRd8Z5Zt7gud9qgS2NGwUl5oUGF92zZEHeMOtRGIq2qS6j0YEJni+Urgf0HdiyyphjAujVWP7KVn9xgW+kz1UayT49EgNKFL1O3QMfGq7aJw4ZZxuubBfOYzn62AKwy8Ds5oWMDHPU6Woa8prM5zfGH8X9Z7nprstFYp32YENuasO1GB2enzoV8qvMUGij6RK526lkk5C3iasSOjGAZUGhojza6xkgohTy+48uKTqPRIEzsmWYZjr9l9EyTW64yKljMgX6rC2pb/wISFHOoC6LvFrMrAyNQJubOg9m49OAHVUsHFZ6E9GKrQJ7wWz8KKkRs7T1vHVmM7Sr2bSkpM5YJHOMMolNOIFN83qLQJX4HilTTJTKsQnDoIlH7gbKPfNNo9n2GMUNX3VChVlxCpGVSXkjzII2h4U+Z+9Xc4aEezrjq7uFtMd0XUm7md/jUJ1U307qtQLQnODnfieHtv+WHfpcJFf40FY2UR91QrjffCGjiAd17FUS9uk6zBVwzsRpPWxmP3CFjd+3JRRk557cPZALfdELBXfSvT4PZc8vmHc7jvRfNjU01KcrmHo0oUAC415ja4P/K46Z/CY3ulDU81rxJ4kNhD403sJSIuru57nlXhDHt7S4ZIRDqJZUcB9T9uuMlcg1GY6z30L/VPw11BGwzZcMywgsQMpra1XRZQP8P4Aw8KDicDTppXVklrUTgrgcWyNfxUyPmUR6s9tP/yOks80SZ6ofUTu38hoLgvLeRzDSjLXhN0XUtrPQTDQo8Yc5hNYh0UC2/XojkUDahfM9UFEOdEYrBjzpY8vWJNoAwPoFLSSx7a5LvjLO0PS5tfyty5zpXn5nH9+68jogOYKnK/bcqmyKB9yLREn4add0Cs5yTrbq8I7LJ6fK4b8N4WRbSExNHfMRsV9dXmbHrlCyshw0VWAOPaw7Ju4Unog+OMSGbB1La3qcSztUywn+kgdkVV+62PLQzk4MZKyrXiAvILcVFYqa5EQo1ygfiHizDefCAEk+5FT89ewKgRhNlTZdUgJqQIrSenFPrgOK55p6M8fmqogNZvyALCxGTQm+7VIeE+sPwYgPv1AcZxWlXze4krnAMp5VC0B0RIWeelX4etJDwHxkkuHITzP5hjsjFy/AOZd9uWYMP/pbPfoOs1bZtV98fXrPcvaLeW8hVIf44FQotnCWmd6t9NSuSBqitC2+5Hx+i/2qjvH53m7g4/zMqaABEojn+3lqlH/ftRnozq4Q5hfxFoyRl1NRWKuIQCcBUibY6jOwmkDUmMuXT8/FyAXusJy5TfU4faFD648yIOzt8qvamUHNCukmFJ6I3Z0+ZLB91h3vi5fSG+MGXMv/3uAE5dKYQaKE6sv1GmYvVMhbPMSz4BtaoF3bSTS44x/Eqj0FDjX8O0RvP9IJhv2KRLP7LRFzdPfRgN+UCHmaeUPWkoPXMFAfIsGcY8q/R1jooLPaac3YtHkqJJRxr/QpnCaIvF6N7N/iUS+BVIprYk0RyTooH3UumJSx2aSco404rMXA/VTMqpu4tztASDkIeQdQK/G0ssZ6EPw0eHyoRmdmuypa8jBcamNcxbMBz/P6pEveoQO1HIQ027/wHHwMKgoXsTy9zgQu6xgYNPOWWwlgYynjzBQH9CR37x1E3vrJKfI+a4FUQCobKFgBb+/JE7fC8hQ4cgihA29sGIA+9CjlOhveoq2zvInM8HZw4/b441xoZ/gdxRwY8Pq7/VNJPRqOP7WPSEVRt1U5djPwcbiEd+RiSs7mOQBS2Gs9ye54/bLEzJXF2nLEaQ63GggZiqm+jSp5/Q7Vk89HjPJEvfGSI4BAFo0of6oTBMVpTDT8gWc6w2+GhUokWn49UDUKQlddIIHzA1nWVqK6B26BnO4MqElE6ZXWRnDKqW71QcF3uT7beJhXT7amFTydQUCHltqlKeS4kDkhjfGvYzoDBwyfEvlbaahzVTR6+n4p0uIxV5UnEsyGlCd7pjo+M3cNlzlxuCBsTgwbFJSx4M4tfWaiCozBhZQL5luvKuouZMi5QGdV1OLdq5r+k1ZegZIV1R8qO0qvw8185vulkK2DUobRDG5yirhG2cl2NyICK2SCATHQNPG96wlshF6LCkAEnZLwq6KcGtvwpn/UZTXWZtzfOVSlJW2T0fPhU5BrYpgKnQ1S8XtSvGw2ZE1ZbRQSV6q9VRtwyXiYT8PiBBKmNapx14PLoXTUb7nPe6NqARp3dhN8PuaGjxp5b3KjV5N98d3oKU4etRAVRaP0V+Q0KZbfuQxkbUZmgGkGa/cTJmxEbEagFziCjsH5J3HEj+ZdM9QyFs944V2Fgk3SX5oiemYQ2fjf7b9dloh3VQ6TVngGloZTQkJc2b/JaMX/wyYJwJBbOPVqs2oR+0yV70Lp94KuvYANAzGZIvonXJcVEGtYNtSS8XfYQUVjz1zup4JPK2eEGFZAxzDRhCr7xMvh8A1Fs5OnMvcQpNJRaqG8xsRHcidoHJG2OSH1eBtSYcv7Zm1hTzBzm9PmJbmXRss8gbKan2arDcZoQZmTqAsLLnqvu2Njpef3YTBwFxTMWiXZjjJyYhaoFzcscPARh8MXDN1e3mf5ymQ4ph0IXPnxlPj4ztzDYu1fsRNU9GhFUeXNb7fnGIutBd412E2xnmK7BKd3cll11yJdGlBmQ1L5DYVreRyg3HStTrpL8/kfKjC98Bg8hvWdyOkfdpmBBMs3FNA9MIoLUHUGPuk1H7R9yEfuxladwwooeZJmqaP9CBOrx0Li/qP1zwLs24lBnlmKuFigDEuwedSWsRNQfB/RnqLewFhkEoZZhXPzjexPC1rDsnpCqPwvWW4iK98WEIzMZzMEwzPsmtk22aosVhMmbEAta1UpL0QmnDIZcQjMsylWj4TUAmZCn44Tbm/8CrZpow5nbU8OPKo5rY6WRhzl5rwDi4Qu/K/GxWiNOm/H+rQsMzQ90az/fTxVOsHvFLz8hEBWX+2BK4mLDeJ1h6F0vr76pKqrX31yhiKlq5F4uH/VN/22m/WNHUgGOFAOBvxUS6bnWlkeg+F+GnwQlagvPO8aG118XlTmHJCT7Fd8GQ+V8Bm3fHwqnC0SERlzKxAQ5J2C31CaO0AvEpf2cdVBlDolleIMw4BnvPfT25uluXLFAT0MiGsdSyI3Mq7M18Yzv/9w+x4wa8LR21X1faKwoa/YZhO43yLJfCQwv2m0SIzfCvnIJWMxaDU0naEh5pMnr0c8K2q3b0hnturuHZQP9Flmk+MIywGQpwJIe/ZMvjiKo4NLbUMfjxH8u43ge0dvFKyDUWH5MCQTSL4s4FtY069kwq/rje7zI1mNzaZjEOtMpXAXrsyV2AYRgh+GoG/v8j9a8x5MS2o5cJXvMOZcWKogG5WhF11S+rTKOuRQBXj6i5ZmSR4nQFrElpy6TovF3sVBb3UZeCL9LK/+NA28ZEDfoRfbvbk9lRTjqWijy1Yb1+aylBGQfTMfyHBZkl/VeFuuzKusQ5doqQTQ0L36PLRCzOT3R18LNuK7GXnwesJEqWlavpDOfo+NpiM7YFNRW+El/nMq6dcs5jibjWq7QWXci71nAZhDzqzitFNME3t7pIbvkLnCwXEWCl/NChACHGMVLQCYVEYLGYw2znO6jIMkankWBrvyg1n+xntx761WJnjaij6S8sDb6JAMRRPNazW5CEsjKC3qw7cZkNHDqn9dcNZ0vrnBmAFK7nvrGB6AYrb6Y2nnH9cwuQKTOaPeqMtBzKfdTXQECRKym8WinkqYnP8rUl3h5sKaMmNLsGzrvyygHfZ4A7E4xxwDwJH7guBsS0TgeDTyAZdZMSRiI/aRejBfTC7mwhi86d2np5ge1A29mlYC4bMMGoDqV/MAn9RFiHYWxyyNiLT87a2MpUeH5Go0CVbQxc9nhqgDx2QJNpLqlgDFqU4s+0bOssPYb9AGGxxsA28qfJgaGYSj9kh4PBibHdTEgNKtfozuPQ5pm9z/Lmz3vd0Ji4vbT2sId4o56cZBOl6Dc+ywYmHPYCsI78ozg12IE/KdbLS9AFSz6E2goAJJ74vl746VBYM4TvqFbw/QQ7Yt+Qufe+6tq029nHDXsdgY4N3mV9M8iCWBzSkA5gDVTq5SBCa4SjQnjWqyjWOa30rKNd4bFfTZcIStL59GJuqZ3kCaC6TjckIV6RSUF7xOrfyh3K5GiGw9RdUclJVe5Hi3/LbPMRutMADl/30yG/uFrCwVNo7/JKvTp3RmTcM18NaqE9JeVj4qNNZeYVhtqBTHK1SpWsRWY2DyhHQz6YpWoklO41X/Bq89umE9I0H/2h9bwPUzXpmoFsrqo7anoJ32IcDlLnVM5CQw+S0SYiwj3o3Id9Q6Ki0nnUshOVaj+3NKgT8rzfrYgcPm+qRG2pdNRz6rphqwB4OiBtgQ8Uzsetp1FUFN6hHunI1239nbpAbKtQgzoQv75OgScwDmbpcvSzUno+0Q+klL7+5vP/wgRdSpz53FufaEO1vefaR6RWMmgk7ua22Wn4Iv2oOq0xgSIuDlrvA92uhICvzhVykk6hqDisxH2j7o2ymnT2yo9xim09mNLI2MPdnnx42lK63G9HZujGHls67mqJVBYdIZ9muPj7PCt3kDjAgjt0C9oVCg37sMpHHJqgnTWrKOuh/+9t/6E1KMNECmv4bXDvG02YjHIfNFZBgTBFG6FMNFKYmqCHFlyWAz1loqrU50ucu05oRCZhitib2X1QMvdmmnpchg5Co7arBO8zn3oZ1tofjiBBybASjbdkkMn0cm0wLqTdmrHtLuUrK24DWe6LQq2MOLTma7p7/TzYBmsQFJddM+l1Fzb37FtABpWUmXFMi1Y3fZDWE7wjY5d/pQscroC2QIdEbYh7DBtlASqBXnuUnfXGDJXx/uPp4B6A7/M03dgBQHW1Y/PWGVL0ZGSEhYybcZ4OAyf1WL7p+tdZGHFj9xGBvxtKrxPIw/wUGn9iYNUcPYVy9FugVz/qddYmybjhI+swcFNpkzyp2SKiHyNHpr2cxeR3gTM09/QzwKzm1ke7TcV0kuI8x8uoDf31i+YweF1luHQ96zGJ/P9R7hr2YzFFYCY9rQ9SN5dA3ZK6cYY748rBlbx4SjfOOO1AlW0bsRnnJLyo41NRE+ry3qUOW4VODT7k5CPOVVqNEIcShD1q1+uvS+BtZWryAeqeb0LHrzXitdk4UrOWHzIAis1qr0VKAwgvQkHrREEKr+5lKJYSHGy5KioiDOt/Vm67Hi5dJBnEsTOmMBZq6Jv9KfCDJvuHYul2H6wnJb2O6XMk4DNr0Cp6HZqnb7Ai9yCaUIFKSLfBFaxa/Jk1CRjQ4zyAYaI+gATBExcgE6YKfSayd0njLmriju7q6d3Esm+vjTgUGi8dNsJw5VkXGuwniUYILvTQG/HqG2FNJr/9e9kvpBm2u2Mxc/HQDNxFSNAx4QsvDnMgaSnDg2+437h4CycFYtv2vm9T1c6encGG4ZzzRui4z7ZJih0zyQ8Ejm6vXTfn/P4gv3498tmyfwlfn5djrsT2I1gKAL1DP6DMXcpOsaOVHX2TUGAl1/KD13YiCIfEQVrLv2kAC65CZv13c+cjFjKo40pqDyJv5IQUHc31ISdaUWPDNwADlL6uNxbgIG6PS7RfA2bVM4IHmGRBokCfFfsAGwcm3SVNy8W5OTwKd9ge5qok/vzY5jo0G0o4LLqLiziE3v2Wr12Horw9vC8Cg1hcOSkoVD8AMW5G848LpLYowejfKF8PqNbzQ7bKrYeuab6pkamN3tET3t5j4eW1dpsY2YZEmUMlYUvkCQBuxshvYMoap8E0483YVE/PCOyPDM1oA49zzVdRw+Ox0g2a9fyH79Bfb5NfF/SVT32bXFgtZVMGOW43HWM8kyj2Lspr9dmmfUrP0aqEDqNQkJBOOL9sN3ZYq4IQRoZF9jM8gsIa+gXvdzC03lJS0+sgHCxffY1aCIHKQqRJKVMIiXUBakg4ShHM73xQFRjAW45tOwJKEaJoGSUrTPUl+CVeLEdBixzaZ7W0DYeJ8kVLdbr+JtzPJoJNWvk7gBLnHJDEWeVHdnq6NeD19s8OoikaJemBbgWccLw1ln3cp0g0GzkaFJnEDUZ64QjiF+TBVC18eBO5vN/K8LAWsEwYLnvTpg+kt+e4rAWDfVuu5YCHl+/sMstjp6WSVTk/8uzVtHgoquOa11ywuVoSCmQB+3rPpvNMubaseAd3fA5hDqYEj4GU56uDhAIu4LAoJLuyAFl17kkrPP+1afIWM2oWMbVWE5SEhDsaIv3ZGGlt28YPBfMPD+mXJPX6sVexqz8RotF8wFjXMqUc8ZZTn9kAA+lRmZdL07OKuAUlTq6aMzEEcs4QXwXMl8tSY/Q9FxPteyFU7fJ7n6RiJ0tkCzpLOlqZaAfNiavybsdynjbJsQhkPAFsrv0Z//1SnGX1Hn3PrUC38kWwk7v0CllP1A1nokkI/CDLglz0nDx/litVoYFOWZp2p/lWo8c6M83TXLZKfqjoLKFZcCyOkQTWNnILyxyZgkTXLtRe/7p2sKeBb9K1oPpaa2B9ox3QxtdVYnAcffDhR/22AobDU5IgYC4NBQuRdjC2sg2vgEqNWFdUOYtewWGYXSHvBFIBb+AMowgx06KxFcTTrKK62NzxxYFrpjGNMPUfVWCikU6DHSLFNxU3mTGQJDHWC4l1AIKEJO7KrJdl4/c6MhR8RkXYVA9j7OEIzVmy//xAl2/4A+0OJQaSbpeKzQTv9EDFZtLHeSFPkPg20mj+lxCO3TfOF4P7KcJShK5RTkIPxU/WxX0lp9RNYMhT0cIvnF0C/7mL/p4It+hSkdwYn6qdFD89/qx2TctTReO/VzSV6sGzwkItTFTa7UF01rLoZOH012C4nHYCtgO7NsJpAdW5MO86q0yD0gagec3hE2ebYshwYhInJlL2oP/PHZiSXyo2hTEAxauMRMTe+P+g5Gzk9ZrQfX+vb1Go/X14rAx4t6NhNktWoTeW5S6nqN9O0+zJ1JVB2ZzMZ7M6X1oLIIK0QgM4lp77zlisGGfbeS1wIp0i0Q0EsbathyLE0G7WzquM3fZPrrG4mrqU9bJfx6L+zY9yn9x+ybLLW5E7uIEBaq4RSDsECeQ16CZQ+QUeQ81FG7T7I4U4wwUKm8SxJ9nVZNeWFWZfkvX1eJ/l6E63apmkCVhR4q9CmUOFiUr/OUhYgXhZH+lVB+melwDlAVfussKe7pUsY1BT4dX2uPw2vmL5PcC2v9tOSg1i3e9WsEg6wkLYlCHTeyOD0Kxm4/Z/K4Q+rYZODc66Uskq7p/AjmEdGmB/XvenMvcSH6n85gaaKZOwRQ26eSseljT1ZfkavvKhOfGccCo7yYkslPYDO71LiI34LW6eKl0MMjMKjAYlu9JDZKsDSMXmJ18fLpFQ4uSFqH9OJozy4X7u92OHHnXBkEh+otxevhns+dfgSaZ4SL1q44LQ0hdOuVl27ngPjCUCNjkGcdYxuNFl81vTFIi78n9ju2nVDH4VqEJ/RRz14XaL7AaLREyBHvk56iqwo0eyBW6BQRjw6Hmzj7pyR0v7vC/jXtPyuCDWwhNF+IDNEIP3nYqoR/bZLiptMIQbzhdRb0vzkBt0/zzXEhXXSHOX0blo8Eo8MJsdr/5rqYy4mtiT2PO8jb0ok0pDGe0Osy8r0QVOIMXnS+tTeqdeIRJmC/jbfVGaLk7V2xDLSbdBErvWmW9fSli16IZqH7GbnXpqK5+uSnKP4pKT4DLHPzkcDvboWzz1ATZv6DneoZ3mbsh3UZpIud9ta89bnRqd2fn9WtfR+hQhVQoMOCKigt5jLlzIcgLF81KIH2V/eOtaGL16sylVDDQoE/IspQQLN0rMsm2MTuRTwesu0nobuTs7KW+CMiM0IPIFM9X9+iSLGmEoSP78L279xrL/8c1tnu/+OXohKwLCwI9U+7bRIgIDluUWVKJ9xBEhq9MBPpLxZG5GwSMQ6Y6eTQJXrCSLkBzV3VALHr8/3n6phCddWJ8Uamaj9wZQR9x8yJlI6O80LclPyqKS50FhU/ALNVrSaRPIenMkvR13/fUP5ZDbJ/cfQZ4agt6zXK/iuPBGOVRqhKdLijieelaF8oq8ZT8r872AsCbFHRYJlPiIKQ6S5o4Sl4AQKtAA0jsgrocp6V+oqJh2hh7Xoqo3XuTkjQBiQIOOMtjbfgNfjXDpPat6bIn/scAdP4R/aSFO960wzTfAxytmdCAQYHUnYq7UOiDZJo/ZE3iudJl77vaEvd9Ck99KnSfDXacdBqtoXaEIWUXax6Oz8BDGAIm3aLjOLGy01rhawxgeoqwRCjKyRlX6wIDtk7iaLHP0XtqBvEBgLV6fD53kGDoBPKEWrbPM4I61vLL3vESfx5DDjY57LXYk6L7GXtV2kzNSKGCKny5i+tVZ+U7jIWm7RV+3WNpIl1qfvz8KzZu1i8EkMEXoxmpzF8oS1T0pzCtzlchkghpZaoZE9GXUD+UFxwRNVDMzaHaizh+9cEupxtPukxTjtvObaDaLKczxM0JM24+GfIIm0MwyX0GDTxcbblaEx+iZw/riCpaJKWt1QSsqAtewj9C+/JNtGwrxWR5sHImUb8KdUUgo5dAVxxjHlAAbANzxUe9RPRjDmKS2D7CxbbvoFpArgFEV2QdybzNnA9WzF9EjRSRGlyvJ7qRHjRtqbP5DuELLRGI/BpwMrzHWRj6vUJWyHigK88IGKwEfrvNOEOs1Ygy893WCzmw6/Qs6vXwS/hHais9yRM903kaYmAuLQv/PJ1/H4mBRIwRt7KQSzcsNVhu4OLgYHMU0Xv95LtcqQYnwyx/2RXOLQfNP40uIUyXV9sLoYlFVPbW79jyOT/N7OTPYQihMWEsuKzMt9wD7vmna2k4RfB808epjZbOyfzzpubV8n39TDVqqsb9u7MDKsk5caJzqyWe8g9ZqkQuivmWImoCFe3TtQLh+u8TnqwkUouYasoPL9hjaVFu+5thbhpOVMvtNssBvVi5yc8i4uqVWEXt6i1RSrbE0bQghpppZkrwAY7jEdI4T/toykUDCrIA4n1SkNZB6qVdonuUSXX+LN4SameJuJ0aEHEhKmUoB+6jpahwqDCQW2O1oMpmOmljePDd9XbtuNrXK0doNb1OQFn5Rq154DWs3lwzFA9Iki+R9D0KW5GnnqYNUIL4HE2lxGUCcVjruUwnmXK9+c2cNukFSCSJikZc8rB14CWG7pju/UNORHFbwvGFRZjY9DcSls7+47Cyq546rSR+/v5re3PHTHvRTGRCdmyMXxZp7E6JmJMkw6Zew/7zJXBJOcd6nmB0xTAXsi+exoF7DWfzS73bwvXDZrz3b475ozo9p20EKZBbh/LCp/Mj416gwILjwsZDnJ5vKnu8dufTm5tzMDewce1GFNZV1kJ7t/n2WpQdTCGkdeM2eLuLbrE6AzCSJyGtMag14HBy8YG62Xx7hd1BE8H0Lz4b3RZizKzV7KgEEW7Ex/WwMCsECzufYb58mozATAgFDD8oRcBWpQp0uY1E9WPlxQyF8sOF2L8RYUZtwUo51Oxqm3u7YxxepKy+L/qsRbqy8rKZZ7jvKjMR6RWsq9sezqdABxYign3OYhP7EYbTg47sdXfwUDlPMXUQHmrgaVLVO9y3ejVo+2VRSLYzfV/6RWxjRnVcI0DwBOqjhvNjfIQb1iJ8Q8UlqwTx9E08VjL7XFNOnsPL8pgeZFp7t6Fyi0NLmukHXi684Ywscovedf6TZAfKoxZSgKFacSM804z8GlQ5eZNdchjhjjrhTtYS72oiMS4megyXm3UJgbFRLcn9yGei9hDl5lRbJ2AjBQvIMZcVYLYjqdhWuQugeItHKKwstolRyIvFMRcXzdKaNl69R5nNVdDNb+1aSrJl7W+OofjNyFt0SAhn1aCbEQ4N/OyPOAhxUfXMtx3RqSXGvKiqh52MQ6wBdko7DgzJfnLMCrXrOd2HW4DXtmfCtBtIycpiC8BHRUIWrIyLpc4OjTBDduTna8tZEXckgw1ZtZgzdNxUiYTbFbjK9WhgKkFadcqzgTuvHa/7g+MpGRjSE4HHG1mvEmCCT75ZFxoCkbvNat+X6HmReo3hzMZfRdIkGthInJBtPPt+ziJgn1ycSbEnTsFxMePkdBxKrAU9kKKp7CaD/b+d//5IRRMfw3gaTJM0j7oRdOTESk0qa7UQmnzFAfoM9X7CAiucjuI3F/7l0alEh03QSSGtpKEGhIjJNWRUPp55h07894495gmzYHOiyNbXiS6r0HZFJqEvnm2Sdj+KlvoVWEfr9ShNUAveBtVaPPXcqErdR8gB0In71XvkyKWsMpKFXVJeCwGQkOzMmYzcoLWrt/UfyEVUeGi/SkYs/tOIfi3718nX+x3okW5WN0kbTsBrl1Vl1QncrhpAL9XcdrX0orsciHm98CMavi/b4lN6wJ+XsdyToPv3lHPwFtcesB3LCRbM4BL0oD3Z0Us4tARz+XNkT5e1Vg8lVGDwEJXCkwHGDaJjpsVHjYaFnMgcR3fP8BeBGzwTI9mnfbjz8nbFXTdmRHOeaTvPWjda4D+MEsO6NIrq5eVyVO27CPHQF+vhV3C2zFiulCJ3lNFfVzakx8xfhqZ8EmEaB3iyuoU9mTD/+iogluRjf0qu7Bxnrnz/6AwQ9KffLEEuswLpT/aQODgDD6Kb+6ZQ6f7LkrnjGgok2iw7eXjGYS/2sPDtfz3Ov0wEJxctSuPkZkpeFG5U/h/gyNh1zjdzD5jw++2lEv1H8gKzJqQ9TA/b+p5175inF8kbw1P6UUU+SPLZLVPNcwvr+OUxwFzucdAnF+ODkHCx58quwM5JvQFiA/rqNgg+nFS4zbS+0R8ROi9G5tT8dWtQD1Ry42SzGu7wiXXE5BY46RN7HbDi8QTp/9s4dKtXMxh49a4s2K/yAn9SPyQOr7QWdIJkhyU9YWpxSPVjN3mVdcpmEJADdOhcaizsyxry4ozYldgh0GuCGVPLUKfNmjJ612cJyjzFxVpESbmKfwpLDI9sOkNFZQLVmOwnw/9Q38jiOgLsKKvCEXEOVz45uHWI0tWeHm2FE7R3chbENfzFHoNmOfEWszXIUZ61WyuBLk5c4jGMBXGg82OHqztxJKcxf2iuuoCdkLkA3UQnIVA2CXPYvk8gpVgW6vjDUpV5Q8/IuRpBEmwOBCp+IH9dGeSv6WI/cURhxu1E7ktATbd/G1EPQQWariaZg7mI8c8COxA+7vig9WG62AefI093sUQzVKIMTQUpqYX66YuDhDDn7ppaCfeJFhdeX5bQ5GtpfycJdtPO6mvppRKi5WrLpAXjMwAgn38Gm2RIWkCOijFe2qX9wAbjufUAuIpbqTQO1KQACRvuIciGSCZyUBlyZygZATTRPZHKybo8JC+Ietj44Dw/m9Nj5s3dkNsNdCG/DTKWdSBtBRgvWKaRw2OYnf99IWqDlFVdIclLEDJDWp6FsJUtX65M5pc+xwGORLT3FAyWuC34Zbng0/AqH9SDU0xYNUBvXok4Cc8GzcZiCeGBw7aTjohlmjqkQmwy5D5zwuXBxCn+qfteAXmvJsAFZSnV9n8K1AW3Iq0Pr2jsEW9v5E0G/j6/KNEOLH7A+2KjTzct7nf2JXHRuXHxdFpj+tDqqRLjzJgmYOuTJRtSLimEkiFRYnRLKhqJRo4ZhUUjSb6088+R1fDOwwGpDEHGlNI4FSsLtCwYsvN9wbD+dIdf8Pn745k7eXvTTJZ0yzaeTQIilZ5HfR9AbSQpf2W3p1q3xluAn7dSrRxutkiyn5lUftipr5sfBLKm/W/NihPw7o7/mKjKyqPj2oDWjASdKfoX69+2A6SS5tVg5MWI3wjl2xsd1jDIShjA2XrOMBOe6PWCHSCcobFK/VW+gcyIZbDKXAhpn1ug/mi/j5nOb72CfFc9duuR0beJrMBytBJBcDPMAUA8YEZlNwbY7YEl6RLlPQWBn+z/GvgwBtUqRpbbrSHY4SYjipPC3ZGV/ZvraGgJpOXFA0ZdjsVJ05iYeOkjDEuKENiES/V5/7OJ/n00HuDUuTCOyUrCxbQ58uozMDgFJWmRvBQ4YdTRu6qaZujyYVuStnCUOGUiITaxGz4CiipcnwVWksUm6JVoMOBi0iMvV7itBNWV3KYSqEI9VaSkZYbNjLbZ4Vf6X7stg6YqSpTjsM1nxYyki9pt6tGAWF+ZnXt/xRSp9ubZEgxtX61hcWjOrUsMkMzqmXU/K7vZfs6p059r4e8sbYCD0jwhdSFnRCzBInUHvaobg1wSIbBFnnCWgXRIo0Xs+7phXLK3QMc7JxhnEE0wzyqWA49nTa2KM6q8v6rSqVDl3mPuwPgf3AQIzgT4knRVj7o8z0DZZtAAucu7FUkZT2OWmV839RbRpT6H0HoFWvxf5hlqlxudUICnRfh9V40aV9PnBpgymTewKlhfuN/doR5VclmVK0IvjR9i9JSRLGfomi6bIk0ZuDJTwm81XpgwyQcoBFmIM78/t/YmRljiGzr7489gtxitQuDDxJktIXOpvF7ETI2b8CpCEnQIOPGm5oRryE8ARTdW9XK02VlkArUjv5E6hElYBudnx4o+RYBtc2f6EtwzTdBdvHwVJ4whV4Xv9ATbH1f0St88FNao+E9V1PBnc1H2lKETBOqYKluQd1SED1CexHb1i7hg21AM7u0YSv1w0QhVvWNGS5BfntvWq/V7xZZX2m032kTDLateG/DJ375nryt2eOTDq68+FB17l341G3KfMApcTBd7VQf0G4FALmaxxa+XKiOk0TWDjXVguKuR0A7E3VawM8EmUmZQKJCdgUtu6Uc2/GT+/2tbV2AgX9lafiTQLdbo/Bmnu36z8LVnBMAsCrP9smAEBU1bfdXWkcRvLb7CGLdn2SpgtRJCa2IgmL5YHgrpm43Kpc0+RoX7sFLAecmBGzOX8Kc+18ESjx5evpvflyA8uiKZeCUWz8oydmy1OBQLK+MX8tr5p7fZWRcAsWibe06xjMbfjOgW4LpN+RgxT8Osc8e8QePtCJcFsdr0OAQu1lwIjeWJXBLHVIOxR33y6rncODxCUvct8ZqsMUlABOteWDSEBCZEIBF/dNqu0S3uXTzaaJO9j+gMLHpeV6AU8ee2yqQW2QGmqqy9SemqnhY61WfTZaOr98RRpJhX0yxrMRZSCq3PK97QYzEzmbgnFjLWs1nR86Ga5hifrPdORvAatqH9qwwPwP5l0o/uJUMzBqMuPZxhyLZdB0B+oYOxfoGh3ht8rqr51u8yKVvAkcSL/m3xbrV8sGwk75xyf39653apS0PIYCupXBVPhSsTDdm0rlZO+02Nyg4QqnHcMTyR2C8MN1ND0eAASi9mUcJGBG3nYuFeCTYHaAATXJEpLhiShuMlbEtIDow5fwiW2j8dcfpkz85PRXw1P1UwVE3tgiIpn6O2vYM6sU7hCZwcdbftbxkcKG8/br36kMBWrEKQdgfV/oKSl249n5tV3IYSpAfBuhYfxFGSI+bhrrYdr7wzLFWWYjBh8PB5+g8Zov5qPRJahL7i9XkIwYUknYFdOWopVhMU/pUj35yKjHhXmI9Uz1yeXIIq8wPoS8O/UGrbui5rGOtqZBzUZSjS2uAxCWHwVqK2aDcNjOBb+jEcZGSQEWSvm+c5AGSmHDM5PcyT6iow91jMd+a/tJHZ+RjEutbE8AVrvYjEsYjw9o8/sEQl7MkfhhlL4ld4edktvYrI6at4mv3rP40kZazQb4Tr6Bmt+KoiKuJNVzNZ6m4a15eVg2e8OWmPfhuujAvhQUFda+nIKTVjnkKuHTh1Iae+pBEUlTUhkNss0+CxRsQyHE1uBbCLEGR2ICUMUM0/VPlHbM6SihA7WDnMDYFSbiz5K/fQCfCYjJ+r7zqtD+hxTlLNJjMAGRjPr2GwFHLOI3NTyzJiMibuKJNqtCpLYXdH1V/R2XF+tzSpLCrbMXnBWbhN8wCB41XnwW7Wnl06iCPf1asqpshQHzlOVxNdRfOym9hsOm+fkMiom+iFY2HgGjdvNZGSRzP9HoPf0AMkcc5nLGomh7kfzVbOneuZoKjow2IEl0H+ecIU6O3fCZqp0RoOkqwNhi9MW3hsbOIYGuzZOw0E0MyFKWzFXSLZjKvOzTjZqtJxs1XNUnjsgpQDDYvFDyo9cf3wlUWVGE5NAY/YuLTQnhHiElqK1r5OceA2EETN2tTqRrW+Chqx0JjYK70jk/DLQhyAgCA7WTe1FTj6Nb08J7/GzQTYE+DetXwvjmQma+/7uf3DaRjpUYuNjGZG/BSrKHUBSlTkZXnAgH33kvtnLW9wFiIhWnc88zO5QWVHfaZtM2GE5sHeJ22hri2k6w1CZkvUazEghMZNRhlem983FpzAzwbuP6ZESxAECIFCHIrtqOrqjQbP7KC45zdJWx6UJDtV2ZZ35Xe4jsKTi57LYDcy8zs4qnCJk7PFjqkqoRR9kd0tQmLucN31bI68iyg341m7EjPruQ7AxoJt2BMeSMUrHTFiHcZ2B3jhOvj/AlrBs/LRq0vdPskmPuaAT87z0pin63otwVX5HWb2zuUzKfxJfCMSgGFftv1+PTN5yMfRhkqAzSPXlwwh8i5LLnIoW41oeDNjS4kPklu38McXAOB+MVubdeRF7lOSS79su1pgO/fm2QFuOMY7MCJIGxlzPNbCs5xawN/MTV49SrNp6bFsjzD0Cz2AOiYptxe8Y3nsiYlxP9sWdIZhqT2QGj+8foQCEvMacY96eB32W93r9YkHpxGMce54fMGoNAejT0B42yoG95hM6KRT/pyYJFL0ngfiTjMIzk72ntDDqZVFFkm8GHORK/heD0HQuRIIPeksnY84hP6SACWPZAqJsxZ/cpU2OkFV9yacUBIYS0yRaz8scsriTUqOfFnGzdxFhy9oj8iJ5fdN3V/T4cmDqftL3qlDHKx9A0XbaQgRj1QBfm4P0r/Ov1lEEajXkOu90jkk6QhtHVx2Ngsz9AvHhawVGpAwbY3G9qvh9x3OH3vabaOqfVb/EbU12cEvBELPq5CMmYxW1r8S2RM769P/FawL7vDLCzPizyNpimngwW6FCGj2hDpCdshMwqe+uquSSic/MfVtRPHGCmo/iDWdbGWCiYi56uIiRmR2GFlo/KqeZkUgVcSjr3sWZ57xV6qBxEN/muJaHOgiArxOhDcV7mwXTc5AujEjix+eEQWDWrpAAndntfgKezjtexT9M9z7g0FHDCjS5yarwioKBgJ2oIvZSB7JwKN9ZeBaKQ3nXfqV3cJC9ytyB5EeR7ope68Xs3kab6La1uKNJOQpBSK/BDxSlgoKSa29Jv8zzmQVZ6h8UHVypxh+n+O00pagMojqMwyEAeOzxy4y8kotwwnOQ7Vr+vwRnMRGHehkvExT6YcuAEpUjO6UKVmlpXi8MBSZcpMwS6vSzXoexcun5X0yzSQddrGZhrj/yumuKM5SOt+FC8aPBK2fI9qzA7Pms7SP+BTB/zz0KxiFGudxtbjcnCP9y/JSuzhsdFvne34gE88w68UUtMDYUkO+QuA2ZyKJ4ENlQsMbGsCX1oK6Mq1eurA77wBbuyftHgKG39TlJDHFUt7rrTuWY8FQL0x/FI0G7iPAOnTBJUvpD8q5WDw9uoWDUTyHtejrs3up7Xs4gZToAjI4h6oeLFai11Zu+CL06zhdsAzGYYzYr3Mdc96Ilvt2/9jmedv/TOfyuglYWPFxfvjR4pmGXeuzTu4N9JZv/bLrZYK+iRRBMXz7K3SCUMRbUsZNLoypXJWayqlE8HNWJWsP45xYzO4xQs07Od5IUxYhF5BbWBSiWjXlkM2LbAEOcPpZ/22E8ZvagWpAojwyPfLHm/2uvi/dr2KNSetymx31YnCcA+gckBcL9AJIWA2YkzL7ZAnSxy1N5sAPRX6I+MWpyv1uu7nnFUkVwY0CuBxUQ0YsGZ0vGWUCvMD1Nj5UlIil9MX1irp5veT224xLEYEsfjrZ711ljjW6vOGwTss4XZZO3/JiMxdrHJQgCVvzcXM/LDYDxlgRg9jV6vuRS9JRbss/KbJzQfn0B3r4hBtpHPyd2ipTYAf8AMY/pz/vxfYsKnHi+fNom6+WSF6UPNJoiI4khsbnCWhRvVCIQS0JPWjQXv6IqPzdL/amK2s1Si5Qczomy15X1qhuEgbE39cxa0e+Dp9xnWvBtugPZj/lgjEA7A974P5LCKQUGeHN4WZUVpB0AyhU7H6lOq2rqRYF6bl7lgomHVzqmM3K5M0cpCvPIIHDbzyP69ZXvmvogCmN3OrLxEEIAy4IMrU7O4RVr+kbSBNrSI2Nm/4hcrW0ThmDxpDL9AowFSpqcEcS7wQjBCANREhFU/2aKVVZ17n4UHelNe3rRlU+eveQdQAR/G0wHZEyyJkcstF0tvHVGSjwaKjGH1jC+MLzgpmkK99S61ZCbbsibS9Ah8sgd1yrvRwGlrvzOTSnwTv23TJpkunbvcYetyItqCxN+F/GdqpJV5JUE6bBxFYH+Po1Han9oAZhhCHW5wIYgrBu34/zzLNxa7lknCMbTLaRx3pixj5SKfGfK36n8RfE8/WeXsfa4A5PXa9mRKFq03qlc5g4Iwh0ORsfIUANbPhkmC5Ot16UP70iw4EoIAjPg+fGi0UYJNCyeW1OdNZF/5MzlluwgcPM+E+gp+CpMSHBlv+g0reJdcxNRkHXr6sNEQfqJKcbgAkgj8iqj7qq6VGmRdxYMiONgG8yq0s/oIv4yW7JYylrohK4kcEw2qGD0dBANIOUnOijfF3oyoOsQGtIjsWSuZwF2IenxQiCBIuBdhKVN328UYU8ZMAZHU04oy0sBJtPcng+KmPZ0EIYAoVkDVDyYeXQidUf8DznQHQxzozuytWkf80cliSEllvegr9cSaDQfGpy5gaiobMEwiNulOZyjNthouhJwbKpEB8tR6ceXFe7afnFZUI+qPg+HASy+qd9W2bD0//LDIP2HeYRByAN6yVtdUY4on4gbcEAHIM2V5nA9CQge8oBMlQy7LAsPET6oqABFcYXoeN/N91Ce3T6ZSAzNhTeYSvoOpUAMyG7+JorT4oBHTm6BC3I/GJjzo6nYwHn/dvn9zkxPH06CARu2uSouBcLTdYb1aWUhWGYDujaaednXGMDBUB9jlkBKiesvQ7xcTEBZwgQQCFindcEhfGmBAhfoG5ItjGtIbKqTfnkGdVtEquQlmZkCh1NkoaF5AyyORn0yi2YJRGZ6lADlnEJJPG8pVSiFdR3LQ5V9AOpxLB2/x0C6fDFxgpM2Lpr3zTeXSelUkQg/wvii0QSWMvR73EO9xswPBb1sGw5k5v/2ekVrDK4KlMbh16+Xpaq7AzNy7+b87F8mETxrQU1h3h8t95KU8YSOYm2LC+5LmhBLFgBNdyZNiOWGTThOr90YBfnspQrd452p1q0mFk03WZXywVjEsWflfx1KXD+4FbTDf5p+bFfKoAgl1W7tpuWW62ZK0wPDzxeH7M3DyEvQfbjfAsGwagXv3bzcT+OCbjUnwFHg402IuWRYwjD4tLTjtevMeqjNVkyKxHc3azDighngdWjSN9CI3VXpGcYodsssXEZBpu/+FibcuPP7MQw+3lYzi2aqTt7UVof4tKJwUS43DVKjnLaKD5fk1OyfYlofdcMNY+OzPHQUgEKG2o31VFR9+L1gL6/Z8AiE0Ze8MHi0yFUOtqqy9t137HVzyR41OO8Z98XLYcmgBAyWMdr70l0/y1Wwc7SD1EG4K7URscWFptL5CHRNK4uZ2KSx3LXdhW5hYw/w/M71vsanOuhacXRFbGyEOuQnB84XZn69I7N+yo4tuzUWS808FM1NVuvoj3SvPBqoq5VAG5vNSZDULagarBCh7mUvsaOZQdRJvnscS2w9WDCnun6cy8QTXf/Q4A36yvmoiHf/fumLUGdgX+Fu9J3e/Lf+t10RCmC99OdpKA0QRnIGb3D5f1OrQAzPz6EjXF86Zw5/lG4Csa043ZQbT8WCwIYztqK2cbbTwkmtUwxCGxvak/DxEj3/FVTLi5GhCP+vPXC1hiOTgqdQCYAqRyB7BrmGkTjyw3dNn3ke8BPIR+zJXNUDlG7FCdA/W9YEZXP/563l2Yg4sAoxjXOqTAsgMxfjeGVCOHBuu1SGPBjnfpEPHb6YBNn4WNeyuPwmYq1DAmznFwy0IQYjFmSYFOyvlJ+H6NHpit16y9MqCSmTKr8GJMGu/VukeJHJvFHaGcsyK60wgg4AQWmPSPhkQ/qiFyaUQm+r2GeD/alrdly6N/t1jSC+NOIu4BGC138gsTIvWbes+OjSQs5Jycf5QCg/anHmasObsAoWejajng49scyssGoR7OWJawvzv/kq+bqHMdWB4+Cdgx8u2ut611lSOYQ7GuojOW6lSv+F1L7OebGErv9tVxjeR24LoZmyGw4El8r+3jJ32VjvdAWJEehBG4UB+S0EpcEwvuvxy7etnYUOUwNoHnXxw1Hvz0P9bb5z1AwgeJ/3pjReFxVPw3yV5MnSs41X6wP+oM8ZHTXHC3qjKgXgZ4fDnxc7D7sKfuwrEXZCcKfhldQJysq/0sApUZZOiUYJBxp6zMcW/ppf/onKbeON+TUcpf4Q9/uqusP8jCsIJwqaiu/CfttZzKW5xYhqu0hUKKSBD0eVlhn0Dn3OchgOdT/jyjyeYYUh3QdzetDKJ03SalHiOnJbv0RFvcVMEpgO+k4hLzre7z9kG4y64sVYlXT6RuB89SDvXLeXhajtvJUMK0m19e5i/0CTmRSrkeioPhXNSSCpOXGr2p5BdeJsDW2gb5jNa1qBAwz9dQLtZnOyyKcYY+wKyVEWSQBU1wQ7neEenXfsYJwBOfoPV1ttvMg5Ml8p1OwJt/b/7QPw1e8iTZmYbfNL+kGZDW5S7yzwdqQPFhb9Eyrfl59Xo1VyBGegMba9jrg/QGLmmasGBfTQBJKgNDGTQyUFhzpafjP07JWgE2obR1hNCIpObvUz/AfA4OibXAlncB4MuiFhjswvGYXKGxS4bsNdMtz8yF0/abVmW/FhyZkn7MTk65vUxNCxvQQuikT/4XFM6A40S59FqDVWIk7bQPZrVI5DWke51/E28W24lMk515yU5YByDL+mhTswZz0vXAGpkaznyCwdqnYg25YA8K2dJof35eVTU2xtLilYDt36prw6tAP9qLqc6znOMPNI3dU3BiDCD77hz+LCKo9P3+TwV1UFWCOM96GJ05+OYVHnwSdBI6AnpeGADxn0BHo2ud7Zudw1AVE8STHDfa2Vzt7MFQzBVEsAFvX9qyxF4pf0xJEVcD5IS5NtP82nNC/z1hX4xxcjV5NO3e9SznVS7H0q7yp1WbeIxPO2XC+luO5EQxJEhytDpTw+LZlCeun6Lk3ecdkIueeJbcvyB0pxGGrXwho1MhIGfvd+WX9SZAB4REm03ifDKR4yISM1eHQLJBJdUHMRaQ9qcn7T6oHvT63E11L0lEjqR+Eu9fA+UOzTIlpS/sz0RZksX3MXbmCY3QUNDAJMRqCzBSLeZ4ktUBYB8t2hc1QUxxTj6Bp6WSSe38zlMmUyEnzeAlIdLf1OZ6LNFeBqC8rqsyEFPUinVq8ygWHR9MKPT9uxamKtuy9r8JlBySsFzJdjMPlAiYI4Kb3nucb0SF44HTCd/JmqlCjrIkGGG2VEBFxLfejg01ltP/El9tbrAlxRLvmeLaWZYW55mZ53fJiRnAyCOoYBww2eMRCmLdl+4Gycwb5rqveKyNewmoArV6fMZ1rZSk65igGzdxRQf7SIWa2zJqOHG4cbUftlqZraPHcUyWTjDp68YiufI+pe89VfvFJ/UkWq+0wBOpY11p1TT0s/ht2svGVIb3a9/OnegTpf8bQrkJ/crK1yZJkLHbN39DuEDUPgnoVL52PcUjzlynFKomSIa7+VZMejK/MwQkGExWdmXquCX6Bp4/kBh/nzUKsKNsxHm9zFqkA+HJn4UpHdYE0NmeUEK5XIG++pMQ+vla02ubZGjZ0bqHXbojKdlR7XXoZ81qQ/Zi7J8UtlXqHn6OS4/aA+wPsPAXpFUWVrg4B7fK0InXQL6xUTxw9o+p2R5jMawoqDjUoBSqtfOFMRMeoP/eptJZB7zoP686vAyyLAosNOFCF5cqr014W32scRatG0ffSafCf44ZQqQdaLin0iVnSYRACOpfJid7cyftauHHtGnoBEoCY3oDYd/A8FepsN64JhSOrVrFYDfB2GO+Gid+dhgox/wMSpSuo39UP/gTM1mdidCrHy7GvJyjfTnKIO4vyxOOlWja8j/i84SRU6HAcDktqYmhq4QdpvSt6e8f1nGzSHJAspE4q2QZbmj7JBL7hs4/8uCgOLa5AaXFDY8jqdWe27LxWWNm3oaCkuQsIY2++bXDAKbFIV3BA8AwSwepuwlGMj1r1evbToX9iJTpImcOtMvH+Ytp5Am0lii305qyfpU6rGzpbBUUwTyDLO0ZDIc/CIFTakrZHPtTonPHnLhj0kXTLcGiGSey5i9j25xHqrFvbOjF2bqxo/1Mg8jgH90j5FPPRtFIkT7abzAGin5Yy8ClYOMSA7JOq6w2CWMOnicHmShuzUhCBn9HbmCjSgpoQSrfZTBq7nV2Udc2Bhl0TeB5k7rSL7Es8lyMBjQWVsQFR3NqBewdFET1Ya46Z7VGZZKkuSA7h/bBN1AAKo1tFyRjjDrlhP9vdmRK59aSqrMpL+08pzogVCCH/guvwBKbJhVfdVYIqKn3OYeUZUQxGB5VXPCvZsFMLjEt1mFuGBpHOuTaU8jlBGKB0wds8i4GEDNXKcoaAeytZcBZnibWjOGGXoGgtGkiYafmVPCnWG47UONiB1/lrRjzjooXLridjaNxW5xEpqTPHblT9vg2Ba3M2HTdt7gn0XSH69oqmCCECNrxU9fOqWcG83r/FqzgMXuztDb+SJxJhyrJjFIsOBp0FGKP5+rldaDNt6cIvkFo2+2d2KfEkchHziweQlM5jMIkgdEvh6wlFIk2TsVdFhfPGXuGO/9UdTc+QiBNFJtBIaysrFcEdOvsvjV62u5rEtIxWPDexglTfTJCuEdOlhvzQlwg2DmQ6I5H1J+K1Njas5usx9cJEXyb1HqpxjfsRT8hAokCiqYdMTg9AJC9RMZF0OtgvVIKoWcNUQqrFzDanv3BHQ8I8nvdM4CwBxom9FWbGGFo0nE+CSrhg3NfyWvFfhDHvjv3PxB67rboxDoCzutiXo3Hdr8yCxLKnKKIO0mf0tP5rSu3MHwMhvF4jqDqzBNQrz7tu2FMkgzhS6CVt9IEBOFjiTd+tMj4afF803bORHnhuEQrHrUFfLMU3RB2iwXJQZsJpqNtGY6bTmEV3MOVCHuN2ZTKXTOSN3kkX0LPW4KdkcT5+s5R/sr7BebYajbvCdNgiu9yfLKW3x6V6xRhl/BuKkrP4jqsemallhhFwsBczBVQfop88ZaB2EH7Z8ZeQGrVBxHdugDDO2cdNVcZCNH4PRE4E4zKgjIXiZkY1WHiYXxRT1eusld7GtI2hWEge8u/axOnARFIM5zMMqpxBX4xYl/CLxp7BhprFXMY+zrVYP5Vni2Z8cYW3ptucPM1vXkrO8F4FlYk/sbWaoIiGJ0WHD1elf1KOP6LV0DRKRAuCk8fjAsN5nadbci/8JzEJb6fcRoJA93mRKEhSlgeudpX6Op5AnDMPr24nl6ny4v07BNl+ajZUqV2ZCthv7jSgrWBi68CobOKOTfE17F4bNKP1neeW2lcGeVP25AtEjqBE2MrsnxbVtB7tFzKJu2voE1XIqfGRS1ZsCMRWrlObzY1fk5Wunl7WocnhjCVICfd1AsxRHRbBcRLwjkdIS+aWeGpG6rm48Jd9HLI/prImRNWUENDsRNmxfla18QB6er/OiNwT4y6hZFTpxx0N1pnTo/CAJmFMTuK345f/KuKdNAl87Y7VTBmAPfrRWq24Rs+KLqRalwK+RUBfs8I0Tk7SczfbtJRoHc2wwILUhy4Udta3q+L6StCKQCrNhOE/i6clkmrSVGC0z/+u8OoO4XkQhc8u3GcAvU35KWOJ3G0LWLSF4I/jHqa63I5vdNmwPi0Z99ZMI4tT/MTPMYakYpOpiLQnZMZJBatIep9g/IWnQSrUf6164dQ9OvOXwdyPGyRD112x75eTh4uWGKZe3DJXjhCXwTCTo1vb597uuUBrR2+kH+yf+Va/7Ri5lRz2ny3u9iwrPDBSXzYxNbOp1HXprOYe5waiTe62WexBVNLJF+rK4nYWwWhcWX49DaoYn4/ol4CIpjZptSvD9YoC4eNTFKUk5K8jnoHB5vHBUW9CNoYSMAGhbCVmiZjc9tXCKOa9kukX0eomA2L4PPlq1+od4EnYNvlDGsm+vqGCpscR6EkaKk3QhXfaDbmL6X6mpUIJN5cY621BDvWcCxWULkKQZMv1q4z6sfGiY+qj7kXSlmZ7tOHGgRWuzJBQOgX8eFotX6A/6ea0U1G/VVLEW4juGCO6AxTKWDlPfir6jl/AwsLnMMNyvvDvdyoaydwtdUKFEfZ6fSnmRoczeOHVJ5h8ZthFmWrmcR5tB/h4aimsG4+NHh4KWDaBNhJlZt9jUdkYfhU9iAsApxGaTtxtGq8XvT+Y7eIVHAvsBdAmKSEUFItOX4Wf0Y1HIx4RwcPwM3zHMqqHaCrI5iASnoU642OqhcoKCGcoy9i2qmz0nFbP7Py8MBofUMBD2yV6ybPC/iwk+w0v1f5Ym7tCxJuqdvXnwhktouPbRV3KYfxUd8cpzdyP4OzB2KnUPOFdrOd7dzCNmqtOX9RdlZhKjxiIcKqFJJEiKJQVO9niE1aE4juJKv8l1SCLCJL2QcOaHEAxYk7Cm1qzReVgBsAP52pNZc5u6sbLuVG0+ndsQBACQG4s3Bp9lMkLniWRfJZqSj7eghUSKXDZOKcwDPT6t53ccQR3Bo7oB4/ywNd3/NLbgCDh7F1+mXq1lk3XPlHsqNUN2Ni6ewZdbeqBHK8IhToh9jO4dGLjwZEYxeotPbQcbsVhCZU5DLz5zZSLz8zKMDGOLS+TNxqXKE5PwCMuTrQdIqklbMt20q3iF2HgswNl4DdrVCY/BRTGjgMCbwIn9QICJA1fCPEp76tfy5+ChdemCQNS6+W3KWNtOz3Ce5AQd6Lr7BTndoCkpNtmmh+X3o7BjjvX0H0LJgDE7MZZlcZak+I3t4Fx1fmpLsED0iHYmLAtwGkiJcjG/scVaazHs2je78mrThv2v6WlB4zKpu8COwXPa50T6TNkfHtFYe/34pEOmgt7eaVjM7OJVD4UJGZ0pcnWKrUKL+EX78xLIKnuu0FIiQf8QRUhmG6bKOdUODTwujglnhsn1FASAFTkmoRmbG0DxpUCa1IN2ZeJq5+ttWVxLIRY6J6B4IYCxFgKhDDyuYHVIzaadHLLBTCQHl96lWriTo06X/XMQekIG05cIjJEu/jdc+I02raDv1TIYUlB0Z3QxdvKGWpyoaZCBKbZDJ9yF2vOdsPbwcSHk1dR3svg2eLFsh7wi6E+rcoYB1RpZlbb4xnt9ThqHSrLBPZW+Q1SuuDaPNgAr70AW3mteJOtK78cysRd1L2ClLX/pzZeHOfkrxWppeR8VLl5cUJqyJYdBhfQfOvqSRZuMeffmJ5indOqfW1YujHBzGknbWNM1WTPdY850LVZKYBOPDDJsb5EslgF2zvK/UXrnHbo/yRScRvVAJRd3EbfAVoCrQZUfPx+3AQHF4W/6Dx7J+jUE5mrBGZ1hiduMwGhPknjwgAYGq3JYtonrcBfHx3yCYeY9VqfIlFR+hY4pCwHn8tKagJS58E1tlIVipDW7F/fPxZjAoerS25i7o9Tjtn+jN+12AzjGDngX44i7K515UD84z3ZD0t8zSX4bFiNalrVu1CFsF6p8D8suCo59VrJa/o30PRkfWTCq+4uiJ19jacOGbSqEJLroR9wKcetliuX9AUjFDvAtallwh6lc6w74hKekr3vCtdReLLXD2v6i/zaGioYh82EMpsRQKvIK3nUaJU4AHlx2pFTwQcIlfBA4dDXlUVpBoEIl0CseCzNFkZUC7a4q+IXWJMrTob/LgpjmN0z3d4bw8ylHlJ24h6KLdkMXQz/+lLRxDyqYKWaweBWD36/WK4LbANiEDUS5w/Ubi8E3D3ucT8oqkN8A96ifNhV7Y6zmXRAewDP2aM/j9ATuJ4NgTy+GuP6yfrLTe4/+hlnsNg7k5ONFzUL99W4tbTD671FBK26zfhWVPudlCTNLJEHbUhtHAs3Odg4n37ISXl4+Ah0J/jXI40O27vMO2/PDCCZR/nLPVFEyAjflW39Y6DpDNpsDuuHeibv42pzTThUkdV7qxxcY0UZtakjGdxegK4PnoLHAnVvEu84LIr7LZx/PT8rlH6FfL7fwvGfOTiYEkMnGLj2wyAfRXVKFIQ/TdyUPrrbmEtJfNTCJN3+DaZnATamcQFduwadRwHs+GWBS2C2B/KEIIMfaIfe72SGhvcBMVHOgL9zlrigKQGDX/5/s5i/0lQR6lpU8BCIDj75nfYFexvzerFFVzS/WJ2+j/CcS2M1zPYn042JgUWFpGn1JjQn/FHqJgQCFFO9NyJXZ1XqbcbiLADL/IBzlefXG/uwjoYub9Llozjb65rMpVvsWlsMLTIfuzW0MDyOIEGn08frT1dDpEoS3fiOY/+XjResMUeX5DRIhSWsm2DRM1M+7UYHhdQ5F9erhJUINwk0Zcg7g8FbbBKQjC9tOE0Zo/PDDgUcqOQnstMA4SMjiBMuKs+QXv4xWbG7/WSLEhjeYRYEHrbMtGsudd48N0U8JRM+3H4I6BBC88jMNHEsKGF7EyBu/X5zDX9POjN+blpreiXLFavK+iXUlztaai5QJcmQjFc59yJsCZvzsZ+iuaahICuihoNw4OPeCr8uDq8vzaqfBdDXewagHNSi5Y4EE60eOTzoLeTYwJA61ybp2qmGwxtt/XAD/ZeNdbp7GR719/zyg4lRqKUP4W9kP5lUDAbnjQGguO85FR4HScgbjHtmOPwUdkfvWgBMw4lz3aLqXXt3F3vSWH/QqQRPwJ2gRsmbqZtTpDM9LwsqO8FSQkuMuk1uVhKYVabKD2subCq8BH+mKqlnyWa2w/+RjIbKXTMZ/o43PJgr99lihcBJKrpqxxvIr//CPvX3kJ42wT8jqWExoFoBhYOs1+Wd7jHwygCeiLbZikY2PHD5Z5QeuIWuUUcWbAHc4ade55p5LFYIApZ4nTOYGL2gHITj81Z6uBZLL85uPon2d+/lrUqPNy1MQZ173oqfuv1iZ5Cpw4MJ4vXEu9n/VFNacds/KrKMuhQ74Cnxf1d/F7/mOLYzc2eg9UzsHEbnazG6tH/+S/nyS+m2nPCuZytGNVYKdRgZ9VDBFtaRoHhxIK6BnJXWDdXPMNiRoK6NCyykn16l+Qb8JsN0EYjPlwMsxn3KSgmv42JUnphFP0vC9ly2q/06HhXPMZ4sl8JKp6TNFYtO/czXyrnIvobCgsb6jfEPgXvmjtpknGCkEwrDwUHNlpSIF8Tk/o+qbfHwfK6M1qpQb4XDQq1YLrtFk4HaBhw6WenJMLl+SqsODSewxTesY9RjUBw2Rwlz2o2HOytKQ8CcuoZTg+5+NkmmNbOt0G0H/H9KCEB6Y4834o4+C074gNIVmbXfJiZ9rPEUD23AyeAty2qwXtjsbHstr/i4G3lHD7WMKREkgL8vv5f4Hzl2viMmL7xUd0ylYBc8qOT96zJadO3v1IRw3Imf300Ovql8cl1m48j2JkGY8SC1TCk4FG3hZKKzeVYY7vNwplHBOH8E1cdaUdFYGOzu3zty9IbHnfNlZwITll0EiSsXecq6zuaGk4mW9DvcLqfeeVTq15KCbHa8+GaSVH0b+lpuUJt/VKL4QGH9laidmm7lrKLi6U2TO9hQME7Cgn7vVrRdtL8B016D0NgLIZDPB0zByLs3kr2NtpuJZDfikZFwQ9HHmuLbF2NcBBHrOzUtnan3uKDoX/QvD6zqZHMWwVaEIzsAsmt5JOj8KRRJcIoBiUJXKqEO274vAXv74svnG4e0mEQD8puAD9HprPDj6zv77f+W82ffpuB7nl9cQmgh91jxeo/N0FbwoXBBiBBQw7fYfvCDiAx4FW1jZ4I005c2tOQzqwzKaR5Q5lGZRQCi2V6sVS3QaxDOeDuAi+fmH2QeeDXxbWRA37ydj3KPYENBkV4zdom7XTUMmAyLK6XMFRhzYd+/OYGQTIx0cPp0u9Zv0gBC+5iH4rb64t+C2cmUK3IX8YMlwRPSzp5HMpTcI5Ly0QyJ0dy5z+44BnXdV6W1Pe2tYC/KlkcKb8tKw6IMKQb3gDHcWOlXGfeaAAvCk9rVoMH7aZ40X+9G6Q9Cgb5Tl2773m6R9UxZ2wD6/uty7wCDH9i5JHX4Z/31NPGDpY3V2kq78EAw8QtA5jKz5D652UDVjMUE83mJZEQT1hHR8RmuuxaicWJ8Qm6hdVYoM9vxxA+CAW2WBKumHf5rKO/kyzWA4yCwzmCKhK30ywub+H5ReAiZYuuTvGbRHWHpunb5qbLj6FOjXxxoHnatNwGVn74l29LzDeYpugxpUZ1o5m5h5/U62XjhhDLujSrIIRlAMbS5shl3D8OOXh1XLSRZlQneZ7NQDlmgMDoFDxVSEIbuu8ud7fQEbfV53aeTfkyQ9FgATazKhhi2er2rG4eD48gREuFV8onUGlnzS9kUsLkS+w+Cd5IRGxa1Muj3iQlOC2Y9OrBYlU6gQYOwdDUgPCDdjvnN6whjp1Vv238RVzDn2WmQ/hDwK/5hMfZtDCCTLDLVK9Gig4Taxvg3UqMqbksdrmXIeShjl8B7UUx7RG9Ev9V8LH8ZNA5Lols+ic+Iju0W5GY+59cOnYBGgTV6VBo54V3rFiXNK1u8RXILQB2WQfrkAjhC0BFsouNNBFzXkoqBh8mmCFT6c6i9oRE9Z4lh7BZ+MPh/4CyojpPqzPyMT3IuOSaQytyNahVSsqLWBf+9HNQCudP6rywmYrqY8WZaxG1gKUDC67sO1k5Cd/daLmvp6Iec4JZx/EFz+vBS8R6YSR83fQtHhBwqUklSKZbhtOOGyq7or8AzfurPLwV4J2stfm/Uhp79eXCkrU+Obl9ixKCGd+KPLaTqt/bZKEBUIN3JAaQmTVzjQLNRbdQZbUIHwSLIQWZAAxQTj1Szw2qoxlz27FzGAcA9YGf4pCVQ00h9xZ8O/c9iB0I8Sk9/aGO4Jk8Q/tLn7HnSOLGVvjdGYrS/nWWCPgysUqlA9LtFpU6XkIP/VySJytpq59KA8R9SqjyukX2jsFbs0N5vgj0gIE6S0NtHN7Gn4ytGToBC6NpBiZXFQ1NMMkBSACIjBBHGQ+g8Q6Ygl7II3Ky6TnZ6agAsjO6HXX1kreDHq1+gk+xrsY0AcO8jBmixDxAFGZ2OVgyIgBVGWG/gR3adhicaDKvlxx9lz8wCXh3XRXGu78syXUNOVVS8N8n9zSRsw8lHn4rPsIw7iKP3gI0NXTaVDch9g/Ybd/RJMsKTtxRh4mUaKuwkm74SPzKMvWrK6xizp/BSzgrBBgAxDXnw4x4a6/Hk5AOV+BpiC/2+NZZvgovViNhNXBDZHTERbORbFfzBUVG8ifQf2gh34HfyHyjUbW+qetrBJ6htg0G9M7a/iCOUput2cN3XR4r/0PNStnYrI3DofGmaifwckBZ7iceecNHZmouSbhQLqRAd49dqzi14aEZwoQqH/iVGL9wAAWZx72LnQHRTb95qGs++nNA+dZ2ViefWak10cbqL5W0gLZzkQmxvlSsCT1S/dsxuL0QqX7Ppu2xogzbui1g+JBhK8mGBnym9v7CF0Nx0gcT+MB7/ZcEtsrVtWKn6CRJD4bLrh4WfK2YvvyCSupEGTda/Lvio0o8Uj72XjVsXi21SEpoA7ry5GqkUSrSu1YtQDAD/khgyckhi2D0Cvb5vn0kMuEvpEpeGg93wJwOl2Q1BTWqwNV6J/1rdBqeHaqf8H2uqJYZye1Mmd5wP/DSHBcs51yL3j4Or+5pQCkgkFiH8q3dFkzd60dGWKAEcCpbdvW6z+fHb9HzqPyklRvf+xRHpIR9wOlJ3WzIppRgcI5BQdlvgtG2ZNCoV3OR/YB99osW7C8T7a6pnWMuUqxutEeiyQCgCc0kcX4d2umf0Yzi2dujGlRnMU4E6hqDJpHVElLhWFkgQuL1iD86z191nNhUUhOSDI40wkP3Or14wABeiFtmtGgKVtje3R/+nz2BNOZ6NuYRFUFMIWMzFdDfsrRxUGuDBSsm3r8cq/HHcWpz8PbrNLKi8EJ4/ACQ+1l1Yj7Gttx7Pdbhm+xAd4/kbzayltZXUTE0dqxOPoYUY8ToALBPzbOh1iAAF4WdMqkFRKRu6jJUq5VzUr+bFKv/KMP79YnLHPGSj6aHInGobhRtH78HApWppO8hnZyLdmrGwn0exZQJs7N+e3T6yPWkNYoyVgLKUu7i6AF6ZTDcwatcz5JuvN+2qYwDjF+HRbLhwpRWnElqHn0ce/yCHsqKybuBwkT1DnpkdMvo1Av3hnhF8vbLAjhcKtw37rMbS8GPNcFhxGgTf5+WokC0ftrloxdBHNbTN3JzZLhDXJ3T+CE1gTo43J7vfKHJjNaZZ09K+grEaW8u4nYqpXnc9Skg9Xcs6qd7aQKgGvCUovaNWfni1FWTz11B7PB1I2vQIz7D1jWtfpyLIqPSFPEU7sxMANkLQqDO0L9DO/JroSqBmFfwEli5vgF2hnCcnuISwyFwVHnCJ3Rpp6UpwSc5qJHGTrryMxRwlQUw9zBQEirG7/79bY0eIETZgheycPHWnsvCM/fimMBv0fPcFh6GLnpaaEOtHlMOxj2E7ivBG5cZf/I4E6qgRlP70yfkMrRRCWSVsJWdVnEXVGviI671AH6DZNPf774odUUASuFMjcb5eXflQj/vtL2xKc83o5oGoyPe+vC9b4Z/36XqEFTQYxG1gogcs9w17HypADcDa+be8/+tbIY1jpl0kZiWykOh2X052cmQV2bR+Vxy6LhOtqbSiCYIzgGazQ8ERDsPikX186Zy015Mnoj6XNemmdY8gNadHtuHZC8tpqVcUREnfJsZdcI8qUZYxaUMFnZi3GapiaB0zGIagvzV7HEj3WX51ikrNwKBJwe8hgrWGvHQZQxWmECnbOYouLuCkseKSUyK4NxEuH0MfvsJ6vA/VOipCL4VAtOMUk3VzFTzxle8N3epCUIcNLeNL7L87FyweXW/BYWqR0dQGbnAQSG8vHoXAf/n5SjfkqYmOVOKhd3BLw8dybWIm6/m4mqvl8VhJS2Dkq0oHfSuqpLiZe4fyBRMjKTRIBrvY2BK0jNJPk8K1clRGeeAZF5jnJFXLLTaZXe4/VlVmCqbSpCYW4wYzsAEfqqEBoMOM8yHnXRrb9/LvlDMAIoipoutKG745u7Nx6YnNMmky8RMJbLvMyQjKWelargggUbm/cxFhXUTcdMZVAUmYvGt4tI+85ierr9siExGVDHzjGqC8YluBjwOnY/9YPzVKWTSmRGYdSHI0ySeJ7vZOo66/lZGMz3tL6hAzcqfsHaTkRYtOiVbHUNailPI3xURnM0tr/30T31+Cvk2M9tsgOWV8s2YIy80XqvAPObXI6+1yi/7S5GupBRyBdt7PnRKch5yjpBwGwoIJ7HV1oAsRJwO4Gcq3pYDFJq2mVicv5zgzssXIej5KKMbs58DjEhW6CxoimgdhdLPJZ3d818bBGYiIyGaDTPLigElS3aVTZmga2bIfXdSzAtIXtU9gNKcLmI3uNsJNm2fkQqxlEMbcZjIkN8PWgAftiBtkMhRULT7bK567URj68F3RVNCOKvfQ+QrwjGJiaIAfuYAryfcfOGB3Yl40fUmGA6XrM+onlEWYNBGNx1Zk4FMrK/7YL9mFloz8RDSoH0QfpdjNCPAkKfKGSID9KtvjOgON+lNpIr5gD49447TVIuRoJunidXQPvq2cgfbSiJW40hWdLQQxRtYLJAped8WlexwVF/Uq3fIxYWMSyhwy4ZAXHb4zyl5Ix9gCOpkBkjbNvo2q4AYYHFSBPLk96FSxSKgsqr3r9YUyIUKT9f5A8n7+PPLQoEv0RJ3BBgaiFgsXHiE4zwibU6dNz+FePyY/TFzYEjFBp5cVRwLJlAroXH00TGwvoz0220Qh/Yp+q3TsHF739jpWwN06SXLi//sKR/5Kcg3jnvJZ4nj8llPcEzmqhdZbnzUjD4SUls0HHWwzII6EtNVDBFXoV1iHalky/0+3/1FWyXp/q7MjFOrlc/jNTftWkMF3rm7AjRbFHvwyWaUIHAb3bMvVnJT9aii8Gb5Y1RL64rFgIb6aeGGwn4cWkRG9vApnY18I2L5oCzce9EnPr/XN377FgQGoIFZL1ZeSi+v148+buwYfXrsOZiWJvBq2IOSYpEWYT//FvrB2y9WhbuoXCdoRBlW7ynefB3I1K+EsBYHiB62XBEOYu6mtU9RPhwJiryv63otOq+HDWc8+gIGv9Tk2TMk7y/EEqLSGEdcZcH8+DwNANIVccDbbi+tFxdUCxZ2DNS3CmGPLIf70yuyeS6+rSIKwAFczJd1cdF1bpQSqfXVVA11g4WScTE8PoOHyCF8Us3Cfdv4NiPgH7ZuQf+w41ujYkcGLgJD90JByaWEwdWZVcMZDfkmvZpwN1I13C1w1tKx9vCVdite9FhRe19yxQ+rnTqpLtnf2ZIvK6SC0iMhY0QDUCGjMNsVs7BMIX4UdpXLfDTaL0T8ILFccRA6zG7+4Q/G+B8H5xWtXxEZOU3kxV8uGEiPx6qIjOEGAO/LJwntCslyjSBSjiFJQeaLjoA5bJhokVuwH65ObPXHbSFhr3iAV9i0f1kAs0OH8gyaTiPss7b5pQRx7gprw5fc3xRNrev0j8o/x9Hm8/DO0dpmSmxt2UtgYNXLslRTvdj55lKvNQzdYAiz3ndwdNfJ7Cs6lvbnIjTsgDFeHRqKYi+G/Mqz/o8Qb1LA9gAy5wUXn4LMhWoxYpL3nGSaT4gi5jP2ZKbSYvGDVx3xQCLpF6keFutJ8sqNSQ7FVLsFbbvyNFpZ6u5J6Vm9U4L1GaCyJ8EShXL+EzZEy22DuD6JtPhj2Xyb+fQSJh3KkknKFmc5lgSeksDdV+ln+DGZIIZH8HWKyTvwenqR1jBFKnjSQ/33iMjQ/0GxkixkYTW1z2hN6nww3HKcprtOCqh+johqdLz4lDoh8b69S7rrTuSB8CXiiNSa5OOC1btAINK3ZE+i9FQBSR0KtJTOBI1OyaxbazPFqPxq2H3trLrvkn4lUTKK6Dqi+P+A7+0T9DKETu3xEL/CXmF8sZXXd+gIJl1y0bTejYmj95uNqOwcPtB6EMoodfbBmXGnr8XsklqkUFySQpgVXlejE3kLVJzII67EQp44Tl0nMvYO3C/LZZHnezsGR/VoNlEcEaJqzOmFvoFrQu6X6Y72b6qFU97FylgmlYr5/23NPKoWRygPYXLjpYUbaRwr5Son3yw8ME+s1WVJ1cq+jPw5l+Ehd977DtKST/5854Y9L9p7P8MrvgrzSJR6NMz/mv6/xTCXlQrFLOsItXALctq/jfkbJ9JGQbHkRLyOosoTWWGghpartey/3F7d1wVVJU1MB6DhCyL6V6i+QpmrsgAhXECmlktMXaRIS39X4/K4q/mWIki+3BOYtZRy4NS254HGrFn+3q/43+4lhVZgSE1UI2QSiku3LD66O6LR/REuADqD8MayrPa5HRGB1zG6EToMWvuwi5FVEZ5SeExdYNXsZe1+8yGAX3R+blXHxO645nkyhVgcCSnE5OMMJY8hk+Vh3s7cHryJGVlc0HQoz4ViNTetXjrpQPB902YEAlA0DIYq6rQ+LA6vnsNi/qXqdO/DBVW25FJibWFpTSyWg5OF+Twn/YQaNacMf0m3Jql00A7QtcgRnJyKWRwM2S2c+Q1uWMJ86CknVHDZ/z6DP6pUk7VC2fNbXcIzsHzZynI0aNG6NUqK1X99XshR+XDXHOsJ6zMJV26zsHBXp3BysdYOs1TvaJlL1sFX5UWEeLlLCLqU0Wtxyw98nvs/M76p20Ml90QbtJZiXbWfioe5KMnDF9dwRZ5BWCqhfj/Cm7YXNUD7GlG73jILEUkQ45CiX9lVv0hsOS1Q7spFu92dByuBpxDoRGM43SDr2+THULNLGvzKIc3NGcvjwvxDuE/jvontO6JChqb+MabH4HXDoVH+Ful60zp+pfj9GoaEEY3qIZYMXNVZe8IXZPELcLHpgtO4NEbvUfS9z9XufUbVndC8c2pvMim3/T8n/nbdmPYK60Qu3R9bumu2D38F/MWFh0reChlYGE3AXr3JUChoWC13/LhfJq+seofcvnGW5vc/KkbwurdElFbNWO7HszHz3hhktXPJEvn5LzV3a1KJuMTJj9QtrAYQyChTTKaHTu/6TwtKMcBKV4OJUSjthYABF3qBnVk8k/2s3eKEw8tO1q9nj57b+lKjOeOozNE3p/YZsI7OPL1UcqFk1S58O805WiieuTDNmOjvJT8tZ3OBXdGUnmjlXlZsmLdu6k6mv3NWJDT/348XrucirAE3Fbqau9Ma4wbiIMM+5MSni9QkVOKhoPeZRgjOP5ZYdf0i0C/TAmQhfxy0c+1oPA7xXbEJlw//JaWNdJLIOAzjXxLEMbOBx/k8O177K0nln0RIh4ccj/GqdPlC9kcj2hC2xvKYExO92FejfQC/gMHF026M1kVyeAktnmV+UsJk0xEiLmtBMvlgnNq2OdRCwrj+MLPQRD8rdHyfvy/9mTRWANYDxFtSQ2dSncuQv3B8tOMTfzJAYoPaNRsVj1axbAOqzKjATva/RF+G5MlK6fSnCfQawMUAiZSUG6318CBWXBs9+7NLA1l5pod6wJ2WJ8O/uqEhClI9L2XMjnnWGERqZ57BJIp+5OrQg2ocOq5/RndaJ1o+SRiECi5Jt98BXfVxve3RYLB79tZHiJA+89CouRcEz0pjSoplQn7EH7OnpTgzN0TpmUqTE6xceYx2jYAka/qK9KOa4RfM0aA/NHEcPHAYV3m/BF8THrJJc+psuBJOyEIokp9JdnaxVfzHv3cHAJkLrpknA3aWIQaYBMGDnbw3zfwbgjnb5/S6VzceEyBXJxPU/DO3HzCe2FGLDPx1mvo8l3YSlG6GWztfAABiA54bByt7rX42UJqU84uGTyBsFfVg55BGUlR2AG3fGyKsaVhblyONXy8GEraGajrBjq85Zyji+XkNABx6A6gIixy7YFD8WZxnHouMmNFrQ2JLwto6UOTmRJuxUnodaL20Qf2dStXZOi9y8yKehpNJtgIt42sZq/ZWBCL09N6agzTZuqWn9Ua86/pDxkF8a/cY6NSaA7nBY+WKYgS0QAsQq1CBCAm25d3ff43qLafItf5EMfNneHKdP0ljkEgXbBtlO0i+qNHoDNFW3Pd2Pftj5dMTJbebwyonpmZHZ9fwsai6NtQ/LRmjk6dmkJZlI7K7U6KOsYYLeGgGzEUGDQs75/1tXPMU0SXfJRf245DfcinhK7L0w/Gsf+TnmRbRSj/QkIy1y3ZOrgepY0m+mn4oI1gl9hsKmBEhYSL3KMEbjPjBaKhi+k2AZ6zDxQJ8d4mrC+Fe01rliXpp22/So4AvpwwN/JW77YzHPXRFT7duEm+aCBCuBIj+SFfTKGLI4QNBoZLMNxEj5HKBL7fypBN6fcm03D3rCY6o8r6ty3/lrv/aVXtaBQlULbDm+mvsEq1ldhD14DoE8RPUaQ0ZcEFVaw+ewClp9sE1Ob17oE1/e1yEt6QeahW79FwC6DYOZbd8evyFWW3mvDNv8cASxBezHFIcaetPhhRheqGfvSLGBCiGQpVc3vODLl6RCeSzgtQNpkdCCNaVpqRTZZlwWBZgga8vRAOiGGmBHh0nk11Tr/MnJw5/C1MNHAuuBlrbV4pV6yhiolsfbDsFdse+F8m3t8AdGS0gsrHNatu3SeCLT9ii8vv7nTyBOIxAvi6oyNsAYHbEMkzPEzQd9jX9aOsCo8lX9nwYpC/5Zr+IwqOn5g35zTrGGGNM4ogimAFWjZ+IxP6rLPvFrWyjhP8lI1gRshyeWcGuklHzpHLV2Qvg9PYu0pcQ4ouB36eu+GY++Ci0/jiMYxIoFSYj4b+M1fmzaV+nFvtO+ZEDOrqSeZ/VdivnhGCHixUI1Lk13yhI6KkgkZ2HjZHoDjVfmdWKaTs7Gl+/D2AeXMs93VfltsfJMZ21K9w8q7UaVQ2j6sF77jKEDKiZicMuMCukNG6aXTeejNGxV6Q1jADa27S0BIyJe34+xKB5sl4riCawzCzHHmd3XZNdx0aFs7of/WheZexSS7IsOcnT4+zt3sBpbcH9EfCHmkFt+ztX3GhFS32em50wPqcTj7LPBOpLQVek7ldwj7k3fysLHYOCwGWjPbzALR1UVudXhS5kOLSmyIIjKKIs3ClgqbI5n63VrvgnWF+xseEmQ63aMoFbJpZ6uzDDxFtd9d6ulPcS+rxc1G3gpZ3H4yNm2Yanw3A4MYHvmKSSyIJGQXEZEBVeu/7KwJLFNws8PV7wJjL4Ihbq7pkpxlThWc/nw1AX23RWP0CUCgVz4SPSA2mEpA7MXLteJCEm3rrmTViNkTyQLt6Pscp5zDEXGZOVAob936v9R58RBlHlIZEOjqPSmel9kcu7ZYgzCfu+0VAF8aP5xtfVqE74JSE6Nn2z3wPQqWP00jw7plGxMFZU+i376andu9eu7kePxASRm+4EpTS0WfSjQFi5Ks23riabvb31iiECABByozaXmq2fmcZ0tETVGIgxEM5xKlaGu1edYPGuxa9MFhEuzP1U+6/KUIFP7HnMH7b8RAXl4EC4sIE1OSBFnFdxf0q5avvtnYBfE1PEXznnPvVI8roCg/LZy61uaC2DSgqnEFheRb/aycxOJ6BhisAeZHKHbBADYxilC2CR2qxPEHMQfLXxjJ2pKt4Fx0pZWSpLS9VJ2bdxP21hnbEx8WQBCareQ+jqFxnG3/WMEHI1sq/gR4wDbHhGF8ZHSTt9XyYCNoYHghDYxVn/bPGSIKCL7kyh0/D0efZF6PUgjH5OA/P2adRRAc6A9MlP8BK6HXR39kSz4G2yn1v05gczzcnajbzgPo5vxuf1AjOak8PtuvnqFXuRdrEGa7qYfa8EuWpZm02osaG/rwxUa3P+CUqQ0wUTSa0aSgS0SXYY5rphXxy9NkXWGcVbMc+C8mmgELmAKozchg6dU8Iw6K3xy7IRx4V+KmN1BaQ1GkCtthQnqcgHBVlKfBZGH79Pruid0pw4DHSXRwwBBBtJyn5xKwC5woko4C88qqeokHT6QJzpg2EM03wp/LC28jMLgcWZQzVoBdjqpo/GBU7dcV1+4vtpZNCjNdMHmwknxix4KrC+49kG8BzvlbLwUysXS1H08UrVccg3mbHASIjH02EeB91Fi5XiKzPnTAS/rKf5lL9b2KsWlBXQ1peVMUJhcxD6Lp2b59lZxW5l0JrWqSmiMyf6680kuevmopiDQJrneDk43YanDUIxR4lV6H/KG7CLKF05D8CwP/E3BQlJte5hoTEJb9T2Zu4hROoNSLIcTf0sTcU3GO5s+aneUokNDiwhxKTQz2fQ2+deAPLvz6ZOVJfVQQZwaKfdD/iWWdH/OwwtFpwLmhs+odbFCeH37xXme7ciTjojfsZMa7ULGCklfHBIj1Je8TvXJ4CflyuaYjqCuswn8wlysfWP3xsmIFcEiBnVguNENvWCNPcD/6aPLIHUdGcgcU5M3Nz5aYCLCrx3xYHdkUV4vFhODNF2tNBjTHCXUl8NrN33EdRy6wN4PwjL4Unz5mvBbld7Y1ZY7LOzlh4YEVnxJTz2TpH53foghYvg8zFvIilZIbK0V2vKrhL2e51/ZxlxEzTXKuePRosf7Ai9jldTKvP8zTxbGvQQThywv9R2hPwvTlbnl5LJYyeIN75BImOypLIrmMVHIT/NQc51XhXnXGbp2SqX20lPHY/GzNY2XJl86z133KZwwM1VKPWSl2WurvfeYxu+ZKDkfvtbxSOPUj2jvhhcZRlHtoec59cwAXglKIFScGgr87a3Qg58xZ1hFThKMXGNgoX5lRy7b9N93A+6FTy1DcikGfPOXMwtGk3QI2BnmAY1wukkOc9KjhZIJ406XvWulI0KPTZMJ7a/67vEZYEvrWZb07q0O1PAiZ8uWB9YCi92yHQ3ovOcZ34PsFcKEnCz0UF+k2HXQ9ikB+UjTjRrPGJH3ou4r0QDxSzv1V8q4RQlpiy352Ov8T48bBwm69C7tguAD+iJegsAkWFMJKGdG+F0oyPw1x9mFO2h+I8b+vjbaU9NBPEvFxoSLG8J/pwdbtui4KfmTXTMo8Tt0Z7/KZ6lU48BV9Duv05PDVTrTXGAD5EGqFXwFdR3NegpIHYAoqoHkXTnboS4qEVEJbg6jwKhSZTtQ32yyYpBpHA8nxCFX8Tg3WRGgWiokqWwZebuUniv22lVoZ3o4/a4to9Ji6Sex1kfKfzvNSca+VYuR316nXf0p7VimGXoNrmYuT65oH9naGkSgiLvfg8Yo/DQCv7SnJ9hhdaq3Bj5/TwAgoeR2UEk6r8R7qFJ369prx7/WKJrBtfsaSwOMrgbeHfA1zi8zlFizHEIuV7CdORPNZEk1v4OfWe3dzSHym28UxuEapUEk4hp8NlSXpq4euxsCkR5EAFub0oKS/syKuCl8NoJvle+nUAVNmMjhYW+LyeXmU3pPMEnA692ayUn/0Z7ir0KTYXvhz/BnXoSdT6iqEjnnZU82RNU6f/tiJjw4xQWL/wi1EbhMLFUcrSaqW1h13apM6tSqHZMEk1HmQ0Rg4A9Fr+ZULI7btlPXSWdDHOMMxjg2iIob0osSNQ9Re57POHxUw1NEwwBAaWouHdGKPVAtxqPo6Udw2pteQIP0nUeitqGiYe93TM3iHbLmJrI86s9V589g0RIHBz5RuQTQmxr/FQGfA4IaKlAmNCTAV10R4wtgCrDmUsIOJRt745V8R4ga0Mli73YEutePdEhaaBHlN0OHAOB0wwXJayD299XAgocrWWnCrYvfSATzRaKJMaXEA0hVN2THu/d4pkVj2PTy7NcxkFbEkDR5UtDYzYAd12GaTQLIKB2IEQbWSTz81Il/yQOeiwM6qvdRn23/FaERjAHpCvtTH2A39MDOLwqi7vVoP2QCNdAz29tNxvZQFV+7WX1u9BipjVy6S4St0ssPHNcMLypc6q+XXxbKJAqPOU2eYrjd7XN5RDinsSkHsnzQkIN5ZCtw82Am8lIW4QlgYYCL8lFn1e/o2CWNGXgmpFlSZjtM6Zv17l5tpMmiWokv8wDRTuJ69VILRCJ/K7YAYhIUGiL5m5pkXuWFMqsE4w1sMQS8ujFP/ydP17VHN+Y79Xe8sU8yfLp55ylE0mbriq7Qf9bz8dJIIpfM8z2KzTDQgogSwIATTyUUyNP4/6NYt75/T/agWj385YhLoVDIn4LUH4v054mwFleQnOkYmqtn5s/KgBFfRKO3dtDNwEGry9DnyKksJ93tXMe/JCe1ePgCYfJbhZnroH5a8VLqzPCFwzNw83BpopvjOrYmznk2ry4OaS7fmqeIiWRNiOhtjAakz/gZF+vStqkqXeNLAYONniFUWK6obBLR3onqVBqXDysDH7YLYtfnIQTSuoomyIakwi6AJyOzvjBkkZefVvbHt/6q1jjhJli1ipX2KprbFGjfJLDZL3eaoA+6rvF82DL6LRh5yy8HqsZZK96A4Eh7lx6FtWcqaGdkvBDNahN/pOdGACRE60Ie5wYeBX311bO3RxM1nmca8TF7z9dQ8OnxPOD/YOHta3q4sXlzhbtbgtCJDVhZxEUWAfL63EzQCAtLeBgc018USZ0drYT/tnBUIuQS8vEV/FaqF6rk2TERqc2JnmlXnlYUENgLaYfrjO1IO2WsYHm69aY0KF7gLwMJYuUHtSpUO6DzvTFRoaT2QuPjcKH8nWE5674CL+EOt5c1XvPhpwbmyee96SkJmoQxDglqeECgJ7AwgIsBquct8ZAD9AM1C4xZHI+9SqnOQgWIF6I1zvx6oCbVNPeKCV4ua1sJWV+t6v3LY5t1Jg9T4iBukFq6Mbxqv1aeRXrzK/y5yHrx801jHUGf8/Ml5JKjGtZL3tO1jKzpIftp1O4v0HJqRRt9ibGwVFjdJCYZk5LCtR8c9Bnw6gi+W9j5EOT70PyTKGB25EZbsq6KjNAHwjCLgKb9DLF9sQ8+nWEZUg/DqeR9n390C7ja9eJ734vqn3AHL4K4K4q6F87QW/ouMFHCQzkexD1i2XLhqgmpUjL8ukJZ7Ej+HZTDukPA8V2JPdC4Wlh1Q2EZcJhkUkf46cbstZf/YQxO3YlqWmWpXs9irmmdskpnsZHLReyJT5nWTkRIPBBJeO0xDUQE0LyhTGNOlA4omDBTMsN0zWUTljODpC/nFlIjA0lk1IXExoyi4bBDh5bRHkXhwRby8kZAaOKpKCawUuyjzBF0LepNY+1Mg/SvrZQbwU0Cevl+U34Ak90iydXqW5jZ9TQbIAng62UphhzZdeZV6n0oFN1HK08SRmyUBMnpAb+MQPim4bJhzNHhTHI59pCD23bvvzz9LQedEmBLjFbDIzZujDY5/LynGzySoqr9QGqQPwl0qvOLqnSUw/Ngl/9W5tD3h0kRD+8Og7LxCqxEdm1Rq9RhxJLMSHNRmxtDOBGFs4FfQl1BaeQ+wVwP3rBtBW3OKzTXijeCBVpi7Z8CGD1HusLQMjXQQJrv4G/XOa0Tu0GeE+kXLaCtXbtb2FUxDyRYWb5P1pj6iXtrseEe46idoTxP448Jqgj2eBI8fVY1srbMjONMPt+na0GrJJsE5JIittKPVEsTjkZ3IQfa4sqbFcnW8+dJXtH5SfdzSQCTViPxHKnJdRka4pp2UsPIPiyqUZyAoJxSZRWzY5jPJlPomXBpqLHzyNi6Xy4ilBVrxvUdghRuOVUEv+GMxlBKPWPj+Flqi57RZGPIUm30m5mIfIvNnucU1WKa8SAgVSP9v5bT71jnj4miIJqt6mGt5UGjc3cBhx3ORO0fMbxT982AN8mXf/dy2JvvwYCIymw0XPSjU7hDanXukhC2QvdCyMzbt4b4ISqXwH3YjW/NU8uvTQbez9EqnuwqicvOPot9i7IESgsMdIC+dSEiTiZiqX34dpt1W5QSv1IbWWEZ/ygBJYFQyLKSvWaeJkx11tvAcGilPiihvXQGPa0utNKbShGY+27bWj/w3dNe+i7uMpn3UiIdnsYYOvH6J0o3jVBOuvVmPLrjDbFQqbVsgwJX5yFZxrmZFwQgjZd52AzVGPGS/BMXi8mxeqqQkkZz2H4rjqhInR1nsHd+BNxPsHnh8hy8einjS7ca1pNDjBkyjcC5ZFdNWpAY5e1wj9kw5nd7plZg6I0fZWHZP2AAyYy8FrIdR57DDs7B23m3MXRxKUD9jue3TIb2gfb6FvT7jO07KyCKNLzBlTppRSbn/PeFq4oVOQLecXsISm6kkCzHOHEz+rbqcA+vFDmnci6JgwmFDEQUgDU+2Iq7YpZadZTMcHe1TC2p9aDvJannecB8DBUi8VH9rnndn5hwX6reLIuX8QCaARjIT7TSr1ZPM61iedB43J8/djwwYledBgqmgN2/rWQRKoio50kzZqYaE7m38CZkSqhXYdBtdO23OO9YFHqrHq4OPVFlhGIfDcjAZejlaX8J/IJE9teFdp1/l8T1g0CtwJa+wpWWieTr4ge/gfI2mjdpqIuAVzTygQ2nUiI8s2oUiKg30IrAlsMjmCpqYb1eHnhUtQTVoYhiXi2lxBLXvdXa1hl0T0YkcVqSj/Wq1rWvCRlOZ4Gm/Dhhw36d6CTrrde+pUteao3TU5suU6Ti372R2Y4bRVFpz+ysausz6jyjSuGVmfSogDqWcjMLuxq3XVA3vz3uB8R8NfS27QSZNJKDL1wCXIjaaQD6pXAB3qpsao0ee21pXGL0eSGKOBimE3WpjO4lrVLHgbhL5A4lZghCG+cnEmycwnfWsaNcH4umNvuEEMv0uPdBuV+hlRrrkGYobYk2+gFfCL0PLJU5A8SpnyMsRioTysxWoxJLRma3tUmG0vXzvihW/PixWmaLWkEtaCNdwwIdT93kpW4H57ZlvpYc+dzk6AWZdPutsb4xAC1xtb3JwVS9ZMYjZ0tqf8R+hHmKLDYLcYBDV2lyaBsop+Yu5vCSYtVC+04j1/lH5E072W/8+20sxtV78VQ+AKPNHmJxteuiyJIzaPB28vgKyUMqP7bGcCk6Z/gV6v0xY/SpxkakbdY8PaUtr/w4bWPQKlkljJyzfv9L6lEDxKevEnvWSUkNIEGFy/7SPhXaeQaqB1wWbglKcnbuFoEbvbR0sdQe/HvTusTJ4xTsKES9AhlgDJXI1k6zdHWZSBxuk/8/utzMg+hZu0HcuX+eafq/3Re8xEpOaT8pttKbYLF3O9ao8ugCVBMiT/7OOLy6XWkZxvrs3mav3x/CZYrGAPPo+gX0fSAmM53QBN5PXbzvgC8lL2veR2+EfZIqqbdevVqd4hEEHFDddpvvTJt1aJtJ3cfvEXFMPXiC2i8T30U5cw5CdMJ5Z8wk77SUProVuAqpxBcEEMnYF3JDYeZLcDYcreAL4pjdRcfwDxw/FnDZzD3cBdcLvmEtsC312CAXMEt2R/0U/u4LqcE1IcO7kT+7MbERnaTmwhgGj0Eu6IJy51leDhbbJhwZrWyHTmvnLyivrsizSDpiZZny2Uysm9DnIzLkHuwkv1g6lrrSEx1IG0TT4mejSk/VVMSQeDgPYn2tC8uQxrqCXPmYL9OelpCLE41YRJll17A8vjF8cgTT1/Ro51zeXyVgKycGpuLt5vWYivY80AkimhqKxENNrfd48fj14unvAr5P0V8WtbtYOoCuLf9oC9SrFpbhwIo1SlbC38oCrKxW1h8NArVVv/Hy7aNnVPNyRYprKVItV2andThSoM9T+4hnksI/BGYQWEIHLa4at/2GlCmUHlfYtuQog+N4mTGSMAnnYhPPyz5ySlVijZ4ziv6nYkFMgtjn/PtRFmYQ3LuX3zHKlx+HZT6IQnfeIs6nmrNh+x8oYg4MdaMq7+XOGKTSeZtaKp6ZqsrD3G8n6O3sNmtZppuDHM91joBl2c62MQrI1fZsbwkWSz0rPLACyN3EfjoF2d5WuYNb2klyEx4yb2OfYSklSBOo/uVHGKNiT91xV6vE5t+7pD/GiGAE2iHqnISMVdAc14psP3J5Rj1GYF8f3rkHtNyn8OmH3EMpI/GHaw4ChxH0o4dVJj5ktyR4hwqOQswYfUkeVZKPaOa+TW8iBcahgEQdYPwr4/0CjAEtZeetlA87leSq7Op3CX852cm9L34p8AyGqL3XKRXRtJMj95ufw4Pa6lpKpViKcN2Ru24sQBIntiT/JxHnbfd1pp9M0lxsytVO7LAte7n1iWzJBmGwDt99WZ+oClCsEbBb3H9URRlAajxvBp0uW3dMNSjrA2m7347eLjZo1o1VRFc4WjAN0CjhsOsTWLm0FG8PfKAGqP76tiNInOJMnzUNT4naNrvNRDRY8EncslHy2cxf5/HITeYw/SGIqm6WbSAJeLNYEc/u8qsejyDqTvY0Q0dAB3deiCTyQtn3wFcVpuVRHA8F+Od7EkcejNENIr9xEYZVWx3EuObpD+z2QFsqVsSfflZVzgPKbNDX8WB/Kf4E5IUkLWXPsKjbGdxLEJWihbXZSg7cWPiAuxQv6yqJSbwCftKpDhXqlEyCXF2EfoW3t908FOHCFeOw9BRtWgXc9W3+6DajcUOMJkKjBM7nietycCy+bxwqzyvzJiGu6MMmmiD8mJgYp6IPAQftPkNTMyUvnfHxMsAKrh6BC8xOR3lBDopvQ5XHbAbrqsSW/BYc7J5+T5QqM27LRntB/7c/YQgHqXwURDIJneyUOU/4DOzDZ1M3m7WsTC2k8218KzoGEIN0f4ghuoyapCID/nFG88uKDXZqQl9zYMsbVX0IDFkQyQ0Klx3zGmqovTqWzZJB26l2YAS9jWu82eg26jhq2dK0a/TsrOfKHPuTgF0QUwnCSRvdMW540qAK5au2qMRUIoScvZmImlvjB25N3cuHpYo+8jCxY2Lb6K5WbEb0cXzPPWnRXFLR4aqkozuPoBksHKAm7N3HYrQtvp4T1Wr3esJyEo0oZ2JvgiuDxJvyq/gkzu9uMa3fQQblnDx6fcbGTiIP5VQYLlu5TCruayLeaaXwPD3vZNstduxbYhP5pV8AX5vmVGKjmX/1idLiJLexGxFAy2zJxcWeg16U51iKERLZfE7jUYXegyBnUR8oWXi1g6qMimbi45AfZLDOobSinwFwfUp/jQ3UP6O2AZ6ytQoXvbkLzKL+v/xrdqULGKparrpNhKdtQh4DNBz/ODZvgex73EqbjMrYlXYi5UBvNpdkbCLOJF3EVpwjk7sUiYh1qyvjz9m0CWObWT87zkxmwOgG4qjtcvHk6GZcc/oHBkngNGsiYeknLFlAA35fzhViOVE5PT1ke2tdkTlbiGmc6E/eQxERUNcZ2jnKxskyoSkD/+xZ48EGUMiwaW5/uwvIyM7RgoMeDvjUOPtnVNQPCZERX/hsyRDfZd9J39HnGGGkSSgje0vskLpvad8rlAPi0u78NLx8RQ+c3PmACF0w78+y7ovQnlAfkjX/dPrMbo7tTw+5F1I8mjz8SbqgtYCh3Ho8WyikCU9hjqVbJwCEMRDL9wPIVDDpb9raSqNaEaUljk3ki2WAjxpeXyPolnwXyJj7HP4FXR3dWVQfDSHr+C37S2b7+JYbEH92D2UScEXE7qqnJdWuLeuhLoyXv6vVwVuQz+e0KhNw/CjaNIRMj2jVOFIzN0lJBTop2YSje0BnJq8sB86g2Q/EwotS/TNYBjPC58u0PwrPaQka3+fFF3RluT0tNuWZTYmkev+iQL6IXu8/zo4QNcgUPN0nGcqIV4vyDUcrzLY+IH7GMQFrTIU7w0Ih5Dq338xOTIKq+os/I5QGyGVDAZkQ8sI4kEaYrPsbxnLVHsdljzxW6yF65wGpa/G2x+WWm0YJr5s7+SwWubKbbAZ+f1d/xyEPMccV4AybqJXvT+ZdgDTGHp+tYqAlJRCzAacvsd7LcDdC3dJQ2ExzwVRclCHS6g5UDg200isZGfpo9PbsLkbjIq7QEyApHRPBGrmqh/YRpUOncrDW4SKqHM1y1lBUsqpWlF3Gvk6M5k18VLAjRHV2XP1+371ZRYgT8PkmXkOr2NIjRJGzmltT+YAwFfDCzd/yBYy4Cshz8oezDCfcy3GX6Z9IveCzHkvGf2hfiSqqwprDpJmNpNGrLPCprkHlevhRy2efqY9hti7vcwpHo//9QCrtvezKFcNHUNipdzbQZAdTojikB1ssS8vERfP84YJ2cgbrrvLGrZTC+T+b63EwnJwsfLMDS/pWQs2qPdz+FVh2f6QDO1/Q9WPdB8WaLLbiCKfjH5YB6azWsRUZFgDKaGmQrRvXFIx89suRzPKKuq7h7PEnm9DOm11lUF/30ORAw6gMaYQ3oAMsDHg2ctd++nl2x2ZtlGc5QTycR0CQNXcwFLHOYjJY6Q6RXUJ6iOCS6T0lmN4VZKrSXQufXwWqPSjZtkfwzHtp/8Tm8xe82t3y0pY2HNVMMXdwRAzUMMD5tCysPucEOV1kEtxa/tFBRZk/ODwBeZa1T14RUIMpLXnacMABPKHIWBTU/6LsjKnFL2A9P5z+yfKNO3YhDSqqnhKrxQnJx3Fzmq8llIxL8PbMUWb9bUBNVlGXnEkTMJ0QNofQ/4thFbawWVNMwDjHtyJKQD2SK4WyIw0Rm446zVBgSOd3TXMuOjH2PBUgDbMYu7UU3fMOEPuSW7m46xLX21ZrsXsgN3ZB0R/FuXN2TV35lMzzTgCYhhe8eocIpp5LXH5oEeF0dRuCcSQhO1hAtfQcylDVXbcNKpsDeoEI2VZCXqM5gJTa3cpBVoDdfvyymj3E204lDdkk1FlqLzv5QQBIM2oEQUA+7EamQkLaK0cDXXSmrwPxxJH9NOaHCMHtiIzLy80IcXaVq7gnjjs/4HlFsXO7JM+NFxMm45fVLzgKRLmcZKRNeog0YPJgjk8p4wGjg5EqNdu6/cn5LkmXi6L7qACFBObR9pLsnET7CHxsioY7ngsN3SLLrxQO0t2JcFmxz1QdKg+vxUrTUYQCyGB05sDp/+Ts5XdLdnb1iW7Gy2eht8lJnJ6pFWVhDE5F4V2Oc0X1iGdU2uM1AKN1srU7vampJiIWDw6mTtT3+54cXhzRFLKZJzZTd+FK0WcYQEnNO/R+k45WzVz+1xSblpYHG5cyLinmhiP1jTmwzzhDHOhRGx8hhDtNpfpPbVPJnWwoLy64+tGPz7R3gB95OxLDXTUzi/hoy0EP0EJE/tYERWl4lQRLJAFf9lCFzBfIdSrVpgvGGGYbt9JcWJGeetgwjnouOkoS6HaPMZeq+ef7kW1YL4guqpKrUjfr6Y5uaCmX0TKxX12UnfqU9wFQ1djT2kUUbO1C+tDd6ionGWRCcyTLobD3lEjUFiNe3OyTPvoRw91lb4QWQaBv6XeTbw3IAe8a8aOoeQsv3t8OzmyrHtde7wIGkD+rbi/g32+CeNv/HrxxMsrNYA6NcexC3VSNq2NuNywcULvanpx2Kza8D9bitX4DSNJ52VB/C0ITPDAkpNotAwA9EAly/+fJ8WVutZ4u15T9ejpDScJev7zGjLHbZrxd8w9MfJiupqOoRvh8iWqIOgSeZAeKooOFnGO71wtQLKXcrDSYUaQh/1c4Wif64F64kKOjTFMylq5FOLCkzShJ1CA90LstzPBz0ld7f4ditqRv/ooDPsY+W7focHTpJ7jbY2HSexCe7OGNINISVsJCTnn3Q6gGKNxJXFvoUaUuwt4c5krUTwDgHEOQEbdPe8C732f9NzNcnFYbRPbt9lgqCVmAYkQRnKM2ju92+3yIP+H8eFNw2aqHG+RDtAh9tZ6dA8bLw+3trwdiiz0Fivi/ZOtbMRD/PIBztCFtxHGE6SEGRC28YPGwY4EW/EXoVPCD32A5p0lWp+lCtwDSa0gEobK8vOn+JL+f0osNsuY2+I57F1T3Uc3thX0hORtGi3MqDBGvA10Jdw3HdUpwjIyB6XuzGnKq+VVjxLtF/kRy18gHVjvGHM1JYFAHbfeMXTgqCM8sFPfCsqopHGECvnX8rSNeFWlGLgAsgsIfhxGWBa3MzC7HouM74q3nVGB1GIpoo6qsdRZhWRdn+ov57I/yxfBMMuEHC+605lYj+yxipvkAw/XrchkMxzmv6Mha6z3StgT/NTHnjSfq6vmrveOdiVxppW8XV278DHrRn6ZWxTlq4jVFsfmIs64nW2ySwgWTPEC/qR6ZHe0VVKE7lvQWPbhIeia9v1Bz8gXwOhay/nNYU9GRPp9iQP/hhhobNNNUotYxza6OEsYShu7AlzGLT/eKq8kp1oT1imxLMIED2kyyY+qgznBUKBR8IkqRUOZt4a/fOuaGeeQR26oN7jUf58FhOW6xyv21HmHYWdqrHxMRmwK3x8tDnh+Dq8aAIfB3dQWuqZyFpvm75a+/x5JJ50cNuwoQwizYMtSws5hTIAOop5tSCXoy95lU/RhiaDIe2i0GA09cVHM0Rqz/a5ehzhY+ei/2CQSv+72Pz+4l01kkU4oP06KkFtqacKDqmq39cwKDkh1YXQEetur5C37ddYXB3SpewGPw+Qpr6U2NHJWuDF209ZRry59y6tUp8bmICGmbXUI93/tsl+CwDM4ca2vji6kJXvAYDmphDCtWuj5pqiplEGybufpZRLcZkeLriMOuik7q+VlOq77vnv/SZUPslg7nHHaxojwtfdpl0LGmmkM31SWCpzAJ4B1qqwyOmAIdk4YL4yqbYs4XjlxEdmLno29zJSq0R17wha2lEFA/rgFbmrUDyFq7VJ9bSXwJKsgTwMgbZUcN07SemrI4hnbf7EJGVs7r538IlgtRUPd76rPgWpZsg4mj/NKSU5TgqES6AtplWIwSdRINQsekCZ3H4pROxBQAS/Ua11j21S2Wp9fhLuFPsJV8vaxl0C7TRRfIo5cBDLjP7BkzR/Dpig+X4XHX1IQK1XpY/zXITDwJboaLPAC6x/gfUB3LFEyPXrnotOnSL1JuHLEdadFS/DDT/vLC/F9pFJWcHqevbNq6psdyz2Wh2Es/oWq2sgXgBKJb/7WwCE44xhcSQNMwxa5OoVjylZJVr7FR53/t1mqBbBVax6PwHkx667piJI45wQkqBrpXcQ112Hm1ZL2p4cvEWMTo0VtoBVYClDEUhU5tUvGOI0N/I3MSIQq9hhGr44VWkP9vNzVkPiYTVDp4BodwVzt8PimO/euzDnd8o122zikn1sFaeCL/oBz+gfkDVrYPoHgI001DTu1/R52otUhX6dIAKLMGAGIXj4H37gWrWsbtuV363URJqUDSJ1qcysPCbiJkJcN2ysILYKwDRx5WvUcr02lRBaI/1zL2umgV+RtJ2cMTj3Z1izsFFf0WBufdu9PpH0Dq0t4xVHzZFOpOZjP76Bgy/fpb4nJi802SrMOu7uQP2ompjqXbzfGbzExhopmKpRj+JknfWyCF0TYhY5/TJ7i1MWkxYYdh++E/yCEyFWrSQ9ZmaLUGSo4dzK/2Zfx/Mko/5BhkRW3feX9r8xR+mCiooFm6cSh21EJKT5Upy4X5Y4w8oJJM+KQFUcXnpGtNeYldLNFZwoLXhIZ/LCSyXrV/7vBPXsaX06ZN8DzEByvI3LhO7tKLEJvA8r+jqfCBpnRPUtnzTrJeXy0lhJbMaWNsbeHIWkJVmgEm+/xM/9bsJ+53bp3AUfSqgoEXmNWzjphuB1TjKPJpVvPLdZZARcmBRV3mnMUxMRH8I7xWN1Bdgu8Bu4f25/+4+t3U55LYOaKMQ7kc2MkglIFN6w2ZzzcnqaAkM96f4xQ4Cn+eZM7xUyWuKw4nBmp05AvRJtje4IOtsi3iBkCuOtEu4hd3aOINq9g14YDfkF3cPQTUZsN92g/Y1XplIw7Ur3L4BgFQhv9NtAf3hzfhMa7x0Mi8vbGD8pth3ywoxLgOzNMSZJpvjmwIxlw9HxulZh8j55jip2Bm5o3/ArmfSke3hgAuWZwN4H32HIbYiot6k2BTUa+nza8HY6jP7j/x3uHDkXhJ1ISSNQ9SoQSbiFRSf2iBbuWwS6mFAPu0yjvYz8gEgQrUs1bKWJWeLDppXRH3afvEv/JB0IjFgKMFEc1WZ7CWqG/by26tH4e9VEhgZ1+bS/jQaadzf0XY0lY+vmh7fEKcxoHzwm+2x+hn6iO49T9qjgFJ51WJN4NaLMhyYfAUapmWRrqylDXtQs5iDji+88UjHlEEgqLNl7dtCbSKJWegsMbgzf/dhU7t7w1qLCYd0MmURII8JbPnIZ2fCEwcCHgJPzwDiwze6tQmAxECp+QAelfX79F8C8fGyzs1dziMoObeLWp4iXL5jbhbaG4y90RfPvMS4EY1ASvXiVwH/Vg1UltHvDwYrmsGnkDXdsk+ulZgodLiHqcmgGhJHa3ahNEFsMzZcXClT74huDmvKP+5d2HefIPIcDeaDQ+O+Hh0zgBO6PBHxCcHtzTBkxHPYmnfeddHNABHTPwuKKBUZ4eB8XCSu0ib1hISLyWdPKFxiq4ZBeo41fiDh6lXJnFo8z/4XrREBsBBzlj9/KtbdgUtz9SY8gfepx4fJSUK3PA4R5Jm9q4WDbGRlsSgR2aprIR8ogjYn/m4RUva1mkRlvWeDWnVCVDHE4ZQPRC11PeMkgIoiWJnjSQ+9SrMMHrssp+2EfJ1snQEtFjgei6N8GRACzC0/eF+NJRCSfzvTdaTFNyeWkJagKXLzDncvIJ6Yk857HhSoyZL62FqnPnUJVsNR0y/eOyNTYoSriEbEfeu97IMdomGal8LjudT7gX1BvCHLbpJ3F0Zc27U3my6ZARqVcjEm9GWcWDzuaHZB4s6vd6UYus6+E71fd+kZdaVmQlJ0rchxqVM/AtrvpTF00AVBEhOu6/DhArR+jo0thNypimGLoBJ7BS1dwK8kfjb2fC0DAQJhGOi6SCdAM6hMDrCbvANhnS/cXFF87rYkIbKjgVTYBy0SRNJK/S+Hf/y1/1A2Er456+Rj7uZxxKcoOOJfNpRN3WNrKXmFY88KLQ==">
            <a:extLst>
              <a:ext uri="{FF2B5EF4-FFF2-40B4-BE49-F238E27FC236}">
                <a16:creationId xmlns:a16="http://schemas.microsoft.com/office/drawing/2014/main" id="{F19A8F8D-7BC8-4D9A-ADE0-50B24AE65F6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28816" y="1556131"/>
            <a:ext cx="10518140" cy="4353878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27775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A50F631-1BB5-4946-920F-36330E93EBC6}"/>
              </a:ext>
            </a:extLst>
          </p:cNvPr>
          <p:cNvSpPr/>
          <p:nvPr/>
        </p:nvSpPr>
        <p:spPr>
          <a:xfrm>
            <a:off x="0" y="0"/>
            <a:ext cx="12192000" cy="1331843"/>
          </a:xfrm>
          <a:prstGeom prst="rect">
            <a:avLst/>
          </a:prstGeom>
          <a:solidFill>
            <a:srgbClr val="0075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258DB65-6E23-F742-8A50-EDEC7D7C385C}"/>
              </a:ext>
            </a:extLst>
          </p:cNvPr>
          <p:cNvSpPr txBox="1">
            <a:spLocks/>
          </p:cNvSpPr>
          <p:nvPr/>
        </p:nvSpPr>
        <p:spPr>
          <a:xfrm>
            <a:off x="508963" y="319947"/>
            <a:ext cx="9042541" cy="691947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bg1"/>
                </a:solidFill>
                <a:latin typeface="Gilroy" pitchFamily="2" charset="77"/>
                <a:ea typeface="+mj-ea"/>
                <a:cs typeface="+mj-cs"/>
              </a:defRPr>
            </a:lvl1pPr>
          </a:lstStyle>
          <a:p>
            <a:r>
              <a:rPr lang="en-US" dirty="0"/>
              <a:t>2022 Plan: Marketing | 2022 Initiativ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867FA77-2DB6-43E5-B826-774C502AA6A8}"/>
              </a:ext>
            </a:extLst>
          </p:cNvPr>
          <p:cNvSpPr/>
          <p:nvPr/>
        </p:nvSpPr>
        <p:spPr>
          <a:xfrm>
            <a:off x="10070405" y="-34813"/>
            <a:ext cx="2131533" cy="1995965"/>
          </a:xfrm>
          <a:prstGeom prst="rect">
            <a:avLst/>
          </a:prstGeom>
          <a:solidFill>
            <a:srgbClr val="57C5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734A311-32A0-46DA-82AC-4A5502FACB62}"/>
              </a:ext>
            </a:extLst>
          </p:cNvPr>
          <p:cNvSpPr/>
          <p:nvPr/>
        </p:nvSpPr>
        <p:spPr>
          <a:xfrm>
            <a:off x="10064530" y="198782"/>
            <a:ext cx="1921121" cy="17984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52D9BBD-ED34-4C01-9201-01308F59505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0160848" y="376512"/>
            <a:ext cx="1770882" cy="1409252"/>
          </a:xfrm>
          <a:prstGeom prst="rect">
            <a:avLst/>
          </a:prstGeom>
        </p:spPr>
      </p:pic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967DDDD9-668C-4A04-ACF8-180D47BE76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1938087"/>
              </p:ext>
            </p:extLst>
          </p:nvPr>
        </p:nvGraphicFramePr>
        <p:xfrm>
          <a:off x="367328" y="1939898"/>
          <a:ext cx="11457344" cy="4719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4323">
                  <a:extLst>
                    <a:ext uri="{9D8B030D-6E8A-4147-A177-3AD203B41FA5}">
                      <a16:colId xmlns:a16="http://schemas.microsoft.com/office/drawing/2014/main" val="3060246791"/>
                    </a:ext>
                  </a:extLst>
                </a:gridCol>
                <a:gridCol w="5087133">
                  <a:extLst>
                    <a:ext uri="{9D8B030D-6E8A-4147-A177-3AD203B41FA5}">
                      <a16:colId xmlns:a16="http://schemas.microsoft.com/office/drawing/2014/main" val="3287125419"/>
                    </a:ext>
                  </a:extLst>
                </a:gridCol>
                <a:gridCol w="5095888">
                  <a:extLst>
                    <a:ext uri="{9D8B030D-6E8A-4147-A177-3AD203B41FA5}">
                      <a16:colId xmlns:a16="http://schemas.microsoft.com/office/drawing/2014/main" val="19364950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 dirty="0">
                          <a:latin typeface="Gilroy" panose="00000500000000000000" pitchFamily="50" charset="0"/>
                        </a:rPr>
                        <a:t>Channel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5A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 dirty="0">
                          <a:latin typeface="Gilroy" panose="00000500000000000000" pitchFamily="50" charset="0"/>
                        </a:rPr>
                        <a:t>Growth Market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5A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 dirty="0">
                          <a:latin typeface="Gilroy" panose="00000500000000000000" pitchFamily="50" charset="0"/>
                        </a:rPr>
                        <a:t>Vertical Market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5A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42459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</a:pPr>
                      <a:r>
                        <a:rPr lang="en-US" sz="1200" b="1">
                          <a:latin typeface="Gilroy" panose="00000500000000000000" pitchFamily="50" charset="0"/>
                        </a:rPr>
                        <a:t>Website</a:t>
                      </a:r>
                      <a:endParaRPr lang="en-US" sz="1200" b="1" dirty="0">
                        <a:latin typeface="Gilroy" panose="00000500000000000000" pitchFamily="50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200"/>
                        </a:spcAft>
                        <a:buFontTx/>
                        <a:buBlip>
                          <a:blip r:embed="rId4"/>
                        </a:buBlip>
                      </a:pPr>
                      <a:r>
                        <a:rPr lang="en-US" sz="1200" dirty="0">
                          <a:latin typeface="Gilroy" panose="00000500000000000000" pitchFamily="50" charset="0"/>
                        </a:rPr>
                        <a:t>Partner with search engine optimization agency to grow organic website traffic</a:t>
                      </a:r>
                    </a:p>
                    <a:p>
                      <a:pPr marL="11430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200" dirty="0">
                          <a:latin typeface="Gilroy" panose="00000500000000000000" pitchFamily="50" charset="0"/>
                        </a:rPr>
                        <a:t>Optimize website to convert traffic to lead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200"/>
                        </a:spcAft>
                        <a:buFontTx/>
                        <a:buBlip>
                          <a:blip r:embed="rId4"/>
                        </a:buBlip>
                      </a:pPr>
                      <a:r>
                        <a:rPr lang="en-US" sz="1200" dirty="0">
                          <a:latin typeface="Gilroy" panose="00000500000000000000" pitchFamily="50" charset="0"/>
                        </a:rPr>
                        <a:t>Publish vertical specific blog content</a:t>
                      </a:r>
                    </a:p>
                    <a:p>
                      <a:pPr marL="285750" indent="-285750">
                        <a:spcAft>
                          <a:spcPts val="200"/>
                        </a:spcAft>
                        <a:buFontTx/>
                        <a:buBlip>
                          <a:blip r:embed="rId4"/>
                        </a:buBlip>
                      </a:pPr>
                      <a:r>
                        <a:rPr lang="en-US" sz="1200" dirty="0">
                          <a:latin typeface="Gilroy" panose="00000500000000000000" pitchFamily="50" charset="0"/>
                        </a:rPr>
                        <a:t>Feature marquee client news and case studi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3499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</a:pPr>
                      <a:r>
                        <a:rPr lang="en-US" sz="1200" b="1">
                          <a:latin typeface="Gilroy" panose="00000500000000000000" pitchFamily="50" charset="0"/>
                        </a:rPr>
                        <a:t>Paid Search/ Affiliates</a:t>
                      </a:r>
                      <a:endParaRPr lang="en-US" sz="1200" b="1" dirty="0">
                        <a:latin typeface="Gilroy" panose="00000500000000000000" pitchFamily="50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Blip>
                          <a:blip r:embed="rId4"/>
                        </a:buBlip>
                        <a:tabLst/>
                        <a:defRPr/>
                      </a:pPr>
                      <a:r>
                        <a:rPr lang="en-US" sz="1200" dirty="0">
                          <a:latin typeface="Gilroy" panose="00000500000000000000" pitchFamily="50" charset="0"/>
                        </a:rPr>
                        <a:t>Partner with performance marketing agency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Blip>
                          <a:blip r:embed="rId4"/>
                        </a:buBlip>
                        <a:tabLst/>
                        <a:defRPr/>
                      </a:pPr>
                      <a:r>
                        <a:rPr lang="en-US" sz="1200" dirty="0">
                          <a:latin typeface="Gilroy" panose="00000500000000000000" pitchFamily="50" charset="0"/>
                        </a:rPr>
                        <a:t>Focus on category efficienc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Blip>
                          <a:blip r:embed="rId4"/>
                        </a:buBlip>
                        <a:tabLst/>
                        <a:defRPr/>
                      </a:pPr>
                      <a:r>
                        <a:rPr lang="en-US" sz="1200" dirty="0">
                          <a:latin typeface="Gilroy" panose="00000500000000000000" pitchFamily="50" charset="0"/>
                        </a:rPr>
                        <a:t>Focus on top performing vertical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Blip>
                          <a:blip r:embed="rId4"/>
                        </a:buBlip>
                        <a:tabLst/>
                        <a:defRPr/>
                      </a:pPr>
                      <a:r>
                        <a:rPr lang="en-US" sz="1200" dirty="0">
                          <a:latin typeface="Gilroy" panose="00000500000000000000" pitchFamily="50" charset="0"/>
                        </a:rPr>
                        <a:t>Launch retargeting display ads for top performing vertical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2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24341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200"/>
                        </a:spcAft>
                      </a:pPr>
                      <a:r>
                        <a:rPr lang="en-US" sz="1200" b="1" kern="1200">
                          <a:solidFill>
                            <a:schemeClr val="dk1"/>
                          </a:solidFill>
                          <a:latin typeface="Gilroy" panose="00000500000000000000" pitchFamily="50" charset="0"/>
                          <a:ea typeface="+mn-ea"/>
                          <a:cs typeface="+mn-cs"/>
                        </a:rPr>
                        <a:t>Email</a:t>
                      </a:r>
                      <a:endParaRPr lang="en-US" sz="1200" b="1" kern="1200" dirty="0">
                        <a:solidFill>
                          <a:schemeClr val="dk1"/>
                        </a:solidFill>
                        <a:latin typeface="Gilroy" panose="00000500000000000000" pitchFamily="50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-285750" algn="l" defTabSz="914400" rtl="0" eaLnBrk="1" latinLnBrk="0" hangingPunct="1">
                        <a:spcAft>
                          <a:spcPts val="200"/>
                        </a:spcAft>
                        <a:buFontTx/>
                        <a:buBlip>
                          <a:blip r:embed="rId4"/>
                        </a:buBlip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Gilroy" panose="00000500000000000000" pitchFamily="50" charset="0"/>
                          <a:ea typeface="+mn-ea"/>
                          <a:cs typeface="+mn-cs"/>
                        </a:rPr>
                        <a:t>Launch lead nurture email campaign</a:t>
                      </a:r>
                    </a:p>
                    <a:p>
                      <a:pPr marL="114300" indent="-285750" algn="l" defTabSz="914400" rtl="0" eaLnBrk="1" latinLnBrk="0" hangingPunct="1">
                        <a:spcAft>
                          <a:spcPts val="2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Gilroy" panose="00000500000000000000" pitchFamily="50" charset="0"/>
                          <a:ea typeface="+mn-ea"/>
                          <a:cs typeface="+mn-cs"/>
                        </a:rPr>
                        <a:t>Send customer upsell/cross-sell emails</a:t>
                      </a:r>
                    </a:p>
                    <a:p>
                      <a:pPr marL="114300" indent="-285750" algn="l" defTabSz="914400" rtl="0" eaLnBrk="1" latinLnBrk="0" hangingPunct="1">
                        <a:spcAft>
                          <a:spcPts val="2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Gilroy" panose="00000500000000000000" pitchFamily="50" charset="0"/>
                          <a:ea typeface="+mn-ea"/>
                          <a:cs typeface="+mn-cs"/>
                        </a:rPr>
                        <a:t>Send monthly newsletter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-285750" algn="l" defTabSz="914400" rtl="0" eaLnBrk="1" latinLnBrk="0" hangingPunct="1">
                        <a:spcAft>
                          <a:spcPts val="200"/>
                        </a:spcAft>
                        <a:buFontTx/>
                        <a:buBlip>
                          <a:blip r:embed="rId4"/>
                        </a:buBlip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Gilroy" panose="00000500000000000000" pitchFamily="50" charset="0"/>
                          <a:ea typeface="+mn-ea"/>
                          <a:cs typeface="+mn-cs"/>
                        </a:rPr>
                        <a:t>Launch vertical segmented email campaigns</a:t>
                      </a:r>
                    </a:p>
                    <a:p>
                      <a:pPr marL="114300" indent="-285750" algn="l" defTabSz="914400" rtl="0" eaLnBrk="1" latinLnBrk="0" hangingPunct="1">
                        <a:spcAft>
                          <a:spcPts val="200"/>
                        </a:spcAft>
                        <a:buFontTx/>
                        <a:buBlip>
                          <a:blip r:embed="rId4"/>
                        </a:buBlip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Gilroy" panose="00000500000000000000" pitchFamily="50" charset="0"/>
                          <a:ea typeface="+mn-ea"/>
                          <a:cs typeface="+mn-cs"/>
                        </a:rPr>
                        <a:t>Launch STAR/ABM email strategy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5317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200"/>
                        </a:spcAft>
                      </a:pPr>
                      <a:r>
                        <a:rPr lang="en-US" sz="1200" b="1" kern="1200">
                          <a:solidFill>
                            <a:schemeClr val="dk1"/>
                          </a:solidFill>
                          <a:latin typeface="Gilroy" panose="00000500000000000000" pitchFamily="50" charset="0"/>
                          <a:ea typeface="+mn-ea"/>
                          <a:cs typeface="+mn-cs"/>
                        </a:rPr>
                        <a:t>Social Media</a:t>
                      </a:r>
                      <a:endParaRPr lang="en-US" sz="1200" b="1" kern="1200" dirty="0">
                        <a:solidFill>
                          <a:schemeClr val="dk1"/>
                        </a:solidFill>
                        <a:latin typeface="Gilroy" panose="00000500000000000000" pitchFamily="50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Blip>
                          <a:blip r:embed="rId4"/>
                        </a:buBlip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Gilroy" panose="00000500000000000000" pitchFamily="50" charset="0"/>
                          <a:ea typeface="+mn-ea"/>
                          <a:cs typeface="+mn-cs"/>
                        </a:rPr>
                        <a:t>Improve brand reputation via Google Review Program</a:t>
                      </a:r>
                    </a:p>
                    <a:p>
                      <a:pPr marL="11430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Blip>
                          <a:blip r:embed="rId4"/>
                        </a:buBlip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Gilroy" panose="00000500000000000000" pitchFamily="50" charset="0"/>
                          <a:ea typeface="+mn-ea"/>
                          <a:cs typeface="+mn-cs"/>
                        </a:rPr>
                        <a:t>Launch Employee Advocacy Program</a:t>
                      </a:r>
                    </a:p>
                    <a:p>
                      <a:pPr marL="11430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Gilroy" panose="00000500000000000000" pitchFamily="50" charset="0"/>
                          <a:ea typeface="+mn-ea"/>
                          <a:cs typeface="+mn-cs"/>
                        </a:rPr>
                        <a:t>Improve brand awareness via frequent postin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-285750" algn="l" defTabSz="914400" rtl="0" eaLnBrk="1" latinLnBrk="0" hangingPunct="1">
                        <a:spcAft>
                          <a:spcPts val="200"/>
                        </a:spcAft>
                        <a:buFontTx/>
                        <a:buBlip>
                          <a:blip r:embed="rId4"/>
                        </a:buBlip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Gilroy" panose="00000500000000000000" pitchFamily="50" charset="0"/>
                          <a:ea typeface="+mn-ea"/>
                          <a:cs typeface="+mn-cs"/>
                        </a:rPr>
                        <a:t>Launch LinkedIn InMail campaign first focused on STAR/ABM and </a:t>
                      </a:r>
                    </a:p>
                    <a:p>
                      <a:pPr marL="0" indent="0" algn="l" defTabSz="914400" rtl="0" eaLnBrk="1" latinLnBrk="0" hangingPunct="1">
                        <a:spcAft>
                          <a:spcPts val="200"/>
                        </a:spcAft>
                        <a:buFontTx/>
                        <a:buNone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Gilroy" panose="00000500000000000000" pitchFamily="50" charset="0"/>
                          <a:ea typeface="+mn-ea"/>
                          <a:cs typeface="+mn-cs"/>
                        </a:rPr>
                        <a:t>        then expand to include specific verticals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2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69317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</a:pPr>
                      <a:r>
                        <a:rPr lang="en-US" sz="1200" b="1" dirty="0">
                          <a:latin typeface="Gilroy" panose="00000500000000000000" pitchFamily="50" charset="0"/>
                        </a:rPr>
                        <a:t>Service Lead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200" dirty="0">
                          <a:latin typeface="Gilroy" panose="00000500000000000000" pitchFamily="50" charset="0"/>
                        </a:rPr>
                        <a:t>Incentivize service techs to upsell/cross-sell current customer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200"/>
                        </a:spcAft>
                        <a:buFontTx/>
                        <a:buBlip>
                          <a:blip r:embed="rId4"/>
                        </a:buBlip>
                      </a:pPr>
                      <a:r>
                        <a:rPr lang="en-US" sz="1200" dirty="0">
                          <a:latin typeface="Gilroy" panose="00000500000000000000" pitchFamily="50" charset="0"/>
                        </a:rPr>
                        <a:t>Train service techs on how to identify large customer opportunities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5258748"/>
                  </a:ext>
                </a:extLst>
              </a:tr>
              <a:tr h="432093"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</a:pPr>
                      <a:r>
                        <a:rPr lang="en-US" sz="1200" b="1">
                          <a:latin typeface="Gilroy" panose="00000500000000000000" pitchFamily="50" charset="0"/>
                        </a:rPr>
                        <a:t>Tradeshows</a:t>
                      </a:r>
                      <a:endParaRPr lang="en-US" sz="1200" b="1" dirty="0">
                        <a:latin typeface="Gilroy" panose="00000500000000000000" pitchFamily="50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2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sz="1200" dirty="0">
                          <a:latin typeface="Gilroy" panose="00000500000000000000" pitchFamily="50" charset="0"/>
                        </a:rPr>
                        <a:t>Attend IFMA &amp; NFMT national tradeshows</a:t>
                      </a:r>
                    </a:p>
                    <a:p>
                      <a:pPr marL="285750" indent="-285750">
                        <a:spcAft>
                          <a:spcPts val="2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sz="1200">
                          <a:latin typeface="Gilroy" panose="00000500000000000000" pitchFamily="50" charset="0"/>
                        </a:rPr>
                        <a:t>Facilitate local tradeshows for sales reps</a:t>
                      </a:r>
                      <a:endParaRPr lang="en-US" sz="1200" dirty="0">
                        <a:latin typeface="Gilroy" panose="00000500000000000000" pitchFamily="50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200"/>
                        </a:spcAft>
                        <a:buFontTx/>
                        <a:buBlip>
                          <a:blip r:embed="rId4"/>
                        </a:buBlip>
                      </a:pPr>
                      <a:r>
                        <a:rPr lang="en-US" sz="1200" dirty="0">
                          <a:latin typeface="Gilroy" panose="00000500000000000000" pitchFamily="50" charset="0"/>
                        </a:rPr>
                        <a:t>Attend tradeshows and industry conferences for top performing verticals </a:t>
                      </a:r>
                    </a:p>
                    <a:p>
                      <a:pPr marL="285750" indent="-285750">
                        <a:spcAft>
                          <a:spcPts val="200"/>
                        </a:spcAft>
                        <a:buFontTx/>
                        <a:buBlip>
                          <a:blip r:embed="rId4"/>
                        </a:buBlip>
                      </a:pPr>
                      <a:r>
                        <a:rPr lang="en-US" sz="1200" dirty="0">
                          <a:latin typeface="Gilroy" panose="00000500000000000000" pitchFamily="50" charset="0"/>
                        </a:rPr>
                        <a:t>Advertisements in select trade publicatio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2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00338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</a:pPr>
                      <a:r>
                        <a:rPr lang="en-US" sz="1200" b="1">
                          <a:latin typeface="Gilroy" panose="00000500000000000000" pitchFamily="50" charset="0"/>
                        </a:rPr>
                        <a:t>PR</a:t>
                      </a:r>
                      <a:endParaRPr lang="en-US" sz="1200" b="1" dirty="0">
                        <a:latin typeface="Gilroy" panose="00000500000000000000" pitchFamily="50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2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sz="1200">
                          <a:latin typeface="Gilroy" panose="00000500000000000000" pitchFamily="50" charset="0"/>
                        </a:rPr>
                        <a:t>Publish product and M&amp;A press releases</a:t>
                      </a:r>
                      <a:endParaRPr lang="en-US" sz="1200" dirty="0">
                        <a:latin typeface="Gilroy" panose="00000500000000000000" pitchFamily="50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200"/>
                        </a:spcAft>
                        <a:buFontTx/>
                        <a:buBlip>
                          <a:blip r:embed="rId4"/>
                        </a:buBlip>
                      </a:pPr>
                      <a:r>
                        <a:rPr lang="en-US" sz="1200" dirty="0">
                          <a:latin typeface="Gilroy" panose="00000500000000000000" pitchFamily="50" charset="0"/>
                        </a:rPr>
                        <a:t>Publish large customer account press releases</a:t>
                      </a:r>
                    </a:p>
                    <a:p>
                      <a:pPr marL="285750" indent="-285750">
                        <a:spcAft>
                          <a:spcPts val="200"/>
                        </a:spcAft>
                        <a:buFontTx/>
                        <a:buBlip>
                          <a:blip r:embed="rId4"/>
                        </a:buBlip>
                      </a:pPr>
                      <a:r>
                        <a:rPr lang="en-US" sz="1200" dirty="0">
                          <a:latin typeface="Gilroy" panose="00000500000000000000" pitchFamily="50" charset="0"/>
                        </a:rPr>
                        <a:t>Establish strategic partnerships with industry trade associatio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90128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</a:pPr>
                      <a:r>
                        <a:rPr lang="en-US" sz="1200" b="1">
                          <a:latin typeface="Gilroy" panose="00000500000000000000" pitchFamily="50" charset="0"/>
                        </a:rPr>
                        <a:t>Sales Enablement</a:t>
                      </a:r>
                      <a:endParaRPr lang="en-US" sz="1200" b="1" dirty="0">
                        <a:latin typeface="Gilroy" panose="00000500000000000000" pitchFamily="50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Blip>
                          <a:blip r:embed="rId4"/>
                        </a:buBlip>
                        <a:tabLst/>
                        <a:defRPr/>
                      </a:pPr>
                      <a:r>
                        <a:rPr lang="en-US" sz="1200" dirty="0">
                          <a:latin typeface="Gilroy" panose="00000500000000000000" pitchFamily="50" charset="0"/>
                        </a:rPr>
                        <a:t>Launch </a:t>
                      </a:r>
                      <a:r>
                        <a:rPr lang="en-US" sz="1200" dirty="0" err="1">
                          <a:latin typeface="Gilroy" panose="00000500000000000000" pitchFamily="50" charset="0"/>
                        </a:rPr>
                        <a:t>Highspot</a:t>
                      </a:r>
                      <a:r>
                        <a:rPr lang="en-US" sz="1200" dirty="0">
                          <a:latin typeface="Gilroy" panose="00000500000000000000" pitchFamily="50" charset="0"/>
                        </a:rPr>
                        <a:t> content management system in </a:t>
                      </a:r>
                      <a:r>
                        <a:rPr lang="en-US" sz="1200" dirty="0" err="1">
                          <a:latin typeface="Gilroy" panose="00000500000000000000" pitchFamily="50" charset="0"/>
                        </a:rPr>
                        <a:t>Qforce</a:t>
                      </a:r>
                      <a:endParaRPr lang="en-US" sz="1200" dirty="0">
                        <a:latin typeface="Gilroy" panose="00000500000000000000" pitchFamily="50" charset="0"/>
                      </a:endParaRPr>
                    </a:p>
                    <a:p>
                      <a:pPr marL="285750" indent="-285750">
                        <a:spcAft>
                          <a:spcPts val="2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sz="1200" dirty="0">
                          <a:latin typeface="Gilroy" panose="00000500000000000000" pitchFamily="50" charset="0"/>
                        </a:rPr>
                        <a:t>Create new trifold, updated installation video, product launch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2E2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200"/>
                        </a:spcAft>
                        <a:buFontTx/>
                        <a:buBlip>
                          <a:blip r:embed="rId4"/>
                        </a:buBlip>
                      </a:pPr>
                      <a:r>
                        <a:rPr lang="en-US" sz="1200" dirty="0">
                          <a:latin typeface="Gilroy" panose="00000500000000000000" pitchFamily="50" charset="0"/>
                        </a:rPr>
                        <a:t>Create vertical and national account support documents </a:t>
                      </a:r>
                    </a:p>
                    <a:p>
                      <a:pPr marL="285750" indent="-285750">
                        <a:spcAft>
                          <a:spcPts val="200"/>
                        </a:spcAft>
                        <a:buFontTx/>
                        <a:buBlip>
                          <a:blip r:embed="rId4"/>
                        </a:buBlip>
                      </a:pPr>
                      <a:r>
                        <a:rPr lang="en-US" sz="1200" dirty="0">
                          <a:latin typeface="Gilroy" panose="00000500000000000000" pitchFamily="50" charset="0"/>
                        </a:rPr>
                        <a:t>Complete vertical flyers and case studi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2E2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9516239"/>
                  </a:ext>
                </a:extLst>
              </a:tr>
            </a:tbl>
          </a:graphicData>
        </a:graphic>
      </p:graphicFrame>
      <p:sp>
        <p:nvSpPr>
          <p:cNvPr id="28" name="TextBox 27">
            <a:extLst>
              <a:ext uri="{FF2B5EF4-FFF2-40B4-BE49-F238E27FC236}">
                <a16:creationId xmlns:a16="http://schemas.microsoft.com/office/drawing/2014/main" id="{461F6F20-0279-4442-BB79-B2AE9ABF55BA}"/>
              </a:ext>
            </a:extLst>
          </p:cNvPr>
          <p:cNvSpPr txBox="1"/>
          <p:nvPr/>
        </p:nvSpPr>
        <p:spPr>
          <a:xfrm>
            <a:off x="8294873" y="387090"/>
            <a:ext cx="982494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Blip>
                <a:blip r:embed="rId5"/>
              </a:buBlip>
            </a:pPr>
            <a:r>
              <a:rPr lang="en-US" sz="1500" dirty="0">
                <a:solidFill>
                  <a:schemeClr val="bg1"/>
                </a:solidFill>
                <a:latin typeface="Gilroy" panose="00000500000000000000" pitchFamily="50" charset="0"/>
              </a:rPr>
              <a:t>NEW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500" dirty="0">
                <a:solidFill>
                  <a:schemeClr val="bg1"/>
                </a:solidFill>
                <a:latin typeface="Gilroy" panose="00000500000000000000" pitchFamily="50" charset="0"/>
              </a:rPr>
              <a:t>BAU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6FB8129-C2BD-4FB1-BE60-9F7350F2D97E}"/>
              </a:ext>
            </a:extLst>
          </p:cNvPr>
          <p:cNvGrpSpPr/>
          <p:nvPr/>
        </p:nvGrpSpPr>
        <p:grpSpPr>
          <a:xfrm>
            <a:off x="281074" y="1298638"/>
            <a:ext cx="2928786" cy="564193"/>
            <a:chOff x="281074" y="1206857"/>
            <a:chExt cx="2928786" cy="564193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E06C12B-5F4C-48B2-8B80-95C2B3B8888C}"/>
                </a:ext>
              </a:extLst>
            </p:cNvPr>
            <p:cNvSpPr/>
            <p:nvPr/>
          </p:nvSpPr>
          <p:spPr>
            <a:xfrm>
              <a:off x="1026771" y="1272472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mployee Experience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67774E3-96CF-4A69-899D-B613E8334E2D}"/>
                </a:ext>
              </a:extLst>
            </p:cNvPr>
            <p:cNvSpPr/>
            <p:nvPr/>
          </p:nvSpPr>
          <p:spPr>
            <a:xfrm>
              <a:off x="2514941" y="1272472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&amp;A, including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aterlogic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D3F493F-9FE1-49D4-BD7A-A33F1FCFAE4A}"/>
                </a:ext>
              </a:extLst>
            </p:cNvPr>
            <p:cNvSpPr/>
            <p:nvPr/>
          </p:nvSpPr>
          <p:spPr>
            <a:xfrm>
              <a:off x="1776028" y="1272472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o-to-market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51A234B-43E5-4880-BD82-7A12F257FE5D}"/>
                </a:ext>
              </a:extLst>
            </p:cNvPr>
            <p:cNvSpPr/>
            <p:nvPr/>
          </p:nvSpPr>
          <p:spPr>
            <a:xfrm>
              <a:off x="281074" y="1272472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ustomer Experience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EAA82E8-CE99-45C1-A1AB-6D0959B55DC0}"/>
                </a:ext>
              </a:extLst>
            </p:cNvPr>
            <p:cNvSpPr/>
            <p:nvPr/>
          </p:nvSpPr>
          <p:spPr>
            <a:xfrm>
              <a:off x="1703058" y="1206857"/>
              <a:ext cx="823521" cy="564193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rgbClr val="C00000"/>
                  </a:solidFill>
                </a:ln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9A18CC48-6635-41FF-BEE0-E2FD69D8480C}"/>
              </a:ext>
            </a:extLst>
          </p:cNvPr>
          <p:cNvSpPr/>
          <p:nvPr/>
        </p:nvSpPr>
        <p:spPr>
          <a:xfrm>
            <a:off x="1721690" y="2348917"/>
            <a:ext cx="4915856" cy="377505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9AB2553-C8D2-49C0-8995-9A9A4DDEC274}"/>
              </a:ext>
            </a:extLst>
          </p:cNvPr>
          <p:cNvSpPr/>
          <p:nvPr/>
        </p:nvSpPr>
        <p:spPr>
          <a:xfrm>
            <a:off x="1703058" y="3451724"/>
            <a:ext cx="4915856" cy="273254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8CC9936-2B4C-4BA8-AC74-C69E9AEFA96E}"/>
              </a:ext>
            </a:extLst>
          </p:cNvPr>
          <p:cNvSpPr/>
          <p:nvPr/>
        </p:nvSpPr>
        <p:spPr>
          <a:xfrm>
            <a:off x="6819439" y="3451724"/>
            <a:ext cx="4915856" cy="273254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9DA2F64-3AD3-4EAF-863E-44FAEEA7D4C0}"/>
              </a:ext>
            </a:extLst>
          </p:cNvPr>
          <p:cNvSpPr/>
          <p:nvPr/>
        </p:nvSpPr>
        <p:spPr>
          <a:xfrm>
            <a:off x="6819439" y="4191603"/>
            <a:ext cx="4915856" cy="418898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186C9B6-D61B-4A5A-8506-39288A078AE0}"/>
              </a:ext>
            </a:extLst>
          </p:cNvPr>
          <p:cNvSpPr/>
          <p:nvPr/>
        </p:nvSpPr>
        <p:spPr>
          <a:xfrm>
            <a:off x="6819439" y="6197656"/>
            <a:ext cx="4915856" cy="273254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9280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A50F631-1BB5-4946-920F-36330E93EBC6}"/>
              </a:ext>
            </a:extLst>
          </p:cNvPr>
          <p:cNvSpPr/>
          <p:nvPr/>
        </p:nvSpPr>
        <p:spPr>
          <a:xfrm>
            <a:off x="0" y="0"/>
            <a:ext cx="12192000" cy="1331843"/>
          </a:xfrm>
          <a:prstGeom prst="rect">
            <a:avLst/>
          </a:prstGeom>
          <a:solidFill>
            <a:srgbClr val="0075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0FA670-4D1B-5242-97A3-5DF343E5C08E}"/>
              </a:ext>
            </a:extLst>
          </p:cNvPr>
          <p:cNvSpPr/>
          <p:nvPr/>
        </p:nvSpPr>
        <p:spPr>
          <a:xfrm>
            <a:off x="10070405" y="1277"/>
            <a:ext cx="2131533" cy="2438397"/>
          </a:xfrm>
          <a:prstGeom prst="rect">
            <a:avLst/>
          </a:prstGeom>
          <a:solidFill>
            <a:srgbClr val="57C5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BA4B48-125A-6440-843B-AEDB8EDCA3E1}"/>
              </a:ext>
            </a:extLst>
          </p:cNvPr>
          <p:cNvSpPr/>
          <p:nvPr/>
        </p:nvSpPr>
        <p:spPr>
          <a:xfrm>
            <a:off x="9919252" y="198782"/>
            <a:ext cx="2078432" cy="2266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C862359-1DC9-7647-A6A7-973934220904}"/>
              </a:ext>
            </a:extLst>
          </p:cNvPr>
          <p:cNvSpPr txBox="1">
            <a:spLocks/>
          </p:cNvSpPr>
          <p:nvPr/>
        </p:nvSpPr>
        <p:spPr>
          <a:xfrm>
            <a:off x="508963" y="1694163"/>
            <a:ext cx="10939307" cy="40842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lnSpc>
                <a:spcPct val="150000"/>
              </a:lnSpc>
              <a:spcBef>
                <a:spcPts val="1000"/>
              </a:spcBef>
              <a:buNone/>
            </a:pPr>
            <a:endParaRPr lang="en-US" sz="1800" dirty="0"/>
          </a:p>
          <a:p>
            <a:pPr marL="1143000" lvl="3">
              <a:lnSpc>
                <a:spcPts val="2600"/>
              </a:lnSpc>
              <a:spcBef>
                <a:spcPts val="1000"/>
              </a:spcBef>
            </a:pPr>
            <a:endParaRPr lang="en-US" sz="1050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D4A2F32-06D9-4D46-AAA9-0B4E07833E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FD11E28-60AF-B543-AA61-E2BD0459882F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BFD53DE-1804-47B3-81BB-73FF756D059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0117988" y="656492"/>
            <a:ext cx="1616017" cy="1286012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3C6CDA5B-F930-4877-BEFC-59FC557A50B7}"/>
              </a:ext>
            </a:extLst>
          </p:cNvPr>
          <p:cNvSpPr txBox="1">
            <a:spLocks/>
          </p:cNvSpPr>
          <p:nvPr/>
        </p:nvSpPr>
        <p:spPr>
          <a:xfrm>
            <a:off x="299311" y="262769"/>
            <a:ext cx="9042541" cy="691947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bg1"/>
                </a:solidFill>
                <a:latin typeface="Gilroy" pitchFamily="2" charset="77"/>
                <a:ea typeface="+mj-ea"/>
                <a:cs typeface="+mj-cs"/>
              </a:defRPr>
            </a:lvl1pPr>
          </a:lstStyle>
          <a:p>
            <a:r>
              <a:rPr lang="en-US" dirty="0"/>
              <a:t>2022 – Let’s Go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B79DBC96-F5D3-4AB9-9CEC-BE2878AF5A3E}"/>
              </a:ext>
            </a:extLst>
          </p:cNvPr>
          <p:cNvSpPr txBox="1">
            <a:spLocks/>
          </p:cNvSpPr>
          <p:nvPr/>
        </p:nvSpPr>
        <p:spPr>
          <a:xfrm>
            <a:off x="625561" y="1845729"/>
            <a:ext cx="3532782" cy="96278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1">
              <a:lnSpc>
                <a:spcPts val="2600"/>
              </a:lnSpc>
              <a:spcBef>
                <a:spcPts val="1000"/>
              </a:spcBef>
            </a:pPr>
            <a:endParaRPr lang="en-US" sz="3200" dirty="0"/>
          </a:p>
          <a:p>
            <a:pPr marL="0" lvl="1" indent="0" algn="ctr">
              <a:lnSpc>
                <a:spcPts val="2600"/>
              </a:lnSpc>
              <a:spcBef>
                <a:spcPts val="1000"/>
              </a:spcBef>
              <a:buNone/>
            </a:pPr>
            <a:r>
              <a:rPr lang="en-US" sz="3200" b="1" dirty="0">
                <a:solidFill>
                  <a:srgbClr val="0075A8"/>
                </a:solidFill>
              </a:rPr>
              <a:t>Our Strengths</a:t>
            </a:r>
          </a:p>
          <a:p>
            <a:pPr marL="285750" indent="-285750"/>
            <a:endParaRPr lang="en-US" sz="3200" dirty="0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6F8A2324-D37B-4B24-B1B8-18635C5F28D4}"/>
              </a:ext>
            </a:extLst>
          </p:cNvPr>
          <p:cNvSpPr txBox="1">
            <a:spLocks/>
          </p:cNvSpPr>
          <p:nvPr/>
        </p:nvSpPr>
        <p:spPr>
          <a:xfrm>
            <a:off x="3279648" y="2904535"/>
            <a:ext cx="4492752" cy="96278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1">
              <a:lnSpc>
                <a:spcPts val="2600"/>
              </a:lnSpc>
              <a:spcBef>
                <a:spcPts val="1000"/>
              </a:spcBef>
            </a:pPr>
            <a:endParaRPr lang="en-US" sz="4000" dirty="0"/>
          </a:p>
          <a:p>
            <a:pPr marL="0" lvl="1" indent="0" algn="ctr">
              <a:lnSpc>
                <a:spcPts val="2600"/>
              </a:lnSpc>
              <a:spcBef>
                <a:spcPts val="1000"/>
              </a:spcBef>
              <a:buNone/>
            </a:pPr>
            <a:r>
              <a:rPr lang="en-US" sz="4000" b="1" dirty="0">
                <a:solidFill>
                  <a:srgbClr val="0075A8"/>
                </a:solidFill>
              </a:rPr>
              <a:t>Our Investments</a:t>
            </a:r>
          </a:p>
          <a:p>
            <a:pPr marL="285750" indent="-285750"/>
            <a:endParaRPr lang="en-US" sz="4000" dirty="0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BE9CF3D5-7685-4816-990B-33FC73D44E3D}"/>
              </a:ext>
            </a:extLst>
          </p:cNvPr>
          <p:cNvSpPr txBox="1">
            <a:spLocks/>
          </p:cNvSpPr>
          <p:nvPr/>
        </p:nvSpPr>
        <p:spPr>
          <a:xfrm>
            <a:off x="7785113" y="4112850"/>
            <a:ext cx="3532782" cy="962785"/>
          </a:xfrm>
          <a:prstGeom prst="rect">
            <a:avLst/>
          </a:prstGeom>
        </p:spPr>
        <p:txBody>
          <a:bodyPr>
            <a:normAutofit fontScale="7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1">
              <a:lnSpc>
                <a:spcPts val="2600"/>
              </a:lnSpc>
              <a:spcBef>
                <a:spcPts val="1000"/>
              </a:spcBef>
            </a:pPr>
            <a:endParaRPr lang="en-US" sz="3600" dirty="0"/>
          </a:p>
          <a:p>
            <a:pPr marL="0" lvl="1" indent="0" algn="ctr">
              <a:lnSpc>
                <a:spcPts val="2600"/>
              </a:lnSpc>
              <a:spcBef>
                <a:spcPts val="1000"/>
              </a:spcBef>
              <a:buNone/>
            </a:pPr>
            <a:r>
              <a:rPr lang="en-US" sz="6000" b="1" dirty="0">
                <a:solidFill>
                  <a:srgbClr val="0075A8"/>
                </a:solidFill>
              </a:rPr>
              <a:t>Our People</a:t>
            </a:r>
          </a:p>
          <a:p>
            <a:pPr marL="285750" indent="-285750"/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8726429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3" grpId="0"/>
      <p:bldP spid="2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29FD05-BD80-9342-929B-F380CB3F95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2021 Review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2E14822-278E-4EBC-94FE-E25CA85BB9A3}"/>
              </a:ext>
            </a:extLst>
          </p:cNvPr>
          <p:cNvSpPr/>
          <p:nvPr/>
        </p:nvSpPr>
        <p:spPr>
          <a:xfrm>
            <a:off x="3654795" y="4353563"/>
            <a:ext cx="4586320" cy="9233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1400" dirty="0">
                <a:solidFill>
                  <a:schemeClr val="bg1"/>
                </a:solidFill>
                <a:latin typeface="Gilroy" pitchFamily="2" charset="77"/>
                <a:ea typeface="+mj-ea"/>
                <a:cs typeface="+mj-cs"/>
              </a:rPr>
              <a:t>John Whalen</a:t>
            </a:r>
          </a:p>
        </p:txBody>
      </p:sp>
    </p:spTree>
    <p:extLst>
      <p:ext uri="{BB962C8B-B14F-4D97-AF65-F5344CB8AC3E}">
        <p14:creationId xmlns:p14="http://schemas.microsoft.com/office/powerpoint/2010/main" val="16881810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A50F631-1BB5-4946-920F-36330E93EBC6}"/>
              </a:ext>
            </a:extLst>
          </p:cNvPr>
          <p:cNvSpPr/>
          <p:nvPr/>
        </p:nvSpPr>
        <p:spPr>
          <a:xfrm>
            <a:off x="0" y="0"/>
            <a:ext cx="12192000" cy="1331843"/>
          </a:xfrm>
          <a:prstGeom prst="rect">
            <a:avLst/>
          </a:prstGeom>
          <a:solidFill>
            <a:srgbClr val="0075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258DB65-6E23-F742-8A50-EDEC7D7C385C}"/>
              </a:ext>
            </a:extLst>
          </p:cNvPr>
          <p:cNvSpPr txBox="1">
            <a:spLocks/>
          </p:cNvSpPr>
          <p:nvPr/>
        </p:nvSpPr>
        <p:spPr>
          <a:xfrm>
            <a:off x="508963" y="248502"/>
            <a:ext cx="9042541" cy="895561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bg1"/>
                </a:solidFill>
                <a:latin typeface="Gilroy" pitchFamily="2" charset="77"/>
                <a:ea typeface="+mj-ea"/>
                <a:cs typeface="+mj-cs"/>
              </a:defRPr>
            </a:lvl1pPr>
          </a:lstStyle>
          <a:p>
            <a:r>
              <a:rPr lang="en-US" dirty="0"/>
              <a:t>2021 Review:  Where we excelled…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0FA670-4D1B-5242-97A3-5DF343E5C08E}"/>
              </a:ext>
            </a:extLst>
          </p:cNvPr>
          <p:cNvSpPr/>
          <p:nvPr/>
        </p:nvSpPr>
        <p:spPr>
          <a:xfrm>
            <a:off x="10070405" y="1277"/>
            <a:ext cx="2131533" cy="2438397"/>
          </a:xfrm>
          <a:prstGeom prst="rect">
            <a:avLst/>
          </a:prstGeom>
          <a:solidFill>
            <a:srgbClr val="57C5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BA4B48-125A-6440-843B-AEDB8EDCA3E1}"/>
              </a:ext>
            </a:extLst>
          </p:cNvPr>
          <p:cNvSpPr/>
          <p:nvPr/>
        </p:nvSpPr>
        <p:spPr>
          <a:xfrm>
            <a:off x="9919252" y="198782"/>
            <a:ext cx="2078432" cy="2266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46E37C6-B020-D042-902A-C0CC130FDDD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0149799" y="655442"/>
            <a:ext cx="1617337" cy="1287062"/>
          </a:xfrm>
          <a:prstGeom prst="rect">
            <a:avLst/>
          </a:prstGeom>
        </p:spPr>
      </p:pic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652ED9CB-B3A3-E247-93A7-CE7C6ACB41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FD11E28-60AF-B543-AA61-E2BD0459882F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B7792D7-6CE2-40F0-9FEC-F5E057AA6F5E}"/>
              </a:ext>
            </a:extLst>
          </p:cNvPr>
          <p:cNvSpPr txBox="1"/>
          <p:nvPr/>
        </p:nvSpPr>
        <p:spPr>
          <a:xfrm>
            <a:off x="127916" y="1443658"/>
            <a:ext cx="11639220" cy="5221897"/>
          </a:xfrm>
          <a:prstGeom prst="rect">
            <a:avLst/>
          </a:prstGeom>
        </p:spPr>
        <p:txBody>
          <a:bodyPr lIns="0" tIns="0" rIns="0" bIns="0"/>
          <a:lstStyle>
            <a:lvl1pPr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Tx/>
              <a:buNone/>
              <a:defRPr sz="3000" b="1" i="0" baseline="0">
                <a:latin typeface="Calibri" charset="0"/>
                <a:ea typeface="Arial Black" charset="0"/>
                <a:cs typeface="Arial Black" charset="0"/>
              </a:defRPr>
            </a:lvl1pPr>
            <a:lvl2pPr marL="338138" lvl="1" indent="-225425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>
                <a:srgbClr val="B9D037"/>
              </a:buClr>
              <a:buFont typeface="Arial"/>
              <a:buChar char="•"/>
              <a:defRPr sz="2000" baseline="0"/>
            </a:lvl2pPr>
            <a:lvl3pPr marL="688975" lvl="2" indent="-225425">
              <a:lnSpc>
                <a:spcPct val="90000"/>
              </a:lnSpc>
              <a:spcBef>
                <a:spcPts val="500"/>
              </a:spcBef>
              <a:buClr>
                <a:srgbClr val="B9D037"/>
              </a:buClr>
              <a:buSzPct val="115000"/>
              <a:buFont typeface="Arial"/>
              <a:buChar char="•"/>
              <a:defRPr sz="2000" baseline="0"/>
            </a:lvl3pPr>
            <a:lvl4pPr marL="1027113" lvl="3" indent="-225425">
              <a:lnSpc>
                <a:spcPct val="90000"/>
              </a:lnSpc>
              <a:spcBef>
                <a:spcPts val="500"/>
              </a:spcBef>
              <a:buClr>
                <a:srgbClr val="B9D037"/>
              </a:buClr>
              <a:buSzPct val="115000"/>
              <a:buFont typeface="Arial"/>
              <a:buChar char="•"/>
              <a:defRPr baseline="0"/>
            </a:lvl4pPr>
            <a:lvl5pPr marL="1377950" lvl="4" indent="-238125">
              <a:lnSpc>
                <a:spcPct val="90000"/>
              </a:lnSpc>
              <a:spcBef>
                <a:spcPts val="500"/>
              </a:spcBef>
              <a:buClr>
                <a:srgbClr val="B9D037"/>
              </a:buClr>
              <a:buSzPct val="115000"/>
              <a:buFont typeface="Arial"/>
              <a:buChar char="•"/>
              <a:defRPr baseline="0"/>
            </a:lvl5pPr>
            <a:lvl6pPr marL="1716088" lvl="5" indent="-225425">
              <a:lnSpc>
                <a:spcPct val="90000"/>
              </a:lnSpc>
              <a:spcBef>
                <a:spcPts val="500"/>
              </a:spcBef>
              <a:buClr>
                <a:srgbClr val="31C1E3"/>
              </a:buClr>
              <a:buSzPct val="115000"/>
              <a:buFont typeface="Arial"/>
              <a:buChar char="•"/>
              <a:defRPr>
                <a:solidFill>
                  <a:srgbClr val="204565"/>
                </a:solidFill>
              </a:defRPr>
            </a:lvl6pPr>
            <a:lvl7pPr marL="2054225" lvl="6" indent="-225425">
              <a:lnSpc>
                <a:spcPct val="90000"/>
              </a:lnSpc>
              <a:spcBef>
                <a:spcPts val="500"/>
              </a:spcBef>
              <a:buClr>
                <a:srgbClr val="31C1E3"/>
              </a:buClr>
              <a:buSzPct val="115000"/>
              <a:buFont typeface="Arial"/>
              <a:buChar char="•"/>
              <a:defRPr>
                <a:solidFill>
                  <a:srgbClr val="204565"/>
                </a:solidFill>
              </a:defRPr>
            </a:lvl7pPr>
            <a:lvl8pPr marL="2405063" lvl="7" indent="-238125">
              <a:lnSpc>
                <a:spcPct val="90000"/>
              </a:lnSpc>
              <a:spcBef>
                <a:spcPts val="500"/>
              </a:spcBef>
              <a:buClr>
                <a:srgbClr val="31C1E3"/>
              </a:buClr>
              <a:buSzPct val="115000"/>
              <a:buFont typeface="Arial"/>
              <a:buChar char="•"/>
              <a:defRPr baseline="0">
                <a:solidFill>
                  <a:srgbClr val="204565"/>
                </a:solidFill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lvl="1">
              <a:lnSpc>
                <a:spcPct val="100000"/>
              </a:lnSpc>
              <a:buClr>
                <a:srgbClr val="0075A8"/>
              </a:buClr>
              <a:buFont typeface="Wingdings" panose="05000000000000000000" pitchFamily="2" charset="2"/>
              <a:buChar char="Ø"/>
            </a:pPr>
            <a:r>
              <a:rPr lang="en-US" b="1" dirty="0"/>
              <a:t>Business Growth:  </a:t>
            </a:r>
            <a:r>
              <a:rPr lang="en-US" dirty="0"/>
              <a:t>Continued push up-market by sales teams with major accounts;</a:t>
            </a:r>
            <a:br>
              <a:rPr lang="en-US" dirty="0"/>
            </a:br>
            <a:r>
              <a:rPr lang="en-US" dirty="0"/>
              <a:t>M&amp;A growth with 18 acquisitions to include </a:t>
            </a:r>
            <a:r>
              <a:rPr lang="en-US" dirty="0" err="1"/>
              <a:t>TruSource</a:t>
            </a:r>
            <a:r>
              <a:rPr lang="en-US" dirty="0"/>
              <a:t> (Canada) and Vero (</a:t>
            </a:r>
            <a:r>
              <a:rPr lang="en-US" dirty="0" err="1"/>
              <a:t>HoReCa</a:t>
            </a:r>
            <a:r>
              <a:rPr lang="en-US" dirty="0"/>
              <a:t>) </a:t>
            </a:r>
          </a:p>
          <a:p>
            <a:pPr lvl="3">
              <a:lnSpc>
                <a:spcPct val="150000"/>
              </a:lnSpc>
              <a:buClr>
                <a:srgbClr val="0075A8"/>
              </a:buClr>
              <a:buFont typeface="Wingdings" panose="05000000000000000000" pitchFamily="2" charset="2"/>
              <a:buChar char="Ø"/>
            </a:pPr>
            <a:r>
              <a:rPr lang="en-US" dirty="0"/>
              <a:t>$146M total revenue, </a:t>
            </a:r>
            <a:r>
              <a:rPr lang="en-US" dirty="0">
                <a:solidFill>
                  <a:srgbClr val="72B927"/>
                </a:solidFill>
              </a:rPr>
              <a:t>+4% vs. Budget and +22% vs. Prior Year</a:t>
            </a:r>
          </a:p>
          <a:p>
            <a:pPr lvl="3">
              <a:lnSpc>
                <a:spcPct val="150000"/>
              </a:lnSpc>
              <a:buClr>
                <a:srgbClr val="0075A8"/>
              </a:buClr>
              <a:buFont typeface="Wingdings" panose="05000000000000000000" pitchFamily="2" charset="2"/>
              <a:buChar char="Ø"/>
            </a:pPr>
            <a:r>
              <a:rPr lang="en-US" dirty="0"/>
              <a:t>$52.3M of Adjusted EBITDA , </a:t>
            </a:r>
            <a:r>
              <a:rPr lang="en-US" dirty="0">
                <a:solidFill>
                  <a:srgbClr val="72B927"/>
                </a:solidFill>
              </a:rPr>
              <a:t>+16% vs. Budget and +28% vs. Prior Year</a:t>
            </a:r>
          </a:p>
          <a:p>
            <a:pPr lvl="3">
              <a:lnSpc>
                <a:spcPct val="150000"/>
              </a:lnSpc>
              <a:buClr>
                <a:srgbClr val="0075A8"/>
              </a:buClr>
              <a:buFont typeface="Wingdings" panose="05000000000000000000" pitchFamily="2" charset="2"/>
              <a:buChar char="Ø"/>
            </a:pPr>
            <a:r>
              <a:rPr lang="en-US" dirty="0"/>
              <a:t>16,200 units added via M&amp;A</a:t>
            </a:r>
          </a:p>
          <a:p>
            <a:pPr lvl="1">
              <a:lnSpc>
                <a:spcPct val="150000"/>
              </a:lnSpc>
              <a:buClr>
                <a:srgbClr val="0075A8"/>
              </a:buClr>
              <a:buFont typeface="Wingdings" panose="05000000000000000000" pitchFamily="2" charset="2"/>
              <a:buChar char="Ø"/>
            </a:pPr>
            <a:r>
              <a:rPr lang="en-US" b="1" dirty="0"/>
              <a:t>Sales Results</a:t>
            </a:r>
            <a:r>
              <a:rPr lang="en-US" dirty="0"/>
              <a:t>: Record sales results across teams; higher productivity/rep and higher price/unit </a:t>
            </a:r>
          </a:p>
          <a:p>
            <a:pPr lvl="3">
              <a:lnSpc>
                <a:spcPct val="150000"/>
              </a:lnSpc>
              <a:buClr>
                <a:srgbClr val="0075A8"/>
              </a:buClr>
              <a:buFont typeface="Wingdings" panose="05000000000000000000" pitchFamily="2" charset="2"/>
              <a:buChar char="Ø"/>
            </a:pPr>
            <a:r>
              <a:rPr lang="en-US" dirty="0"/>
              <a:t> Total net rental revenue bookings </a:t>
            </a:r>
            <a:r>
              <a:rPr lang="en-US" dirty="0">
                <a:solidFill>
                  <a:srgbClr val="72B927"/>
                </a:solidFill>
              </a:rPr>
              <a:t>+8% to BUD and +46% to PY</a:t>
            </a:r>
          </a:p>
          <a:p>
            <a:pPr lvl="3">
              <a:lnSpc>
                <a:spcPct val="150000"/>
              </a:lnSpc>
              <a:buClr>
                <a:srgbClr val="0075A8"/>
              </a:buClr>
              <a:buFont typeface="Wingdings" panose="05000000000000000000" pitchFamily="2" charset="2"/>
              <a:buChar char="Ø"/>
            </a:pPr>
            <a:r>
              <a:rPr lang="en-US" dirty="0"/>
              <a:t> 5 sales leaders and 32 sales professionals over quota!</a:t>
            </a:r>
          </a:p>
          <a:p>
            <a:pPr lvl="3">
              <a:lnSpc>
                <a:spcPct val="150000"/>
              </a:lnSpc>
              <a:buClr>
                <a:srgbClr val="0075A8"/>
              </a:buClr>
              <a:buFont typeface="Wingdings" panose="05000000000000000000" pitchFamily="2" charset="2"/>
              <a:buChar char="Ø"/>
            </a:pPr>
            <a:r>
              <a:rPr lang="en-US" dirty="0"/>
              <a:t> Record commissions paid; </a:t>
            </a:r>
            <a:r>
              <a:rPr lang="en-US" dirty="0">
                <a:solidFill>
                  <a:srgbClr val="72B927"/>
                </a:solidFill>
              </a:rPr>
              <a:t>+48% vs. Prior Year and +20% vs. 2019</a:t>
            </a:r>
          </a:p>
          <a:p>
            <a:pPr lvl="1">
              <a:lnSpc>
                <a:spcPct val="150000"/>
              </a:lnSpc>
              <a:buClr>
                <a:srgbClr val="0075A8"/>
              </a:buClr>
              <a:buFont typeface="Wingdings" panose="05000000000000000000" pitchFamily="2" charset="2"/>
              <a:buChar char="Ø"/>
            </a:pPr>
            <a:r>
              <a:rPr lang="en-US" b="1" dirty="0"/>
              <a:t>Product Expansion</a:t>
            </a:r>
            <a:r>
              <a:rPr lang="en-US" dirty="0"/>
              <a:t>:  Q3, Q4, Q8, Q8CT, Q12, Big Bagger Ice, Vero and CTE</a:t>
            </a:r>
          </a:p>
        </p:txBody>
      </p:sp>
    </p:spTree>
    <p:extLst>
      <p:ext uri="{BB962C8B-B14F-4D97-AF65-F5344CB8AC3E}">
        <p14:creationId xmlns:p14="http://schemas.microsoft.com/office/powerpoint/2010/main" val="6471004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A50F631-1BB5-4946-920F-36330E93EBC6}"/>
              </a:ext>
            </a:extLst>
          </p:cNvPr>
          <p:cNvSpPr/>
          <p:nvPr/>
        </p:nvSpPr>
        <p:spPr>
          <a:xfrm>
            <a:off x="0" y="0"/>
            <a:ext cx="12192000" cy="1331843"/>
          </a:xfrm>
          <a:prstGeom prst="rect">
            <a:avLst/>
          </a:prstGeom>
          <a:solidFill>
            <a:srgbClr val="0075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258DB65-6E23-F742-8A50-EDEC7D7C385C}"/>
              </a:ext>
            </a:extLst>
          </p:cNvPr>
          <p:cNvSpPr txBox="1">
            <a:spLocks/>
          </p:cNvSpPr>
          <p:nvPr/>
        </p:nvSpPr>
        <p:spPr>
          <a:xfrm>
            <a:off x="508963" y="248502"/>
            <a:ext cx="9042541" cy="691947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bg1"/>
                </a:solidFill>
                <a:latin typeface="Gilroy" pitchFamily="2" charset="77"/>
                <a:ea typeface="+mj-ea"/>
                <a:cs typeface="+mj-cs"/>
              </a:defRPr>
            </a:lvl1pPr>
          </a:lstStyle>
          <a:p>
            <a:r>
              <a:rPr lang="en-US" dirty="0"/>
              <a:t>2021 Review:  Where we struggled…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0FA670-4D1B-5242-97A3-5DF343E5C08E}"/>
              </a:ext>
            </a:extLst>
          </p:cNvPr>
          <p:cNvSpPr/>
          <p:nvPr/>
        </p:nvSpPr>
        <p:spPr>
          <a:xfrm>
            <a:off x="10070405" y="1277"/>
            <a:ext cx="2131533" cy="2438397"/>
          </a:xfrm>
          <a:prstGeom prst="rect">
            <a:avLst/>
          </a:prstGeom>
          <a:solidFill>
            <a:srgbClr val="57C5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BA4B48-125A-6440-843B-AEDB8EDCA3E1}"/>
              </a:ext>
            </a:extLst>
          </p:cNvPr>
          <p:cNvSpPr/>
          <p:nvPr/>
        </p:nvSpPr>
        <p:spPr>
          <a:xfrm>
            <a:off x="9919252" y="198782"/>
            <a:ext cx="2078432" cy="2266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46E37C6-B020-D042-902A-C0CC130FDDD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0149799" y="655442"/>
            <a:ext cx="1617337" cy="1287062"/>
          </a:xfrm>
          <a:prstGeom prst="rect">
            <a:avLst/>
          </a:prstGeom>
        </p:spPr>
      </p:pic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652ED9CB-B3A3-E247-93A7-CE7C6ACB41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FD11E28-60AF-B543-AA61-E2BD0459882F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1C1CB13-4543-4214-8B06-9EFB79CC11C7}"/>
              </a:ext>
            </a:extLst>
          </p:cNvPr>
          <p:cNvSpPr txBox="1"/>
          <p:nvPr/>
        </p:nvSpPr>
        <p:spPr>
          <a:xfrm>
            <a:off x="466913" y="2076158"/>
            <a:ext cx="11258173" cy="4618478"/>
          </a:xfrm>
          <a:prstGeom prst="rect">
            <a:avLst/>
          </a:prstGeom>
        </p:spPr>
        <p:txBody>
          <a:bodyPr lIns="0" tIns="0" rIns="0" bIns="0"/>
          <a:lstStyle>
            <a:lvl1pPr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Tx/>
              <a:buNone/>
              <a:defRPr sz="3000" b="1" i="0" baseline="0">
                <a:latin typeface="Calibri" charset="0"/>
                <a:ea typeface="Arial Black" charset="0"/>
                <a:cs typeface="Arial Black" charset="0"/>
              </a:defRPr>
            </a:lvl1pPr>
            <a:lvl2pPr marL="338138" lvl="1" indent="-225425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>
                <a:srgbClr val="B9D037"/>
              </a:buClr>
              <a:buFont typeface="Arial"/>
              <a:buChar char="•"/>
              <a:defRPr sz="2000" baseline="0"/>
            </a:lvl2pPr>
            <a:lvl3pPr marL="688975" lvl="2" indent="-225425">
              <a:lnSpc>
                <a:spcPct val="90000"/>
              </a:lnSpc>
              <a:spcBef>
                <a:spcPts val="500"/>
              </a:spcBef>
              <a:buClr>
                <a:srgbClr val="B9D037"/>
              </a:buClr>
              <a:buSzPct val="115000"/>
              <a:buFont typeface="Arial"/>
              <a:buChar char="•"/>
              <a:defRPr sz="2000" baseline="0"/>
            </a:lvl3pPr>
            <a:lvl4pPr marL="1027113" lvl="3" indent="-225425">
              <a:lnSpc>
                <a:spcPct val="90000"/>
              </a:lnSpc>
              <a:spcBef>
                <a:spcPts val="500"/>
              </a:spcBef>
              <a:buClr>
                <a:srgbClr val="B9D037"/>
              </a:buClr>
              <a:buSzPct val="115000"/>
              <a:buFont typeface="Arial"/>
              <a:buChar char="•"/>
              <a:defRPr baseline="0"/>
            </a:lvl4pPr>
            <a:lvl5pPr marL="1377950" lvl="4" indent="-238125">
              <a:lnSpc>
                <a:spcPct val="90000"/>
              </a:lnSpc>
              <a:spcBef>
                <a:spcPts val="500"/>
              </a:spcBef>
              <a:buClr>
                <a:srgbClr val="B9D037"/>
              </a:buClr>
              <a:buSzPct val="115000"/>
              <a:buFont typeface="Arial"/>
              <a:buChar char="•"/>
              <a:defRPr baseline="0"/>
            </a:lvl5pPr>
            <a:lvl6pPr marL="1716088" lvl="5" indent="-225425">
              <a:lnSpc>
                <a:spcPct val="90000"/>
              </a:lnSpc>
              <a:spcBef>
                <a:spcPts val="500"/>
              </a:spcBef>
              <a:buClr>
                <a:srgbClr val="31C1E3"/>
              </a:buClr>
              <a:buSzPct val="115000"/>
              <a:buFont typeface="Arial"/>
              <a:buChar char="•"/>
              <a:defRPr>
                <a:solidFill>
                  <a:srgbClr val="204565"/>
                </a:solidFill>
              </a:defRPr>
            </a:lvl6pPr>
            <a:lvl7pPr marL="2054225" lvl="6" indent="-225425">
              <a:lnSpc>
                <a:spcPct val="90000"/>
              </a:lnSpc>
              <a:spcBef>
                <a:spcPts val="500"/>
              </a:spcBef>
              <a:buClr>
                <a:srgbClr val="31C1E3"/>
              </a:buClr>
              <a:buSzPct val="115000"/>
              <a:buFont typeface="Arial"/>
              <a:buChar char="•"/>
              <a:defRPr>
                <a:solidFill>
                  <a:srgbClr val="204565"/>
                </a:solidFill>
              </a:defRPr>
            </a:lvl7pPr>
            <a:lvl8pPr marL="2405063" lvl="7" indent="-238125">
              <a:lnSpc>
                <a:spcPct val="90000"/>
              </a:lnSpc>
              <a:spcBef>
                <a:spcPts val="500"/>
              </a:spcBef>
              <a:buClr>
                <a:srgbClr val="31C1E3"/>
              </a:buClr>
              <a:buSzPct val="115000"/>
              <a:buFont typeface="Arial"/>
              <a:buChar char="•"/>
              <a:defRPr baseline="0">
                <a:solidFill>
                  <a:srgbClr val="204565"/>
                </a:solidFill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lvl="1">
              <a:lnSpc>
                <a:spcPct val="100000"/>
              </a:lnSpc>
              <a:buClr>
                <a:srgbClr val="0075A8"/>
              </a:buClr>
              <a:buFont typeface="Wingdings" panose="05000000000000000000" pitchFamily="2" charset="2"/>
              <a:buChar char="Ø"/>
            </a:pPr>
            <a:r>
              <a:rPr lang="en-US" b="1" dirty="0"/>
              <a:t>Covid:  </a:t>
            </a:r>
            <a:r>
              <a:rPr lang="en-US" dirty="0"/>
              <a:t>Year 2 of the pandemic and the associated, on-going challenges on everything from health, delayed sales opportunities, and supply chain issues to workforce staffing challenges.</a:t>
            </a:r>
            <a:br>
              <a:rPr lang="en-US" dirty="0"/>
            </a:br>
            <a:endParaRPr lang="en-US" dirty="0"/>
          </a:p>
          <a:p>
            <a:pPr lvl="1">
              <a:lnSpc>
                <a:spcPct val="100000"/>
              </a:lnSpc>
              <a:buClr>
                <a:srgbClr val="0075A8"/>
              </a:buClr>
              <a:buFont typeface="Wingdings" panose="05000000000000000000" pitchFamily="2" charset="2"/>
              <a:buChar char="Ø"/>
            </a:pPr>
            <a:r>
              <a:rPr lang="en-US" b="1" dirty="0"/>
              <a:t>Customer Experience</a:t>
            </a:r>
            <a:r>
              <a:rPr lang="en-US" dirty="0"/>
              <a:t>: Supply Chain and staffing challenges combined with strong sales resulted in unsatisfactory CX as our NPS declined YOY.</a:t>
            </a:r>
          </a:p>
          <a:p>
            <a:pPr lvl="2">
              <a:lnSpc>
                <a:spcPct val="150000"/>
              </a:lnSpc>
              <a:buClr>
                <a:srgbClr val="0075A8"/>
              </a:buClr>
              <a:buFont typeface="Wingdings" panose="05000000000000000000" pitchFamily="2" charset="2"/>
              <a:buChar char="Ø"/>
            </a:pPr>
            <a:r>
              <a:rPr lang="en-US" dirty="0"/>
              <a:t>NPS in Q2 &amp; Q3 =</a:t>
            </a:r>
            <a:r>
              <a:rPr lang="en-US" dirty="0">
                <a:solidFill>
                  <a:srgbClr val="00B050"/>
                </a:solidFill>
              </a:rPr>
              <a:t> </a:t>
            </a:r>
            <a:r>
              <a:rPr lang="en-US" dirty="0">
                <a:solidFill>
                  <a:srgbClr val="72B927"/>
                </a:solidFill>
              </a:rPr>
              <a:t>24</a:t>
            </a:r>
            <a:r>
              <a:rPr lang="en-US" dirty="0"/>
              <a:t>; down from avg of </a:t>
            </a:r>
            <a:r>
              <a:rPr lang="en-US" dirty="0">
                <a:solidFill>
                  <a:srgbClr val="72B927"/>
                </a:solidFill>
              </a:rPr>
              <a:t>42</a:t>
            </a:r>
            <a:r>
              <a:rPr lang="en-US" dirty="0"/>
              <a:t> from 3 prior years</a:t>
            </a:r>
          </a:p>
          <a:p>
            <a:pPr lvl="2">
              <a:lnSpc>
                <a:spcPct val="150000"/>
              </a:lnSpc>
              <a:buClr>
                <a:srgbClr val="0075A8"/>
              </a:buClr>
              <a:buFont typeface="Wingdings" panose="05000000000000000000" pitchFamily="2" charset="2"/>
              <a:buChar char="Ø"/>
            </a:pPr>
            <a:r>
              <a:rPr lang="en-US" dirty="0"/>
              <a:t>Churn: 9.2% at end of 1H21 </a:t>
            </a:r>
            <a:r>
              <a:rPr lang="en-US" dirty="0">
                <a:solidFill>
                  <a:srgbClr val="72B927"/>
                </a:solidFill>
              </a:rPr>
              <a:t>though we ended the year at 7.4%, </a:t>
            </a:r>
            <a:r>
              <a:rPr lang="en-US" dirty="0"/>
              <a:t>down near 2019 levels</a:t>
            </a:r>
            <a:br>
              <a:rPr lang="en-US" dirty="0"/>
            </a:br>
            <a:endParaRPr lang="en-US" dirty="0"/>
          </a:p>
          <a:p>
            <a:pPr lvl="1">
              <a:lnSpc>
                <a:spcPct val="100000"/>
              </a:lnSpc>
              <a:buClr>
                <a:srgbClr val="0075A8"/>
              </a:buClr>
              <a:buFont typeface="Wingdings" panose="05000000000000000000" pitchFamily="2" charset="2"/>
              <a:buChar char="Ø"/>
            </a:pPr>
            <a:r>
              <a:rPr lang="en-US" b="1" dirty="0"/>
              <a:t>Employee Experience: </a:t>
            </a:r>
            <a:r>
              <a:rPr lang="en-US" dirty="0"/>
              <a:t>Perfect storm of strong sales combined with demands on the business (M&amp;A + projects) and supply chain and staffing challenges resulted in disappointing Glint on </a:t>
            </a:r>
            <a:r>
              <a:rPr lang="en-US" b="1" dirty="0"/>
              <a:t>Customer Focus</a:t>
            </a:r>
            <a:r>
              <a:rPr lang="en-US" dirty="0"/>
              <a:t>, </a:t>
            </a:r>
            <a:r>
              <a:rPr lang="en-US" b="1" dirty="0"/>
              <a:t>Resources</a:t>
            </a:r>
            <a:r>
              <a:rPr lang="en-US" dirty="0"/>
              <a:t> and </a:t>
            </a:r>
            <a:r>
              <a:rPr lang="en-US" b="1" dirty="0"/>
              <a:t>Communication</a:t>
            </a:r>
          </a:p>
        </p:txBody>
      </p:sp>
    </p:spTree>
    <p:extLst>
      <p:ext uri="{BB962C8B-B14F-4D97-AF65-F5344CB8AC3E}">
        <p14:creationId xmlns:p14="http://schemas.microsoft.com/office/powerpoint/2010/main" val="22240047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29FD05-BD80-9342-929B-F380CB3F95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trategic Priorities</a:t>
            </a:r>
          </a:p>
        </p:txBody>
      </p:sp>
    </p:spTree>
    <p:extLst>
      <p:ext uri="{BB962C8B-B14F-4D97-AF65-F5344CB8AC3E}">
        <p14:creationId xmlns:p14="http://schemas.microsoft.com/office/powerpoint/2010/main" val="20630431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A50F631-1BB5-4946-920F-36330E93EBC6}"/>
              </a:ext>
            </a:extLst>
          </p:cNvPr>
          <p:cNvSpPr/>
          <p:nvPr/>
        </p:nvSpPr>
        <p:spPr>
          <a:xfrm>
            <a:off x="0" y="0"/>
            <a:ext cx="12192000" cy="1331843"/>
          </a:xfrm>
          <a:prstGeom prst="rect">
            <a:avLst/>
          </a:prstGeom>
          <a:solidFill>
            <a:srgbClr val="0075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258DB65-6E23-F742-8A50-EDEC7D7C385C}"/>
              </a:ext>
            </a:extLst>
          </p:cNvPr>
          <p:cNvSpPr txBox="1">
            <a:spLocks/>
          </p:cNvSpPr>
          <p:nvPr/>
        </p:nvSpPr>
        <p:spPr>
          <a:xfrm>
            <a:off x="508963" y="319947"/>
            <a:ext cx="9042541" cy="691947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bg1"/>
                </a:solidFill>
                <a:latin typeface="Gilroy" pitchFamily="2" charset="77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06788FD-F364-8048-8D6C-D417F1C1434A}"/>
              </a:ext>
            </a:extLst>
          </p:cNvPr>
          <p:cNvSpPr txBox="1">
            <a:spLocks/>
          </p:cNvSpPr>
          <p:nvPr/>
        </p:nvSpPr>
        <p:spPr>
          <a:xfrm>
            <a:off x="194316" y="1645874"/>
            <a:ext cx="5034256" cy="396024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600"/>
              </a:lnSpc>
            </a:pPr>
            <a:r>
              <a:rPr lang="en-US" sz="2000" b="1" dirty="0"/>
              <a:t>Rental revenue grows 19% to $117M</a:t>
            </a:r>
          </a:p>
          <a:p>
            <a:pPr lvl="1">
              <a:lnSpc>
                <a:spcPct val="100000"/>
              </a:lnSpc>
            </a:pPr>
            <a:r>
              <a:rPr lang="en-US" sz="1600" dirty="0"/>
              <a:t>Rental revenue bookings grow 18% to $1.6m on 25k units</a:t>
            </a:r>
          </a:p>
          <a:p>
            <a:pPr marL="685800" lvl="2">
              <a:lnSpc>
                <a:spcPct val="100000"/>
              </a:lnSpc>
              <a:spcBef>
                <a:spcPts val="1000"/>
              </a:spcBef>
            </a:pPr>
            <a:r>
              <a:rPr lang="en-US" sz="1600" dirty="0"/>
              <a:t>Continued focus &amp; improvement on churn below 7.4%</a:t>
            </a:r>
            <a:endParaRPr lang="en-US" dirty="0"/>
          </a:p>
          <a:p>
            <a:pPr marL="228600" lvl="1">
              <a:lnSpc>
                <a:spcPts val="2600"/>
              </a:lnSpc>
              <a:spcBef>
                <a:spcPts val="1000"/>
              </a:spcBef>
            </a:pPr>
            <a:r>
              <a:rPr lang="en-US" sz="2000" b="1" dirty="0"/>
              <a:t>Equipment revenue grows 69% to $3.9M</a:t>
            </a:r>
            <a:endParaRPr lang="en-US" sz="1800" b="1" dirty="0"/>
          </a:p>
          <a:p>
            <a:pPr marL="685800" lvl="2">
              <a:lnSpc>
                <a:spcPct val="100000"/>
              </a:lnSpc>
              <a:spcBef>
                <a:spcPts val="1000"/>
              </a:spcBef>
            </a:pPr>
            <a:r>
              <a:rPr lang="en-US" sz="1600" dirty="0"/>
              <a:t>Walmart grows from $1M to $2M</a:t>
            </a:r>
          </a:p>
          <a:p>
            <a:pPr marL="685800" lvl="2">
              <a:lnSpc>
                <a:spcPct val="100000"/>
              </a:lnSpc>
              <a:spcBef>
                <a:spcPts val="1000"/>
              </a:spcBef>
            </a:pPr>
            <a:r>
              <a:rPr lang="en-US" sz="1600" dirty="0"/>
              <a:t>Field/Inside &amp; National Accounts relatively flat YOY</a:t>
            </a:r>
            <a:endParaRPr lang="en-US" dirty="0"/>
          </a:p>
          <a:p>
            <a:pPr marL="228600" lvl="1">
              <a:lnSpc>
                <a:spcPts val="2600"/>
              </a:lnSpc>
              <a:spcBef>
                <a:spcPts val="1000"/>
              </a:spcBef>
            </a:pPr>
            <a:r>
              <a:rPr lang="en-US" sz="2000" b="1" dirty="0"/>
              <a:t>Coffee revenue grows 26% to $3.5M</a:t>
            </a:r>
          </a:p>
          <a:p>
            <a:pPr marL="685800" lvl="2">
              <a:lnSpc>
                <a:spcPct val="100000"/>
              </a:lnSpc>
              <a:spcBef>
                <a:spcPts val="1000"/>
              </a:spcBef>
            </a:pPr>
            <a:r>
              <a:rPr lang="en-US" sz="1600" dirty="0"/>
              <a:t>+34% in bookings from both Field/Inside and National Accounts</a:t>
            </a:r>
          </a:p>
          <a:p>
            <a:pPr marL="685800" lvl="2">
              <a:lnSpc>
                <a:spcPct val="100000"/>
              </a:lnSpc>
              <a:spcBef>
                <a:spcPts val="1000"/>
              </a:spcBef>
            </a:pPr>
            <a:r>
              <a:rPr lang="en-US" sz="1600" dirty="0"/>
              <a:t>Assumes coffee customers on COVID-hold resume ordering late Q1/Q2</a:t>
            </a:r>
          </a:p>
          <a:p>
            <a:pPr marL="1143000" lvl="3">
              <a:lnSpc>
                <a:spcPts val="2600"/>
              </a:lnSpc>
              <a:spcBef>
                <a:spcPts val="1000"/>
              </a:spcBef>
            </a:pPr>
            <a:endParaRPr lang="en-US" sz="12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0FA670-4D1B-5242-97A3-5DF343E5C08E}"/>
              </a:ext>
            </a:extLst>
          </p:cNvPr>
          <p:cNvSpPr/>
          <p:nvPr/>
        </p:nvSpPr>
        <p:spPr>
          <a:xfrm>
            <a:off x="10070405" y="1277"/>
            <a:ext cx="2131533" cy="2438397"/>
          </a:xfrm>
          <a:prstGeom prst="rect">
            <a:avLst/>
          </a:prstGeom>
          <a:solidFill>
            <a:srgbClr val="57C5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BA4B48-125A-6440-843B-AEDB8EDCA3E1}"/>
              </a:ext>
            </a:extLst>
          </p:cNvPr>
          <p:cNvSpPr/>
          <p:nvPr/>
        </p:nvSpPr>
        <p:spPr>
          <a:xfrm>
            <a:off x="9919252" y="198782"/>
            <a:ext cx="2078432" cy="2266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46E37C6-B020-D042-902A-C0CC130FDDD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143093" y="644769"/>
            <a:ext cx="1630749" cy="1297735"/>
          </a:xfrm>
          <a:prstGeom prst="rect">
            <a:avLst/>
          </a:prstGeom>
        </p:spPr>
      </p:pic>
      <p:sp>
        <p:nvSpPr>
          <p:cNvPr id="5" name="Triangle 4">
            <a:extLst>
              <a:ext uri="{FF2B5EF4-FFF2-40B4-BE49-F238E27FC236}">
                <a16:creationId xmlns:a16="http://schemas.microsoft.com/office/drawing/2014/main" id="{61D1BD4B-D106-5B4D-BE7E-61F45542F4A9}"/>
              </a:ext>
            </a:extLst>
          </p:cNvPr>
          <p:cNvSpPr/>
          <p:nvPr/>
        </p:nvSpPr>
        <p:spPr>
          <a:xfrm rot="5400000">
            <a:off x="4544630" y="3917688"/>
            <a:ext cx="2141034" cy="356839"/>
          </a:xfrm>
          <a:prstGeom prst="triangle">
            <a:avLst/>
          </a:prstGeom>
          <a:solidFill>
            <a:srgbClr val="0075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0BD824A-A6AE-474C-A7C0-7CD027150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FD11E28-60AF-B543-AA61-E2BD0459882F}" type="slidenum">
              <a:rPr lang="en-US" smtClean="0"/>
              <a:pPr/>
              <a:t>6</a:t>
            </a:fld>
            <a:endParaRPr lang="en-US" dirty="0"/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55B2EC78-FA58-400C-9534-DF6C554A23A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26323366"/>
              </p:ext>
            </p:extLst>
          </p:nvPr>
        </p:nvGraphicFramePr>
        <p:xfrm>
          <a:off x="5917580" y="2076161"/>
          <a:ext cx="5713588" cy="41370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Title 1">
            <a:extLst>
              <a:ext uri="{FF2B5EF4-FFF2-40B4-BE49-F238E27FC236}">
                <a16:creationId xmlns:a16="http://schemas.microsoft.com/office/drawing/2014/main" id="{B36475B5-8B44-44BC-BB05-5F2E1162FA46}"/>
              </a:ext>
            </a:extLst>
          </p:cNvPr>
          <p:cNvSpPr txBox="1">
            <a:spLocks/>
          </p:cNvSpPr>
          <p:nvPr/>
        </p:nvSpPr>
        <p:spPr>
          <a:xfrm>
            <a:off x="438356" y="273479"/>
            <a:ext cx="9042541" cy="691947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bg1"/>
                </a:solidFill>
                <a:latin typeface="Gilroy" pitchFamily="2" charset="77"/>
                <a:ea typeface="+mj-ea"/>
                <a:cs typeface="+mj-cs"/>
              </a:defRPr>
            </a:lvl1pPr>
          </a:lstStyle>
          <a:p>
            <a:r>
              <a:rPr lang="en-US" dirty="0"/>
              <a:t>2022 Plan: Our Revenue goals in support of our strategy</a:t>
            </a:r>
          </a:p>
        </p:txBody>
      </p:sp>
    </p:spTree>
    <p:extLst>
      <p:ext uri="{BB962C8B-B14F-4D97-AF65-F5344CB8AC3E}">
        <p14:creationId xmlns:p14="http://schemas.microsoft.com/office/powerpoint/2010/main" val="42334601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B3584DA5-EE38-4DF7-88A7-6D317955F2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B3584DA5-EE38-4DF7-88A7-6D317955F2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FCDA4A2-D5EA-4497-AD5D-505EACD985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38920" y="650294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4DEA04-370A-4B81-86D3-F0DED84CD4D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F1377C2-528E-4236-9AEE-2F1EF856AF4D}"/>
              </a:ext>
            </a:extLst>
          </p:cNvPr>
          <p:cNvGrpSpPr/>
          <p:nvPr/>
        </p:nvGrpSpPr>
        <p:grpSpPr>
          <a:xfrm>
            <a:off x="951767" y="816568"/>
            <a:ext cx="11006883" cy="938857"/>
            <a:chOff x="1615086" y="790343"/>
            <a:chExt cx="8893195" cy="1367728"/>
          </a:xfrm>
        </p:grpSpPr>
        <p:sp>
          <p:nvSpPr>
            <p:cNvPr id="7" name="Arrow: Pentagon 6">
              <a:extLst>
                <a:ext uri="{FF2B5EF4-FFF2-40B4-BE49-F238E27FC236}">
                  <a16:creationId xmlns:a16="http://schemas.microsoft.com/office/drawing/2014/main" id="{4841FC5E-047C-4C0F-9070-D89FC86D6901}"/>
                </a:ext>
              </a:extLst>
            </p:cNvPr>
            <p:cNvSpPr/>
            <p:nvPr/>
          </p:nvSpPr>
          <p:spPr bwMode="auto">
            <a:xfrm rot="5400000">
              <a:off x="5377820" y="-2972391"/>
              <a:ext cx="1367728" cy="8893195"/>
            </a:xfrm>
            <a:prstGeom prst="homePlate">
              <a:avLst>
                <a:gd name="adj" fmla="val 20831"/>
              </a:avLst>
            </a:prstGeom>
            <a:solidFill>
              <a:srgbClr val="FFFFFF">
                <a:lumMod val="95000"/>
              </a:srgbClr>
            </a:solidFill>
            <a:ln w="28575" cap="flat" cmpd="sng" algn="ctr">
              <a:solidFill>
                <a:srgbClr val="005DA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6362" tIns="53975" rIns="106362" bIns="53975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8" name="btfpBulletedList656710">
              <a:extLst>
                <a:ext uri="{FF2B5EF4-FFF2-40B4-BE49-F238E27FC236}">
                  <a16:creationId xmlns:a16="http://schemas.microsoft.com/office/drawing/2014/main" id="{145AEEBD-F599-4B6D-9E3A-7EB18401CD9E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gray">
            <a:xfrm>
              <a:off x="1984525" y="868468"/>
              <a:ext cx="4277534" cy="1069908"/>
            </a:xfrm>
            <a:prstGeom prst="rect">
              <a:avLst/>
            </a:prstGeom>
            <a:noFill/>
          </p:spPr>
          <p:txBody>
            <a:bodyPr vert="horz" wrap="square" lIns="36000" tIns="36000" rIns="36000" bIns="36000" rtlCol="0">
              <a:spAutoFit/>
            </a:bodyPr>
            <a:lstStyle/>
            <a:p>
              <a:pPr marL="285750" indent="-285750" defTabSz="45720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100" kern="0" dirty="0">
                  <a:solidFill>
                    <a:srgbClr val="000000"/>
                  </a:solidFill>
                </a:rPr>
                <a:t>$2B+ North American B2B Rental POU/Ice/Coffee market</a:t>
              </a:r>
            </a:p>
            <a:p>
              <a:pPr marL="285750" indent="-285750" defTabSz="45720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100" kern="0" dirty="0">
                  <a:solidFill>
                    <a:srgbClr val="000000"/>
                  </a:solidFill>
                </a:rPr>
                <a:t>Growth of ~8% p.a. due to increased adoption in end-markets</a:t>
              </a:r>
            </a:p>
            <a:p>
              <a:pPr marL="285750" indent="-285750" defTabSz="45720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100" kern="0" dirty="0">
                  <a:solidFill>
                    <a:srgbClr val="000000"/>
                  </a:solidFill>
                </a:rPr>
                <a:t>Continued progress in return-to-office trends</a:t>
              </a:r>
            </a:p>
          </p:txBody>
        </p:sp>
        <p:sp>
          <p:nvSpPr>
            <p:cNvPr id="9" name="btfpBulletedList656710">
              <a:extLst>
                <a:ext uri="{FF2B5EF4-FFF2-40B4-BE49-F238E27FC236}">
                  <a16:creationId xmlns:a16="http://schemas.microsoft.com/office/drawing/2014/main" id="{B9E6DCDF-32FD-40FC-9F5A-421F4B566EC4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 bwMode="gray">
            <a:xfrm>
              <a:off x="5974035" y="903408"/>
              <a:ext cx="4277534" cy="1069908"/>
            </a:xfrm>
            <a:prstGeom prst="rect">
              <a:avLst/>
            </a:prstGeom>
            <a:noFill/>
          </p:spPr>
          <p:txBody>
            <a:bodyPr vert="horz" wrap="square" lIns="36000" tIns="36000" rIns="36000" bIns="36000" rtlCol="0">
              <a:spAutoFit/>
            </a:bodyPr>
            <a:lstStyle/>
            <a:p>
              <a:pPr marL="285750" marR="0" lvl="0" indent="-2857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100" kern="0" dirty="0">
                  <a:solidFill>
                    <a:srgbClr val="000000"/>
                  </a:solidFill>
                </a:rPr>
                <a:t>Consumer push away from single-use plastic products</a:t>
              </a:r>
            </a:p>
            <a:p>
              <a:pPr marL="285750" marR="0" lvl="0" indent="-2857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100" kern="0" dirty="0">
                  <a:solidFill>
                    <a:srgbClr val="000000"/>
                  </a:solidFill>
                </a:rPr>
                <a:t>Health and sustainability focus across end-markets</a:t>
              </a:r>
            </a:p>
            <a:p>
              <a:pPr marL="285750" marR="0" lvl="0" indent="-2857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100" kern="0" dirty="0">
                  <a:solidFill>
                    <a:srgbClr val="000000"/>
                  </a:solidFill>
                </a:rPr>
                <a:t>Larger enterprises value differentiated multi-location solution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060D1CDD-BB13-44BF-998B-6F0111F3A040}"/>
              </a:ext>
            </a:extLst>
          </p:cNvPr>
          <p:cNvSpPr txBox="1"/>
          <p:nvPr/>
        </p:nvSpPr>
        <p:spPr>
          <a:xfrm>
            <a:off x="-95654" y="1014638"/>
            <a:ext cx="12319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ark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Overview</a:t>
            </a:r>
          </a:p>
        </p:txBody>
      </p:sp>
      <p:graphicFrame>
        <p:nvGraphicFramePr>
          <p:cNvPr id="5" name="Table 17">
            <a:extLst>
              <a:ext uri="{FF2B5EF4-FFF2-40B4-BE49-F238E27FC236}">
                <a16:creationId xmlns:a16="http://schemas.microsoft.com/office/drawing/2014/main" id="{85863822-3435-44A6-8798-7C0E875C8F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9272741"/>
              </p:ext>
            </p:extLst>
          </p:nvPr>
        </p:nvGraphicFramePr>
        <p:xfrm>
          <a:off x="124961" y="1816341"/>
          <a:ext cx="11950194" cy="4919343"/>
        </p:xfrm>
        <a:graphic>
          <a:graphicData uri="http://schemas.openxmlformats.org/drawingml/2006/table">
            <a:tbl>
              <a:tblPr firstRow="1" bandRow="1"/>
              <a:tblGrid>
                <a:gridCol w="900654">
                  <a:extLst>
                    <a:ext uri="{9D8B030D-6E8A-4147-A177-3AD203B41FA5}">
                      <a16:colId xmlns:a16="http://schemas.microsoft.com/office/drawing/2014/main" val="1340924887"/>
                    </a:ext>
                  </a:extLst>
                </a:gridCol>
                <a:gridCol w="3683180">
                  <a:extLst>
                    <a:ext uri="{9D8B030D-6E8A-4147-A177-3AD203B41FA5}">
                      <a16:colId xmlns:a16="http://schemas.microsoft.com/office/drawing/2014/main" val="3386077218"/>
                    </a:ext>
                  </a:extLst>
                </a:gridCol>
                <a:gridCol w="3683180">
                  <a:extLst>
                    <a:ext uri="{9D8B030D-6E8A-4147-A177-3AD203B41FA5}">
                      <a16:colId xmlns:a16="http://schemas.microsoft.com/office/drawing/2014/main" val="1787505823"/>
                    </a:ext>
                  </a:extLst>
                </a:gridCol>
                <a:gridCol w="3683180">
                  <a:extLst>
                    <a:ext uri="{9D8B030D-6E8A-4147-A177-3AD203B41FA5}">
                      <a16:colId xmlns:a16="http://schemas.microsoft.com/office/drawing/2014/main" val="177227108"/>
                    </a:ext>
                  </a:extLst>
                </a:gridCol>
              </a:tblGrid>
              <a:tr h="38606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marL="0" indent="0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Vision</a:t>
                      </a:r>
                    </a:p>
                  </a:txBody>
                  <a:tcPr marL="0" marR="0" marT="91440" marB="91440" anchor="ctr">
                    <a:lnL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DA9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+mn-lt"/>
                        </a:rPr>
                        <a:t>Be the leading provider of filtered drinking water and ice solutions for commercial consumers across North America</a:t>
                      </a:r>
                    </a:p>
                  </a:txBody>
                  <a:tcPr marL="0" marR="0" marT="91440" marB="91440" anchor="ctr">
                    <a:lnL>
                      <a:noFill/>
                    </a:lnL>
                    <a:lnR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DA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marT="0" marB="18288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/>
                    </a:p>
                  </a:txBody>
                  <a:tcPr marL="0" marR="0" marT="91440" marB="182880"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471554"/>
                  </a:ext>
                </a:extLst>
              </a:tr>
              <a:tr h="369981">
                <a:tc>
                  <a:txBody>
                    <a:bodyPr/>
                    <a:lstStyle/>
                    <a:p>
                      <a:pPr marL="0" indent="0" algn="l"/>
                      <a:r>
                        <a:rPr lang="en-US" sz="1100" b="1" dirty="0">
                          <a:latin typeface="Century Gothic" panose="020B0502020202020204" pitchFamily="34" charset="0"/>
                        </a:rPr>
                        <a:t>Purpose</a:t>
                      </a:r>
                    </a:p>
                  </a:txBody>
                  <a:tcPr marL="0" marR="0" marT="91440" marB="91440" anchor="ctr">
                    <a:lnL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n-lt"/>
                        </a:rPr>
                        <a:t>Deliver clean, sustainable drinking water to healthy and environmentally-conscious consumers</a:t>
                      </a:r>
                    </a:p>
                  </a:txBody>
                  <a:tcPr marL="45720" marR="45720" marT="0" marB="0" anchor="ctr">
                    <a:lnL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4802929"/>
                  </a:ext>
                </a:extLst>
              </a:tr>
              <a:tr h="4182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l"/>
                      <a:r>
                        <a:rPr lang="en-US" sz="1100" b="1" dirty="0">
                          <a:latin typeface="Century Gothic" panose="020B0502020202020204" pitchFamily="34" charset="0"/>
                        </a:rPr>
                        <a:t>What we do</a:t>
                      </a:r>
                    </a:p>
                  </a:txBody>
                  <a:tcPr marL="0" marR="0" marT="91440" marB="91440" anchor="ctr">
                    <a:lnL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n-lt"/>
                        </a:rPr>
                        <a:t>Enhance tap water into better-tasting, sustainable, filtered drinking water, delivered through attractive, high-tech water, ice, sparkling, and coffee systems and innovative filtration technology, as part of a full-service rental value proposition for businesses across North America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/>
                    </a:p>
                  </a:txBody>
                  <a:tcPr marL="0" marR="0" marT="91440" marB="18288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/>
                    </a:p>
                  </a:txBody>
                  <a:tcPr marL="45720" marR="4572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964787"/>
                  </a:ext>
                </a:extLst>
              </a:tr>
              <a:tr h="466498">
                <a:tc>
                  <a:txBody>
                    <a:bodyPr/>
                    <a:lstStyle/>
                    <a:p>
                      <a:pPr marL="0" indent="0" algn="l"/>
                      <a:r>
                        <a:rPr lang="en-US" sz="1100" b="1" dirty="0">
                          <a:latin typeface="Century Gothic" panose="020B0502020202020204" pitchFamily="34" charset="0"/>
                        </a:rPr>
                        <a:t>Mission</a:t>
                      </a:r>
                    </a:p>
                  </a:txBody>
                  <a:tcPr marL="0" marR="0" marT="91440" marB="182880" anchor="ctr">
                    <a:lnL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n-lt"/>
                        </a:rPr>
                        <a:t>Deliver an industry-leading customer and employee experience, along with above-market growth and financial return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7062871"/>
                  </a:ext>
                </a:extLst>
              </a:tr>
              <a:tr h="10616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/>
                      <a:endParaRPr lang="en-US" sz="1100" b="1" dirty="0">
                        <a:latin typeface="Century Gothic" panose="020B0502020202020204" pitchFamily="34" charset="0"/>
                      </a:endParaRPr>
                    </a:p>
                    <a:p>
                      <a:pPr marL="0" indent="0"/>
                      <a:r>
                        <a:rPr lang="en-US" sz="1100" b="1" dirty="0">
                          <a:latin typeface="Century Gothic" panose="020B0502020202020204" pitchFamily="34" charset="0"/>
                        </a:rPr>
                        <a:t>Go-To-Market</a:t>
                      </a:r>
                    </a:p>
                    <a:p>
                      <a:pPr marL="0" indent="0"/>
                      <a:endParaRPr lang="en-US" sz="1100" b="1" dirty="0">
                        <a:latin typeface="Century Gothic" panose="020B0502020202020204" pitchFamily="34" charset="0"/>
                      </a:endParaRPr>
                    </a:p>
                  </a:txBody>
                  <a:tcPr marL="0" marR="0" marT="91440" marB="182880" anchor="ctr">
                    <a:lnL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7800" lvl="3" indent="0">
                        <a:buFont typeface="Arial" panose="020B0604020202020204" pitchFamily="34" charset="0"/>
                        <a:buNone/>
                        <a:tabLst>
                          <a:tab pos="4624388" algn="l"/>
                        </a:tabLst>
                      </a:pPr>
                      <a:endParaRPr lang="en-US" sz="1000" dirty="0">
                        <a:latin typeface="+mn-lt"/>
                      </a:endParaRPr>
                    </a:p>
                    <a:p>
                      <a:pPr marL="177800" lvl="3" indent="0">
                        <a:buFont typeface="Arial" panose="020B0604020202020204" pitchFamily="34" charset="0"/>
                        <a:buNone/>
                        <a:tabLst>
                          <a:tab pos="4624388" algn="l"/>
                        </a:tabLst>
                      </a:pPr>
                      <a:endParaRPr lang="en-US" sz="1000" dirty="0">
                        <a:latin typeface="+mn-lt"/>
                      </a:endParaRPr>
                    </a:p>
                    <a:p>
                      <a:pPr marL="177800" lvl="3" indent="0">
                        <a:buFont typeface="Arial" panose="020B0604020202020204" pitchFamily="34" charset="0"/>
                        <a:buNone/>
                        <a:tabLst>
                          <a:tab pos="4624388" algn="l"/>
                        </a:tabLst>
                      </a:pPr>
                      <a:endParaRPr lang="en-US" sz="1000" dirty="0">
                        <a:latin typeface="+mn-lt"/>
                      </a:endParaRPr>
                    </a:p>
                    <a:p>
                      <a:pPr marL="177800" lvl="3" indent="0">
                        <a:buFont typeface="Arial" panose="020B0604020202020204" pitchFamily="34" charset="0"/>
                        <a:buNone/>
                        <a:tabLst>
                          <a:tab pos="4624388" algn="l"/>
                        </a:tabLst>
                      </a:pPr>
                      <a:endParaRPr lang="en-US" sz="1000" dirty="0">
                        <a:latin typeface="+mn-lt"/>
                      </a:endParaRPr>
                    </a:p>
                    <a:p>
                      <a:pPr marL="177800" lvl="3" indent="0">
                        <a:buFont typeface="Arial" panose="020B0604020202020204" pitchFamily="34" charset="0"/>
                        <a:buNone/>
                        <a:tabLst>
                          <a:tab pos="4624388" algn="l"/>
                        </a:tabLst>
                      </a:pPr>
                      <a:endParaRPr lang="en-US" sz="1000" dirty="0">
                        <a:latin typeface="+mn-lt"/>
                      </a:endParaRPr>
                    </a:p>
                    <a:p>
                      <a:pPr marL="177800" lvl="3" indent="0">
                        <a:buFont typeface="Arial" panose="020B0604020202020204" pitchFamily="34" charset="0"/>
                        <a:buNone/>
                        <a:tabLst>
                          <a:tab pos="4624388" algn="l"/>
                        </a:tabLst>
                      </a:pPr>
                      <a:endParaRPr lang="en-US" sz="1000" dirty="0"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177800" lvl="3" indent="0">
                        <a:buFont typeface="Arial" panose="020B0604020202020204" pitchFamily="34" charset="0"/>
                        <a:buNone/>
                      </a:pPr>
                      <a:endParaRPr lang="en-US" sz="1400"/>
                    </a:p>
                  </a:txBody>
                  <a:tcPr marL="45720" marR="45720"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357188" lvl="3" indent="-179388">
                        <a:buFont typeface="Arial" panose="020B0604020202020204" pitchFamily="34" charset="0"/>
                        <a:buChar char="•"/>
                      </a:pPr>
                      <a:endParaRPr lang="en-US" sz="1400"/>
                    </a:p>
                  </a:txBody>
                  <a:tcPr marL="45720" marR="45720"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4518737"/>
                  </a:ext>
                </a:extLst>
              </a:tr>
              <a:tr h="17694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/>
                      <a:endParaRPr lang="en-US" sz="1100" b="1" dirty="0"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ercharged Organic Growth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DA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059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grammatic M&amp;A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DA9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059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perational Excellence</a:t>
                      </a:r>
                      <a:endPara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9BF3F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1893811"/>
                  </a:ext>
                </a:extLst>
              </a:tr>
              <a:tr h="18016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latin typeface="Century Gothic" panose="020B0502020202020204" pitchFamily="34" charset="0"/>
                        </a:rPr>
                        <a:t>Drivers and How We Win</a:t>
                      </a:r>
                    </a:p>
                    <a:p>
                      <a:pPr marL="0" indent="0"/>
                      <a:endParaRPr lang="en-US" sz="1100" b="1" dirty="0">
                        <a:latin typeface="Century Gothic" panose="020B0502020202020204" pitchFamily="34" charset="0"/>
                      </a:endParaRPr>
                    </a:p>
                  </a:txBody>
                  <a:tcPr marL="0" marR="0" marT="91440" marB="182880" anchor="ctr">
                    <a:lnL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230188" marR="0" lvl="3" indent="-230188" algn="l" defTabSz="905971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irect: Full-service rental value proposition with best-in-class national service coverage and complete family of innovative water filtration, ice, sparkling, and coffee makers</a:t>
                      </a:r>
                    </a:p>
                    <a:p>
                      <a:pPr marL="687388" marR="0" lvl="4" indent="-230188" algn="l" defTabSz="905971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ease RMR and share of wallet via cross-sell and </a:t>
                      </a:r>
                      <a:b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p-sell to existing customers</a:t>
                      </a:r>
                    </a:p>
                    <a:p>
                      <a:pPr marL="687388" marR="0" lvl="4" indent="-230188" algn="l" defTabSz="905971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icing</a:t>
                      </a:r>
                    </a:p>
                    <a:p>
                      <a:pPr marL="687388" marR="0" lvl="4" indent="-230188" algn="l" defTabSz="905971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igital customer acquisition + self-support</a:t>
                      </a:r>
                    </a:p>
                    <a:p>
                      <a:pPr marL="230188" marR="0" lvl="3" indent="-230188" algn="l" defTabSz="905971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irect: Multiple branded product families for each distribution channel, plus innovative specialty products across lines (ice/sparkling)</a:t>
                      </a:r>
                      <a:endParaRPr kumimoji="0" lang="en-US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230188" marR="0" lvl="3" indent="-230188" algn="l" defTabSz="905971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dirty="0">
                          <a:latin typeface="+mn-lt"/>
                        </a:rPr>
                        <a:t>Tuck-ins to drive consolidation and operating leverage within existing markets via improved density in service and sales coverage</a:t>
                      </a:r>
                    </a:p>
                    <a:p>
                      <a:pPr marL="230188" marR="0" lvl="3" indent="-230188" algn="l" defTabSz="905971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dirty="0">
                          <a:latin typeface="+mn-lt"/>
                        </a:rPr>
                        <a:t>New markets geographic expansion</a:t>
                      </a:r>
                    </a:p>
                    <a:p>
                      <a:pPr marL="230188" marR="0" lvl="3" indent="-230188" algn="l" defTabSz="905971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dirty="0">
                          <a:latin typeface="+mn-lt"/>
                        </a:rPr>
                        <a:t>Transformational acquisition of complementary market player (e.g., ice rental) or major competitors</a:t>
                      </a:r>
                    </a:p>
                  </a:txBody>
                  <a:tcPr marL="45720" marR="4572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230188" marR="0" lvl="3" indent="-230188" algn="l" defTabSz="905971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utomate and upgrade employee and customer-facing platforms to transform the Client Experience (CX)</a:t>
                      </a:r>
                    </a:p>
                    <a:p>
                      <a:pPr marL="230188" marR="0" lvl="3" indent="-230188" algn="l" defTabSz="905971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ccelerate pace of tuck-in acquisitions and day-of-closing integration</a:t>
                      </a:r>
                    </a:p>
                    <a:p>
                      <a:pPr marL="230188" marR="0" lvl="3" indent="-230188" algn="l" defTabSz="905971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ease market density to create leverage and improve CX</a:t>
                      </a:r>
                    </a:p>
                  </a:txBody>
                  <a:tcPr marL="45720" marR="45720">
                    <a:lnL>
                      <a:noFill/>
                    </a:lnL>
                    <a:lnR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3862238"/>
                  </a:ext>
                </a:extLst>
              </a:tr>
              <a:tr h="2017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/>
                      <a:r>
                        <a:rPr lang="en-US" sz="1100" b="1" dirty="0">
                          <a:latin typeface="Century Gothic" panose="020B0502020202020204" pitchFamily="34" charset="0"/>
                        </a:rPr>
                        <a:t>Enablers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tinuous improvement: scalable operating platform and business system, customer </a:t>
                      </a:r>
                      <a:r>
                        <a:rPr lang="en-US" sz="10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perience including digital and self-serve, employee experience, and talent acquisition and 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velopment</a:t>
                      </a:r>
                    </a:p>
                  </a:txBody>
                  <a:tcPr marL="45720" marR="45720" marT="0" marB="0" anchor="ctr">
                    <a:lnL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5D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/>
                    </a:p>
                  </a:txBody>
                  <a:tcPr marL="0" marR="0" marT="91440" marB="18288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2625725" marR="0" lvl="3" indent="-222250" algn="l" defTabSz="9059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2210526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C325BC16-B378-4944-A3AA-6D7F5095C241}"/>
              </a:ext>
            </a:extLst>
          </p:cNvPr>
          <p:cNvSpPr txBox="1"/>
          <p:nvPr/>
        </p:nvSpPr>
        <p:spPr>
          <a:xfrm>
            <a:off x="1106180" y="3550340"/>
            <a:ext cx="37065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Larger multi-location customers in major metropolitan areas across North America</a:t>
            </a:r>
          </a:p>
          <a:p>
            <a:pPr marL="349250" marR="0" lvl="3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High-touch Direct chann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B53693A-EAEE-461C-B224-1AF9A6879C75}"/>
              </a:ext>
            </a:extLst>
          </p:cNvPr>
          <p:cNvSpPr txBox="1"/>
          <p:nvPr/>
        </p:nvSpPr>
        <p:spPr>
          <a:xfrm>
            <a:off x="4812700" y="3601351"/>
            <a:ext cx="33716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MB customers in major metro areas </a:t>
            </a:r>
          </a:p>
          <a:p>
            <a:pPr marL="349250" marR="0" lvl="3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igital and low-touch acquisition / self-service channel</a:t>
            </a:r>
            <a:endParaRPr kumimoji="0" lang="en-US" sz="1200" b="1" i="0" u="none" strike="sng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CF14EC-ADCD-4A37-ADCB-4633E96EB89E}"/>
              </a:ext>
            </a:extLst>
          </p:cNvPr>
          <p:cNvSpPr txBox="1"/>
          <p:nvPr/>
        </p:nvSpPr>
        <p:spPr>
          <a:xfrm>
            <a:off x="8586986" y="3668214"/>
            <a:ext cx="33716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MB customers across North America </a:t>
            </a:r>
          </a:p>
          <a:p>
            <a:pPr marL="349250" marR="0" lvl="3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ndirect dealer channel </a:t>
            </a:r>
            <a:endParaRPr kumimoji="0" lang="en-US" sz="1200" b="1" i="0" u="none" strike="sng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1364A57-9484-47EA-8C17-C20896008E38}"/>
              </a:ext>
            </a:extLst>
          </p:cNvPr>
          <p:cNvSpPr/>
          <p:nvPr/>
        </p:nvSpPr>
        <p:spPr>
          <a:xfrm>
            <a:off x="1136246" y="3438431"/>
            <a:ext cx="213583" cy="1916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F7247FF-C701-4C06-9B6A-0410F96B7714}"/>
              </a:ext>
            </a:extLst>
          </p:cNvPr>
          <p:cNvSpPr/>
          <p:nvPr/>
        </p:nvSpPr>
        <p:spPr>
          <a:xfrm>
            <a:off x="4832128" y="3463535"/>
            <a:ext cx="213583" cy="1916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851BDB3-9DFF-4C8D-BC35-28E0EAB8A605}"/>
              </a:ext>
            </a:extLst>
          </p:cNvPr>
          <p:cNvSpPr/>
          <p:nvPr/>
        </p:nvSpPr>
        <p:spPr>
          <a:xfrm>
            <a:off x="8525696" y="3473947"/>
            <a:ext cx="213583" cy="1916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176150B-CFB8-4B8E-9161-1BFFEA415762}"/>
              </a:ext>
            </a:extLst>
          </p:cNvPr>
          <p:cNvSpPr/>
          <p:nvPr/>
        </p:nvSpPr>
        <p:spPr>
          <a:xfrm>
            <a:off x="3176" y="1"/>
            <a:ext cx="12192000" cy="792584"/>
          </a:xfrm>
          <a:prstGeom prst="rect">
            <a:avLst/>
          </a:prstGeom>
          <a:solidFill>
            <a:srgbClr val="0075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3200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4F89465-3AF7-4616-B7C3-D773D603CA54}"/>
              </a:ext>
            </a:extLst>
          </p:cNvPr>
          <p:cNvSpPr txBox="1">
            <a:spLocks/>
          </p:cNvSpPr>
          <p:nvPr/>
        </p:nvSpPr>
        <p:spPr>
          <a:xfrm>
            <a:off x="417648" y="100638"/>
            <a:ext cx="9042541" cy="691947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bg1"/>
                </a:solidFill>
                <a:latin typeface="Gilroy" pitchFamily="2" charset="77"/>
                <a:ea typeface="+mj-ea"/>
                <a:cs typeface="+mj-cs"/>
              </a:defRPr>
            </a:lvl1pPr>
          </a:lstStyle>
          <a:p>
            <a:r>
              <a:rPr lang="en-US" dirty="0"/>
              <a:t>2022 Plan:  Reviewing our Quench strategy</a:t>
            </a:r>
          </a:p>
        </p:txBody>
      </p:sp>
    </p:spTree>
    <p:extLst>
      <p:ext uri="{BB962C8B-B14F-4D97-AF65-F5344CB8AC3E}">
        <p14:creationId xmlns:p14="http://schemas.microsoft.com/office/powerpoint/2010/main" val="34667243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A50F631-1BB5-4946-920F-36330E93EBC6}"/>
              </a:ext>
            </a:extLst>
          </p:cNvPr>
          <p:cNvSpPr/>
          <p:nvPr/>
        </p:nvSpPr>
        <p:spPr>
          <a:xfrm>
            <a:off x="0" y="0"/>
            <a:ext cx="12192000" cy="1331843"/>
          </a:xfrm>
          <a:prstGeom prst="rect">
            <a:avLst/>
          </a:prstGeom>
          <a:solidFill>
            <a:srgbClr val="0075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258DB65-6E23-F742-8A50-EDEC7D7C385C}"/>
              </a:ext>
            </a:extLst>
          </p:cNvPr>
          <p:cNvSpPr txBox="1">
            <a:spLocks/>
          </p:cNvSpPr>
          <p:nvPr/>
        </p:nvSpPr>
        <p:spPr>
          <a:xfrm>
            <a:off x="508963" y="165947"/>
            <a:ext cx="9042541" cy="691947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bg1"/>
                </a:solidFill>
                <a:latin typeface="Gilroy" pitchFamily="2" charset="77"/>
                <a:ea typeface="+mj-ea"/>
                <a:cs typeface="+mj-cs"/>
              </a:defRPr>
            </a:lvl1pPr>
          </a:lstStyle>
          <a:p>
            <a:r>
              <a:rPr lang="en-US" sz="3200" dirty="0"/>
              <a:t>2022 Plan: Our 2022 “breakthrough” initiativ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0FA670-4D1B-5242-97A3-5DF343E5C08E}"/>
              </a:ext>
            </a:extLst>
          </p:cNvPr>
          <p:cNvSpPr/>
          <p:nvPr/>
        </p:nvSpPr>
        <p:spPr>
          <a:xfrm>
            <a:off x="10070405" y="1277"/>
            <a:ext cx="2131533" cy="2438397"/>
          </a:xfrm>
          <a:prstGeom prst="rect">
            <a:avLst/>
          </a:prstGeom>
          <a:solidFill>
            <a:srgbClr val="57C5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BA4B48-125A-6440-843B-AEDB8EDCA3E1}"/>
              </a:ext>
            </a:extLst>
          </p:cNvPr>
          <p:cNvSpPr/>
          <p:nvPr/>
        </p:nvSpPr>
        <p:spPr>
          <a:xfrm>
            <a:off x="9919252" y="198782"/>
            <a:ext cx="2078432" cy="2266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46E37C6-B020-D042-902A-C0CC130FDDD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143093" y="644769"/>
            <a:ext cx="1630749" cy="1297735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0BD824A-A6AE-474C-A7C0-7CD027150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FD11E28-60AF-B543-AA61-E2BD0459882F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DD8D3AC-0C83-48DF-9D8C-415750BAB644}"/>
              </a:ext>
            </a:extLst>
          </p:cNvPr>
          <p:cNvSpPr txBox="1">
            <a:spLocks/>
          </p:cNvSpPr>
          <p:nvPr/>
        </p:nvSpPr>
        <p:spPr>
          <a:xfrm>
            <a:off x="598416" y="890126"/>
            <a:ext cx="6264275" cy="3841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spc="50" dirty="0">
                <a:solidFill>
                  <a:schemeClr val="bg1"/>
                </a:solidFill>
                <a:latin typeface="Arial" panose="020B0604020202020204" pitchFamily="34" charset="0"/>
              </a:rPr>
              <a:t>Strategic Deployment Plan (SDP)</a:t>
            </a:r>
          </a:p>
        </p:txBody>
      </p:sp>
      <p:sp>
        <p:nvSpPr>
          <p:cNvPr id="20" name="MekkoHeaderBox637743412833278488637743412833424472">
            <a:extLst>
              <a:ext uri="{FF2B5EF4-FFF2-40B4-BE49-F238E27FC236}">
                <a16:creationId xmlns:a16="http://schemas.microsoft.com/office/drawing/2014/main" id="{373D98A4-829E-4F48-9E12-7D3D69776315}"/>
              </a:ext>
            </a:extLst>
          </p:cNvPr>
          <p:cNvSpPr/>
          <p:nvPr/>
        </p:nvSpPr>
        <p:spPr>
          <a:xfrm>
            <a:off x="1676400" y="1498318"/>
            <a:ext cx="5791200" cy="381000"/>
          </a:xfrm>
          <a:prstGeom prst="rect">
            <a:avLst/>
          </a:prstGeom>
          <a:blipFill dpi="0" rotWithShape="1">
            <a:blip r:embed="rId3"/>
            <a:srcRect/>
            <a:tile tx="0" ty="0" sx="100000" sy="100000" flip="none" algn="b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9144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cription</a:t>
            </a:r>
          </a:p>
        </p:txBody>
      </p:sp>
      <p:sp>
        <p:nvSpPr>
          <p:cNvPr id="21" name="MekkoHeaderBox637743412833278488637743412833424472637743412833541909">
            <a:extLst>
              <a:ext uri="{FF2B5EF4-FFF2-40B4-BE49-F238E27FC236}">
                <a16:creationId xmlns:a16="http://schemas.microsoft.com/office/drawing/2014/main" id="{1552038B-7CD2-492F-BD1D-26D8F17881C5}"/>
              </a:ext>
            </a:extLst>
          </p:cNvPr>
          <p:cNvSpPr/>
          <p:nvPr/>
        </p:nvSpPr>
        <p:spPr>
          <a:xfrm>
            <a:off x="8042103" y="1527373"/>
            <a:ext cx="1981200" cy="381000"/>
          </a:xfrm>
          <a:prstGeom prst="rect">
            <a:avLst/>
          </a:prstGeom>
          <a:blipFill dpi="0" rotWithShape="1">
            <a:blip r:embed="rId3"/>
            <a:srcRect/>
            <a:tile tx="0" ty="0" sx="100000" sy="100000" flip="none" algn="b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9144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 metric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B2271E-F7BC-4DDC-BCE9-2509E5DAD336}"/>
              </a:ext>
            </a:extLst>
          </p:cNvPr>
          <p:cNvGrpSpPr/>
          <p:nvPr/>
        </p:nvGrpSpPr>
        <p:grpSpPr>
          <a:xfrm>
            <a:off x="645864" y="3040598"/>
            <a:ext cx="10034141" cy="1029154"/>
            <a:chOff x="609600" y="4203242"/>
            <a:chExt cx="10034141" cy="1029154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EA67084-FA62-4B34-B76C-F42DF59FBE0B}"/>
                </a:ext>
              </a:extLst>
            </p:cNvPr>
            <p:cNvSpPr/>
            <p:nvPr/>
          </p:nvSpPr>
          <p:spPr>
            <a:xfrm>
              <a:off x="609600" y="4203242"/>
              <a:ext cx="990600" cy="102915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mployee Experience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007D8B9-1BEB-4BB5-8CE7-3A04295017E6}"/>
                </a:ext>
              </a:extLst>
            </p:cNvPr>
            <p:cNvSpPr txBox="1"/>
            <p:nvPr/>
          </p:nvSpPr>
          <p:spPr>
            <a:xfrm>
              <a:off x="8052941" y="4292652"/>
              <a:ext cx="259080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mployee retention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NPS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st Place To Work 2023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269049A6-6822-4F7F-9A78-93243E8E8BA7}"/>
                </a:ext>
              </a:extLst>
            </p:cNvPr>
            <p:cNvSpPr txBox="1"/>
            <p:nvPr/>
          </p:nvSpPr>
          <p:spPr>
            <a:xfrm>
              <a:off x="1714500" y="4356181"/>
              <a:ext cx="5791200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et Quench on a path to be a best place to work through improvements in communication, leadership, and follow-through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emonstrate commitment to employee growth at Quench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74821CF-1A31-48F1-A33D-FBD778EB9BB5}"/>
              </a:ext>
            </a:extLst>
          </p:cNvPr>
          <p:cNvGrpSpPr/>
          <p:nvPr/>
        </p:nvGrpSpPr>
        <p:grpSpPr>
          <a:xfrm>
            <a:off x="645864" y="5303342"/>
            <a:ext cx="11164242" cy="1029154"/>
            <a:chOff x="609600" y="5355499"/>
            <a:chExt cx="11164242" cy="1029154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F7D192B-99CA-4D2B-BE75-F51D52FA3BED}"/>
                </a:ext>
              </a:extLst>
            </p:cNvPr>
            <p:cNvSpPr/>
            <p:nvPr/>
          </p:nvSpPr>
          <p:spPr>
            <a:xfrm>
              <a:off x="609600" y="5355499"/>
              <a:ext cx="990600" cy="102915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&amp;A, including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aterlogic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A8B53D8E-031F-47C5-9554-457C29C10CB3}"/>
                </a:ext>
              </a:extLst>
            </p:cNvPr>
            <p:cNvSpPr txBox="1"/>
            <p:nvPr/>
          </p:nvSpPr>
          <p:spPr>
            <a:xfrm>
              <a:off x="8040042" y="5608466"/>
              <a:ext cx="37338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aterlogic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customer and employee retention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3E2E97CF-C398-4670-8277-DCF29C50D68F}"/>
                </a:ext>
              </a:extLst>
            </p:cNvPr>
            <p:cNvSpPr txBox="1"/>
            <p:nvPr/>
          </p:nvSpPr>
          <p:spPr>
            <a:xfrm>
              <a:off x="1761161" y="5645963"/>
              <a:ext cx="57912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orld class customer and employee retention through the transaction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935B7D2-D959-4F6D-B66A-7ACD87DBE59D}"/>
              </a:ext>
            </a:extLst>
          </p:cNvPr>
          <p:cNvGrpSpPr/>
          <p:nvPr/>
        </p:nvGrpSpPr>
        <p:grpSpPr>
          <a:xfrm>
            <a:off x="645864" y="4162425"/>
            <a:ext cx="10180631" cy="1076268"/>
            <a:chOff x="609520" y="1937285"/>
            <a:chExt cx="10180631" cy="1076268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7D0C123-F9B0-4F02-92E8-5AC0DB8F163F}"/>
                </a:ext>
              </a:extLst>
            </p:cNvPr>
            <p:cNvSpPr/>
            <p:nvPr/>
          </p:nvSpPr>
          <p:spPr>
            <a:xfrm>
              <a:off x="609520" y="1937285"/>
              <a:ext cx="990600" cy="102915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o-to-market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5450D3A-E10D-42D0-B7B3-4C19E351331F}"/>
                </a:ext>
              </a:extLst>
            </p:cNvPr>
            <p:cNvSpPr txBox="1"/>
            <p:nvPr/>
          </p:nvSpPr>
          <p:spPr>
            <a:xfrm>
              <a:off x="1676320" y="1982502"/>
              <a:ext cx="5791200" cy="1031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ocus Direct sales on low touch/higher ROI relationships (multi-location, cross-sell/cross-product category), and Indirect dealers to SMB coverage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dentify and prioritize vertical selling opportunities (building on Vero/</a:t>
              </a:r>
              <a:r>
                <a:rPr kumimoji="0" lang="en-US" sz="140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oReCa</a:t>
              </a: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)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4E8944CD-4252-4243-A242-486A779B2B21}"/>
                </a:ext>
              </a:extLst>
            </p:cNvPr>
            <p:cNvSpPr txBox="1"/>
            <p:nvPr/>
          </p:nvSpPr>
          <p:spPr>
            <a:xfrm>
              <a:off x="8052860" y="2061204"/>
              <a:ext cx="2737291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alue pricing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ross-sell within installed base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TV/CAC leverage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1CDAC68-0618-4A4A-9C8E-D35DF7DC7760}"/>
              </a:ext>
            </a:extLst>
          </p:cNvPr>
          <p:cNvGrpSpPr/>
          <p:nvPr/>
        </p:nvGrpSpPr>
        <p:grpSpPr>
          <a:xfrm>
            <a:off x="645864" y="1907537"/>
            <a:ext cx="9731439" cy="1127521"/>
            <a:chOff x="609600" y="3064685"/>
            <a:chExt cx="9625817" cy="112752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A8D2259-D121-4CBB-81D6-EF5C264B2D29}"/>
                </a:ext>
              </a:extLst>
            </p:cNvPr>
            <p:cNvSpPr/>
            <p:nvPr/>
          </p:nvSpPr>
          <p:spPr>
            <a:xfrm>
              <a:off x="609600" y="3064685"/>
              <a:ext cx="990600" cy="102915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ustomer Experience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B519235-09C6-4501-A147-E90E3E200434}"/>
                </a:ext>
              </a:extLst>
            </p:cNvPr>
            <p:cNvSpPr txBox="1"/>
            <p:nvPr/>
          </p:nvSpPr>
          <p:spPr>
            <a:xfrm>
              <a:off x="1684960" y="3161155"/>
              <a:ext cx="6284757" cy="1031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eliver right product/right person/right service/right time, across </a:t>
              </a:r>
              <a:r>
                <a:rPr lang="en-US" sz="1400" dirty="0">
                  <a:solidFill>
                    <a:srgbClr val="000000"/>
                  </a:solidFill>
                  <a:latin typeface="Calibri" panose="020F0502020204030204"/>
                </a:rPr>
                <a:t>Supply Chain</a:t>
              </a: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, Field Service and </a:t>
              </a:r>
              <a:r>
                <a:rPr lang="en-US" sz="1400" dirty="0">
                  <a:solidFill>
                    <a:srgbClr val="000000"/>
                  </a:solidFill>
                  <a:latin typeface="Calibri" panose="020F0502020204030204"/>
                </a:rPr>
                <a:t>Customer Care</a:t>
              </a: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(Scheduling, Account Mgmt., Call Team)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400" dirty="0">
                  <a:solidFill>
                    <a:srgbClr val="000000"/>
                  </a:solidFill>
                  <a:latin typeface="Calibri" panose="020F0502020204030204"/>
                </a:rPr>
                <a:t>Move closer to a friction-less experience via </a:t>
              </a: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mpt, first-time resolution, and self-serve capabilities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EB0B4D26-9ECC-49B5-BB5A-386BFCE8106C}"/>
                </a:ext>
              </a:extLst>
            </p:cNvPr>
            <p:cNvSpPr txBox="1"/>
            <p:nvPr/>
          </p:nvSpPr>
          <p:spPr>
            <a:xfrm>
              <a:off x="7972154" y="3227490"/>
              <a:ext cx="2263263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ustomer churn + NP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irst contact resolution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eliver self-serv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49412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A7B11DF-7BD9-45E4-8724-485055E05E42}"/>
              </a:ext>
            </a:extLst>
          </p:cNvPr>
          <p:cNvSpPr/>
          <p:nvPr/>
        </p:nvSpPr>
        <p:spPr>
          <a:xfrm>
            <a:off x="6525030" y="2374419"/>
            <a:ext cx="5564139" cy="296398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A50F631-1BB5-4946-920F-36330E93EBC6}"/>
              </a:ext>
            </a:extLst>
          </p:cNvPr>
          <p:cNvSpPr/>
          <p:nvPr/>
        </p:nvSpPr>
        <p:spPr>
          <a:xfrm>
            <a:off x="0" y="0"/>
            <a:ext cx="12192000" cy="1331843"/>
          </a:xfrm>
          <a:prstGeom prst="rect">
            <a:avLst/>
          </a:prstGeom>
          <a:solidFill>
            <a:srgbClr val="0075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258DB65-6E23-F742-8A50-EDEC7D7C385C}"/>
              </a:ext>
            </a:extLst>
          </p:cNvPr>
          <p:cNvSpPr txBox="1">
            <a:spLocks/>
          </p:cNvSpPr>
          <p:nvPr/>
        </p:nvSpPr>
        <p:spPr>
          <a:xfrm>
            <a:off x="228998" y="741836"/>
            <a:ext cx="9612410" cy="691947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bg1"/>
                </a:solidFill>
                <a:latin typeface="Gilroy" pitchFamily="2" charset="77"/>
                <a:ea typeface="+mj-ea"/>
                <a:cs typeface="+mj-cs"/>
              </a:defRPr>
            </a:lvl1pPr>
          </a:lstStyle>
          <a:p>
            <a:r>
              <a:rPr lang="en-US" sz="2400" i="1" dirty="0"/>
              <a:t>Poor CX has a direct and indirect cost to the busines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0FA670-4D1B-5242-97A3-5DF343E5C08E}"/>
              </a:ext>
            </a:extLst>
          </p:cNvPr>
          <p:cNvSpPr/>
          <p:nvPr/>
        </p:nvSpPr>
        <p:spPr>
          <a:xfrm>
            <a:off x="10070405" y="1277"/>
            <a:ext cx="2131533" cy="2438397"/>
          </a:xfrm>
          <a:prstGeom prst="rect">
            <a:avLst/>
          </a:prstGeom>
          <a:solidFill>
            <a:srgbClr val="57C5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BA4B48-125A-6440-843B-AEDB8EDCA3E1}"/>
              </a:ext>
            </a:extLst>
          </p:cNvPr>
          <p:cNvSpPr/>
          <p:nvPr/>
        </p:nvSpPr>
        <p:spPr>
          <a:xfrm>
            <a:off x="9919252" y="198782"/>
            <a:ext cx="2078432" cy="2266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F87446F-C226-4343-874B-648980630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FD11E28-60AF-B543-AA61-E2BD0459882F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6DB3086-4492-46E7-BBB2-69B3BD67831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117988" y="656492"/>
            <a:ext cx="1616017" cy="1286012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154E59A-0F90-4BE5-AB87-3D8CF5080C0F}"/>
              </a:ext>
            </a:extLst>
          </p:cNvPr>
          <p:cNvSpPr txBox="1">
            <a:spLocks/>
          </p:cNvSpPr>
          <p:nvPr/>
        </p:nvSpPr>
        <p:spPr>
          <a:xfrm>
            <a:off x="179556" y="2175619"/>
            <a:ext cx="6253989" cy="235095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Gilroy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b="1" dirty="0"/>
              <a:t>Direct Impact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Customer Experience most acutely measured by churn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On an $10M/</a:t>
            </a:r>
            <a:r>
              <a:rPr lang="en-US" sz="2000" dirty="0" err="1"/>
              <a:t>mo</a:t>
            </a:r>
            <a:r>
              <a:rPr lang="en-US" sz="2000" dirty="0"/>
              <a:t> RMR base, the difference between a 9% and 5% annual churn rate is $368k of RMR.  </a:t>
            </a:r>
          </a:p>
          <a:p>
            <a:pPr lvl="1">
              <a:lnSpc>
                <a:spcPct val="100000"/>
              </a:lnSpc>
            </a:pPr>
            <a:r>
              <a:rPr lang="en-US" sz="1600" dirty="0"/>
              <a:t>$30.6k/</a:t>
            </a:r>
            <a:r>
              <a:rPr lang="en-US" sz="1600" dirty="0" err="1"/>
              <a:t>mo</a:t>
            </a:r>
            <a:r>
              <a:rPr lang="en-US" sz="1600" dirty="0"/>
              <a:t> of RMR that we need to make up; ~20% of our annual quota</a:t>
            </a:r>
          </a:p>
          <a:p>
            <a:pPr marL="0" indent="0">
              <a:lnSpc>
                <a:spcPct val="100000"/>
              </a:lnSpc>
              <a:buNone/>
            </a:pPr>
            <a:endParaRPr lang="en-US" sz="2000" b="1" dirty="0"/>
          </a:p>
          <a:p>
            <a:pPr>
              <a:lnSpc>
                <a:spcPct val="100000"/>
              </a:lnSpc>
            </a:pPr>
            <a:endParaRPr lang="en-US" sz="12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4D1ED23-0C56-4277-B2C5-4E186D5FF888}"/>
              </a:ext>
            </a:extLst>
          </p:cNvPr>
          <p:cNvSpPr txBox="1">
            <a:spLocks/>
          </p:cNvSpPr>
          <p:nvPr/>
        </p:nvSpPr>
        <p:spPr>
          <a:xfrm>
            <a:off x="168355" y="186157"/>
            <a:ext cx="9042541" cy="691947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0" i="0" kern="1200">
                <a:solidFill>
                  <a:schemeClr val="bg1"/>
                </a:solidFill>
                <a:latin typeface="Gilroy" pitchFamily="2" charset="77"/>
                <a:ea typeface="+mj-ea"/>
                <a:cs typeface="+mj-cs"/>
              </a:defRPr>
            </a:lvl1pPr>
          </a:lstStyle>
          <a:p>
            <a:r>
              <a:rPr lang="en-US" sz="2800" dirty="0"/>
              <a:t>2022 Plan: Transforming the customer experienc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9CA0D15-075D-4EBA-8193-521721FD00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97256" y="2608904"/>
            <a:ext cx="5416412" cy="133184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62842CE-0254-47B8-B715-3B097E80520C}"/>
              </a:ext>
            </a:extLst>
          </p:cNvPr>
          <p:cNvSpPr txBox="1"/>
          <p:nvPr/>
        </p:nvSpPr>
        <p:spPr>
          <a:xfrm>
            <a:off x="255055" y="5135323"/>
            <a:ext cx="6102990" cy="14035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ts val="2600"/>
              </a:lnSpc>
              <a:buNone/>
            </a:pPr>
            <a:r>
              <a:rPr lang="en-US" sz="1800" b="1" dirty="0"/>
              <a:t>Indirect Impact</a:t>
            </a:r>
          </a:p>
          <a:p>
            <a:pPr marL="285750" indent="-285750">
              <a:lnSpc>
                <a:spcPts val="26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Industry reputation negatively impacting future sales</a:t>
            </a:r>
          </a:p>
          <a:p>
            <a:pPr marL="285750" indent="-285750">
              <a:lnSpc>
                <a:spcPts val="26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Sales rep time on churn prevention vs. selling</a:t>
            </a:r>
          </a:p>
          <a:p>
            <a:pPr marL="285750" indent="-285750">
              <a:lnSpc>
                <a:spcPts val="26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Employee frustration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9CB326-1FD7-4D2D-B590-270FAC1DAAAF}"/>
              </a:ext>
            </a:extLst>
          </p:cNvPr>
          <p:cNvSpPr txBox="1"/>
          <p:nvPr/>
        </p:nvSpPr>
        <p:spPr>
          <a:xfrm>
            <a:off x="6658141" y="4164266"/>
            <a:ext cx="53395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pfront costs:  equipment, installation, commi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 don’t start making money until 3</a:t>
            </a:r>
            <a:r>
              <a:rPr lang="en-US" baseline="30000" dirty="0"/>
              <a:t>rd</a:t>
            </a:r>
            <a:r>
              <a:rPr lang="en-US" dirty="0"/>
              <a:t> year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A548A8D-A5A1-4339-960C-4DDE9C6D0F12}"/>
              </a:ext>
            </a:extLst>
          </p:cNvPr>
          <p:cNvGrpSpPr/>
          <p:nvPr/>
        </p:nvGrpSpPr>
        <p:grpSpPr>
          <a:xfrm>
            <a:off x="168355" y="1386177"/>
            <a:ext cx="2998540" cy="564193"/>
            <a:chOff x="168355" y="1386177"/>
            <a:chExt cx="2998540" cy="564193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7F087E6-080A-43F7-8DCB-5102EC153036}"/>
                </a:ext>
              </a:extLst>
            </p:cNvPr>
            <p:cNvSpPr/>
            <p:nvPr/>
          </p:nvSpPr>
          <p:spPr>
            <a:xfrm>
              <a:off x="983806" y="1451791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mployee Experience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280F4DC-8C5D-45AD-99CB-EA95153B8DFF}"/>
                </a:ext>
              </a:extLst>
            </p:cNvPr>
            <p:cNvSpPr/>
            <p:nvPr/>
          </p:nvSpPr>
          <p:spPr>
            <a:xfrm>
              <a:off x="2471976" y="1451791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&amp;A, including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aterlogic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2F01BCC-F908-4A12-BCAD-B68FE0B516A7}"/>
                </a:ext>
              </a:extLst>
            </p:cNvPr>
            <p:cNvSpPr/>
            <p:nvPr/>
          </p:nvSpPr>
          <p:spPr>
            <a:xfrm>
              <a:off x="1733063" y="1451791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o-to-market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4EF2D4C-4EFE-4741-80AB-DB4DDA815047}"/>
                </a:ext>
              </a:extLst>
            </p:cNvPr>
            <p:cNvSpPr/>
            <p:nvPr/>
          </p:nvSpPr>
          <p:spPr>
            <a:xfrm>
              <a:off x="238109" y="1451791"/>
              <a:ext cx="694919" cy="4329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ustomer Experience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976BAEB-29E7-4CEB-BA28-5A8ACF217E53}"/>
                </a:ext>
              </a:extLst>
            </p:cNvPr>
            <p:cNvSpPr/>
            <p:nvPr/>
          </p:nvSpPr>
          <p:spPr>
            <a:xfrm>
              <a:off x="168355" y="1386177"/>
              <a:ext cx="823521" cy="564193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rgbClr val="C00000"/>
                  </a:solidFill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81250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sQGbZh6JTXlJsvjRdsJ69evslQMfy1ZtjV8VakvpttFLpl/3iuXMA2X5swWxR8qrjVF/wlRcd1scns67R77q+E6m/uHQG/F7b7cJJ7DAYjlNpHnJL8bMh4prJ2OkYVZ2QeLj39ibszmzNjuz139p81qiteYh9/KNOvt+oM52zYPLGCoNMMocFdmQN2YpbYODueL/X/Mne2HbxsHTdBXgT6jWWp+xkWJOCymubC/Bs7017iX87NgrBaaEB03+R9S7GHH3f0jqDpa7HtOFhUKeI3zNmP4ufu4jqETvMUqtcCV4xZcWCfgu5iu/uF59LHPyAdySkpOSHtgKzhVg9NAe941/aQvcZlTjUn6LbPvpoQzGY0N4eF1nu90/o2xR4md1hGpXQn7Hxr5IyZSScwT0Mlgbks+GNt1f5FzCv2dTaoWJ1CIrUiA6iCUXm8bAuPGa/tprUwXMA4gV5QcC5meVheVeIfP1o5ncL+0sKCdypEk2JTtRTi/S2mBmxanu6lP+IF4uPs/AAIp2JGxZi11d9V00/a/EtHSOMXRNGZH8eJBry/ljbr3OuzlWVLrOe1RJB0av1OcxZ0hfpVI0v88fOrbkHTCkKf56k67dW77Kl4HVl+iYCdakXaUgC/oNFGCF9EYOQxu7BxHXvPZ8+GrFsrfH58I06sXyl/at5PQJDTfit4CzLkRaqUkibHcucF+MHueYHtWtsRabrTuCQeN/obD5poqT/KMd6kEvOCp7g5a83nv7zaOu3Dd42Dwof09ACDfx/ZrYINdtwp4bi2vNnrl4+FMVlXFtwQumX8WP9uv/9XnHdd6clbxktkLQTcBkTDGgrDn3wbROPB52UTP2f/CVTWHVYO3UHDpD0qeO5TJdqVp2oooFu12jYQQ/dIvut3ffJLUbpn+ICM464WygJIvFXxtCHPnrKMDPMzd0gxL/uCiAmnL8T1FxnSuElThX5SWlmc5ZgYX14ZoicyFIuDM9YVwivonewthSbMTLXZnJbrHIXGSx/rSo1B/VtKJGvdo3tPjm0zCDqOONDEkmLipZxI9YplnCbdQxa8LlHvhSs83niwg/GNLYER65cJlDxnoZYKHllOS75n8pf8Ulpv/34cJNe8c7hX3AtxAC7HSYBo3LYzFIy0L315Pbsr4RWCA5c+YygxapXqchWYcooZ9tLPw+PLAvi24UAvvHUP032FLP9TqbhZyp5fiK+tsqxM4AbktCTpvYQhGmLYZwIoNzSKX0NUvXho07AEYUZgEqLEZy41+v9UbXMoaRT0UbGQDHBnwpW6yoJunpnLHYRhdE8bcxYqjqf6Epq2Mh0Xu0cCvKtcgQK679sFjTX34p8RRFEhEVfZsS+KJMZZKYoLww8V+ZAVfqW/LCln8rPWRXzTvSt2NCKrxbIKcHOLz1MqfkhBGbME5It3TeftTULPyDAYJxpv0fRDCul1sN/rCFJ7YtRJLKz8gAn34sTtretgU5WR9koyYMIONfE2qiqsQXR1s1U/i12lUOTTbAR/XERm6OaxOIz5bNjo0ADCHqJBMLsJkt63O9j3aucixnklhHKKLevih08OqLTn0pr+VPhH4mDEzW+TTqFXt8XnRQeayMnroDbwruaJ/Tn6rnNpWHMiMV1s+BW2hdQixzun/JluYZUTDkIdH9HvgkT2ozNs5pCd9/Uo8Fl1kNPZ3dcgi3K/4RFtJ9r1DoHHd/DGjHF+7BcXR1s2v7yGJ6Y5eYegpaf8+7Rr3OHWyieTkmGpbZA9GrlCOIyIgShgNJeFk0YI0BQNmqngfPDjGOUISFZtQvTDyYlc5UTEEQnQqEQxqBbV88CY+X+0YGGGvlhplamyjIC2oegJ/t0+XlL+6c8iyGuGtY1Rd8wRRsm+jV2PUpQf/m1HFqGRYAT8uVLZu+3X15WCSSxTbfwY2UXaUUVKilGF7xgsYtZUHcpwvc0bOWP+r5tnPUIuPfeLRgMrEkGUCKe7Z+18FpjhwRFjgVBLWfPkTZr8nppx2OMt+dmH+XDpI+mtWFrkMS7OeAStrCkNc1vN4urmWfXFkaIcx5cPHqnAkj+v8AHfBgtlTZkFuX+4j3HY1vwR28uqo6ysQFwhK3E1mHDEgWFAIOdMFCHqVSvjyiJqESO6kH+3Tgul1TA6M5p1xgMOgKw3IbflCfSQuOcjY7VAmHo9FhlUgQdC/Ew7xmolFmAIF0XE4XTvCo54MIFyOQ5dT4Z86Wd9OgKTH5gspiRVsi61divXfoPNiaGP7xIqcLCF8SaxmJso/rkqQKo5XiSJI7SalRh0PHrjRAfDXk1Ui5VfBQqxs81ofzpbGLzQvaK9Bob7dTIcVAwKw5Va5xAhvUq9ufZ44+KsVWpqM2K7BxijanlL47NUDKc1s1ImiE1POvdWzvqkU+VdZKp4qx7MhfDNNUL2YyAbIqdIGqH0XCKjCLgUQsV/JC8sDKmLTlgAcXonSZzVCIDAwBHK0HViJpngNcHkmH8Eqi5rClGLsx3cU+AXFB6+tCiG+86r/5GvLNFcCD15Xp0Np+gvBZDLj0shOYs7uEW09bbGOR2VDCjHrA2cMQjWCx/TF63n51GJmmVYbRTgNAwA+FVn//c8TPWVKgUU9nlsgE7Poca3Jmek3pOXF/DKVdczqhghg7SwnU7YYYNI0VSB1p7qYvswm5hc57BeuilN/BZigZQ264KoihHGsDwav2/lcH/20NaewKLl6xLUwdN4Y0Iw3yLH+wFDPUHNNAJF0IJQXhvnc7DR5E8QFBjdA6HLFWwK6pHEbsebLGwDkWjUS+0lhs/RR9Wp+jMrVL35pUBnL+LX5ktL1F8OtulvhHdpenKDPkcbyE9pFqjjNvQZnLjRoYz5O0ZELZsQVs+kYmd5SaIIMX5S9iTbD2KnOBhK7kFhxkQpjCKYptDYNgNAO1LWwMXladeI68reT8qqyqEkvOG5tGXYDocyE4luM2SX7kvtVLXRj5PCkqvuCoCIaiVxtii5snAA5LvzbcOyrxGsVg39zZusmYGToGrP2vY01XhXz4FNAGyuytL+Bafkulu3p7DiBxSpvzfXsz3Fj/AbKB+ZcKAKudlDgF12ETTUzLdekbcYeEwXeikZQ8KjjuTXHMEL8EYsJXNZd+5Iav3ACcH5x9k8WmOiNf/5CQ/mFHk8qiSWAWRkWqq7ehDHMv9Je+uUNMroU1XW8B0nf0WRoCWJgi8ayh0zinYSGpvqA3ADeVpGByqBbByemVoMUh59RVDdjZsPrM3xUxWfCuqazWh+AMMIv30iDRxc02KxoPYCBzB18WUtuFOSJMG1WNHGGd5l72ptPCy3kPg+ax/2fiIXaffi1GvfacO8pY2z34AfTdUJjjwPM2a4lBJmcHnQsHWLgF1M5Sf+TuezSOOxooS36iIJhRVKXSo5fQYfhPpcZgUWmHt/yn00AGQv0fpPL1JuwWAEE+hDoZFxtrI+4yAhl50qaAvyq0LTcDolsPiCDUE35LZvW2x4BAno+/Cxr4491yZkIIC5KCLnB3qZ8lNDgFIMVgnGKtPHV5RdQEhz8ljPSEg5QwrKJDBN6DCcQnp+i1EPFV4V+ZJM7nMiADa5OzSOdp/Ye5JQRsOy93XMqMYOOpJyQi/QAHJytJm9+/Tm5I+rgQ5+OI9xj49EVblsADyPjSN84J+pWae7a/4DQK6SlZyY9Ac0omnzewaN4Ays4z23Y9zaPdHyIt7Bk3e5O1ntcijexwJxaGTSwdMeybQibn6+Aws5TQWTGrrxp54CqEUamPlVgZnUw76BFjcP3xlGARxt0R9QbwANwUoKCddBH40dAZFdHRglsurvvapM0EFOCwVqBdwkOeD36NyZrrFdUam7A6f2Sxz3EGzqn6sBBUDqnjX1Pyr6cjeRT5I/RF1G6Jr4Xy7ALer1Cj1JvvKqO5BSa2loSmgmX81MrafRL50dRyaLcHOIaK40JXqSSI+VD1nqQnWXlNH45wqMMFp3V0hyDcxlRR0w/drqUGEUtBJbg4nQheC/jZCi5NIhbeuzqi/j95txQgYtwfI/zQ8Otz2zv0KT46gvD6sNrd9JKv9iEDESaoTi9+v7rvnubaptoDGvUxexOYaEdREpYC5tWVaP1UUcv34RrFGpOoTyqdH8+FUC3MKQ8NWzxi5GTpJ2/2cUjaLkAKHhei0eNRyRxpWShcXFV7LBK8u935FoDz+BmsbQOnKv2Wyg/VsnSKielXrhwIw3OU8zLR9ZT8Ow49X8pLeyBkPn9I7qOLVDVhzSsAVfi50JYfamiKXDO5h/JD7A8FF0iTxLs5/YyiFeM9CVvrG20P3QL3XZRs8qeFZDZZ3tNfKlLEf9kZ5YNHlirlsIEYGl0by8UUsAa2K3WSoQGzVTLxOz6ME/j0hmOADYW0xYYM6DM0t5iiWsmHS82IDqtMva/7quwXYbJg3FHt1h0S1KgcwbWJehMJJF2oO6GoqkcGD3e94p8JvPU93Nl99xxaQjlrj+mMqlgD16OK0TvA2FF0dymrlmdUPGrN6aGsmYFYac71cJyD7E0mPEswQ+3+hIGkHCqM5T26X6v5+Cb4fDD6faOl1eBZ7KHtKN5zebSwi3cSng1tnMTEzRZLxcrBvFLsYvxMZyxXH6UWPfyH7AuxAVjPjFyu/R0sbtTX+0d3XDVeXfO9pXOSI7QgIfq25nM/OhLOHK0uyM4TDIyYkjnQCP0tCQuztiF5uC20hRd40HFrc1BxJKVOPFvybxHytItjNmL09ocDJucazFHOS5rY+ISjLPKjeZaRQnckcuN0KO3j+z6zQMgYbulg3Yr8gZUDXuX+K7YgNcYN3QpTDI+yKOqtKhqhD0eFjKsWO7NEhMyl2MBGO1R2EmWzRo5skRaaktjeW+9QlpnROrNzYNHRjPPiYiULN0izs9CpTnmdOGE1jNuYuQsdRczYH5pE88H+ov028d4L39zunSxrsJOAR/tyl7Nxw+IZhuMXhy4S3JkK6yuKWX3rMjhsookgJTkgL/UtsE3iNLMh4UCfLoAKTWVuJbGjf572s5v3ZCeXlt/hcvrBEhXbUcSR1g1PIe7REIJYLy0tyJq3R5cCLthJKidOxWfw2h6VwGcx7MhX0ZRkqRQjAxE1cdsBwpugR/t5sGZ6Crj4jv/LuhsU/tbi8sFNV6zfuRkMty/kR3oRl9k63f5uwfTBGMgQxenb17qUPsNBwSobx/PSkh8PluB7gQcR3+vNtZORye8rRV7GtZuGEZh/N+NqxGCiKG7m9LauJLz1CpCFZhp2KauVjOpR7jmTmAlwm8uNQ6/FxlrjZq/hCMGP/oFOwvjzZLDXUwRi5OIdRrdKDbm0YLSWl3YjwJM/brcS9hzl50xVeYvAXITXTfQASSn8evMY04/pWVKQEBGPYrvJLEJpji9sCgvS9vtA6ceNWn7rg9qVU3Box/tWyccvneoDgLPJs04s7RCFOzXoPybQ1/+9lCyRc1HpuYcZzFfSlsMsWj91x0cXixZuMda/w7oYymwhdoDsuE0wU5ajAFk3eCX2Qkig70JL/J76yseHcmYUPrwywzBatkXEd/XPc+lYMidSjKMOtsQUv8aVrSr/ZiN3m1mRqyO7dmv3g8ib6q1rhBXC+St4349krAP6EryOCWnzhLvNvFniMhGVHiEH5N9jneo3NVWZXG6tRtFJ4lFWSiH1iiT/KeE4E6mhqXqBYiXvmkVqIRpfr0w+0xuwxrC3Ccy5BZC0c5gAffU6IR5lLQIpZLTbkua9p6PtqZzq2ciyYHbyrz1ebspYqtogyJrnUVUBwPoz5iAdmXO+ZiQClEMCqHh0YT+Izk/osrRnmb9EcuL0MmPlC+cNNaFlPz2qqWaL25M0csAGFf8XOBaPRKxDwM5245Dnyn8paBHve4m4lbahdL1vPXb+tesH98C8Hr4uwWOkLzIVed/4PmrG7jVnpcHwWSlXe2CnE4tLP9d+JYmALD9GxdBA/5Zd1t/gbhPRoqNyP2X1qey4XyvvRHu5QZJ1uNVwQXrlo8MndF2upV4mkbkcBvAu4uf6voZSi9HywGfWKkS/XHC+pno+qxsczZ5m+h8eHnBjC3t9ZMz2H3iJ8azZCAPl5I0prdSspLZDknRcENh6cZWXMJjUIs/CvSJV5CjtVo08XkKasiHcVuNiizxv++IMoYEPUdkP/ad3U420SKy2IOwsVRiKHI7vUC/ZlrA4x5mJuai4KMQ4K70CSy7dRWEqGXUvgqhEDVRJFNw7HOvnnneU1WsYagwfbJgATePH9H/0IHMnCphaI7cObaTDSq2xnopRkjBykojFqO+YwTG13BJrqrBvGdB+rOkfrTZqtd9gB8e77NXhosywu98JkoG2JEsF09ooYabQiUuS3rSr1LC/7Vqv9uU+J4ERx4Dp1JQTI/IHFahqihdtzBbjW0FCn8/MwFLM6W8sEaKg0AP7r7DxFb9jNclmi3797Sur0y+Tcf1Hdm8kAeSjr40LYMBgG3s8zJQJeQ9iPYCiTlJMEO+eiJ8eAssuuy9mZEfFLsyhM/de89pzhT0TZXAChZm8OHUkDsEX4duNVsXlp+nykO848rkEzNtV10cH2wpKS1uWslOtEdtIs8KPwFe+5unjwyym0uV4HgEC1hw9XVv08NzZoqyzS7qBdkkcAzkaI3y6WGPsxqfG9LrbQo9byzjotWFxR4Ve7KVAlu6Az1e1KSCUkhTsje/E3fG/Lpv3D3ReMlUzW1Iu5I8ucmF9h5JUkb+1CgXJuc5vp8RTj3JaaD7wpa9vzK27DfdvNbyUBoMg/d63zG8daMKqR6Jw9Ir6A+94PNzJbQCOhBeJoWVglcXaecznRz2UlY5IFszlyKqXuoJFl5aaLuxwlu71fptK40llrLcEiAS5NCA0kPT/gF7xuBxO3CtFO67M1Yk3TV9rofUffgZsZtv/8ia+6W8n3yw3Fychlr3k26cQjzCj9FGIB8x/6ErcQJgbIQe3a7ymSn6hmSsxww4/vjbqEB2ia5IbqCbHE8iohHEiABvmt6a36wbslxIODHZQrLcSPuJOYut1F1wOwdclGyk1SV8omQixsbsAaEbGsXhz2LIBukIBrsSpL0deG4oTJ8FJFdtbOyOZ0RAzfpNmLEqpa5aG2Y1Rak9pxvMhYb9Pb+53+t4r33xWktZ0gFxgtr9Vj1qvPJnYgBHrXV47H0ugq9UFow6oMCELZerLHlujyMhAgziMxn1drzOiwyFXIu/XjWu0kRSriBai3IK51emHIBJi2bZ/GAsHr1108AsCFY4vxHjdE+rom+0PqfvVOB7avI24i5y4hU6XA2mqiv5fUUIv1sq4hSCkYWHPOklAEZyEO7MfJ8OB6BplhhgkHgX9/o4bgdoMIZ+BeNnvMwx5C9u3+fc+n2peDrFawv3mmO2smZD4mPUfAlmsMKpQZR4M4P2PpxHxz0jY4PnXvzide+PTCrJz0rXHCuhiZ98ONytFS+m5UOURIfciY7XxzZt5YwYI1Zp74VKaXTeLn3nlsLIZbGia2pk6nfjTItSWYDBW2WIjWLB//zEpODs/3Rh9+dLlYb0dsbvr1MuaaIogKb75tQP1c9XGpvgbiyggnZLtNzZVM1g8AnxR3r146ziaoYB49uVRDilgam4IUfSJYwpVzCuSoCZVxJ6mWyKuQehz/qHRqwt16pqmDwjG57wXKCDALHWtpSaeAqk9h806vrF/iy4JwIRUg6q6O4ojv1G0hx6GJk9UKNflHQxmcDf6tHZg+IyyIGuX65VF6K/9iHH0ggGGXk96mZcthI2oppM47NKuiXRxs9+OIfjhvPdMs5qFIdOpLYnbNuarlJ4LcxH/dLx4KCnnpMF1zqni844YqauMf/hm0m9oHL/uXc2Z+KzBwymPXWkLr3PyVdt/t/1cYW3M8bfKCdQ72affOunGNyxxLrlsx9WzWqhDMygB7pEE6r/XOWiNM5P8qme7vlUtx9Do9ueS4CTeR574aUtwGgbT5CFES7vYrKn+YwuXJjkNZflxYfikwS+NV4utBsY/8JmY1NzcWkoqpMgPP0APCbq0AILXAWTLC8pSm/4uwVLwLtVn75r4D+iyj9L7dUd8UT+ACPqOPVJlHmprPHASYkNxvvE91F3p2UW6gLduLKfeRmht6vWahXROVKSQOaR2Ufq9RmBVxM4glEpcvRkBNS7+1m6e/9sSjw7nACi3c1rkjE486IcvdrjeiOmIQU8V+yXHCfjcHXOQUSMC4zsQGEFKZ0r5SBUOaVCHotMLuTkhtNXAZHpqZcrKepHmeG02JJqq4kLOhIBO7pfmmaz7RLDlo6JwyeV+42o7Fox9vwPiq9iNtC6V7gRoo0MasZMkBGDuDMhWtiO61cHRQWO/Qq0NXNwIidqm1yhjoV3mobnSVkPA9BuXrNmuYWP7ijT4+7JeGH/GXThkFQrtXxkvA3DmNBRczfGCsWY+ZH5NxJA9LKkhOPSZMbfOuDFy3/1Vfnmu7DnIIj41x830xem45lYqaGRuLrz5hsjZHn9HQjq858KeTUcXs87t0zOyCcOkQfx0fLQMZyWvkj9aM4LIH1gn1kSDRjUZN0bNTXuyI3a/3QK3boJfAHhiBWGU6tQZBEKCXJBXg9sYlVTFUfFZ3HfEQ7jL4iuBHTaPco7vdf8UGx7L0niW0tSgMRB3cRyx5ZWWSYS4rmK3mSCHjeSqB8Egpcf62WP811enN58HNTkiMvQ6NZPzH8xUjmAgOjnOzpoCYXgu3QQmD++5I1wlIU1Zs/XYkMq86QaAaaBlSYxYXjGiKPZLflJRNBNObmzdDgJ0pyCZIXvn7zjimSXI75Bkv1U6y7nK3wGNXuG/GeTb7PhZBNJKvkYm0vqf+13qTcGryddn34kmNGagM1ioURsljKACvesm5IaFRHW83NdLC0+s7JufQeuLOUH58c+rSJn4HH7MHeAOCWaGkaShtgDd7V8T8fgwB5ArPBXUhMYdy0o4TdJ1YqhBUHlg+Kha03wVo9sQxVXI+M2P9L6bfuWr9Z+W3lr4U35tAok2MAD8keiFe0DX+bLExs1dJBCMJXF98D/I9z/msHOq+1x3hU0i0HP2aZLWgiDfpmmJhJ88tyreA9jWQcfQDe8/mvzICsRljPRuRSW3RGd2V855ny88wHOw+uRlVVgeqiiQKpDDNhgsSo+n1iEBmTtMjyQ1khTdpAZkx8mYcgQAMPjn19L3Ny/gQK8OBGFuGoRMCegFYjVgaX41VQlDLjx2JCyKrTTYqBGywBwKfIq5kI5JYp4jmXECLBWAq2YErK6Cd7vjXrJ8lgmlqgCgVaUY5uvuz15+t6xjjsWrGXPXrR3Y+DXoheYxWl5WrqtOew76qGKnUHJOWbOcrwKc2cCnI6jftFiCfiIQaIjLF7yre7b+bUsPN4TZ4lp6i62J8Mwb9Doyhr8NZGNQ7lHKcuDrtA87yqnDIsKfDEduS02wX1AIo6Jj3LAo7uKk3SqG1upW317PlQgWrcmfn734kzw/dukQG5Y7PZlRKQ6pMeuVyrD/I0qlOFZRzrr2gnGiRWEsf92VBzKjvBo0tHk12pa+FzooAcpSsaI/wT2g/BlFV3TsktOOgj/5+suAzmXZF5N3NRy6pfpQ9NGf0SgV6jM1hRctakHmcXRzPXOrCdiUvbwgK5XoRAEBvVwKj/pngxafwhC7CZZ54K+M3cIuH8Bnvf6Nf+x4kqabXwpGv35HoRFZ/Uep6Nh17+8L/JeDEkZjZtlYb7k48q2mioymxmr76xM5AWg1l1cP7BUzvY3bHLx1w093E901wOWSlPMajnpA9jk9H0/UBz/i/FpQ8Dw9E/PTlBhTw/Y9t4WJSCSgDvhBylITQXmnmUirmIUMzOVYkiFh/Ib4e0EJTBkVq/XW3cMC/fSKqSiLP0TDvSI+vLM2UeCbFaPP+T9SvPZqnfLkA2QR0DOqDsrLWd14X3/hBX1IsMvNhOaYD7zhhOW/0X304fa92AYTw2oukEvRgXndt35o1NHev9pF6+qT2d3zwGJ5Red//22/qA5itE/9Y6nwK3luPx4GNjL1KW3cYzAF9sGgRS6T3QbJTbeK1/Z5O++nsGKFjXdn6CF/lJ36zlsCJi8vV0cu8K/PxSxZuZGT6mg6K1r8zRqsRh2M4Ph/zuei5PWL/JMvTfTKn59IfKy/qSRE/KTYz4DVsMJVGatUHHVDxAapfWaCV4IdVCYWt0PpY34Ov4b8Ph5MN4NK2L2o1Fx26Nbka4t6G3t6AZnPdczj5DzaeG2rfml6HhB/jiwQHzUFxvxeH+lFMRZkk+BYG6wchh39EJK+ku7jTfNALSyRuDtv+vUgxua18UGKgSAEFH/waGOkknzXwzUJTuOKlxKWV+ZiX8OXurxlciBI2kdvIRTmCRk6BUS6sIZccICfSWgeDmpwxwUZfMKM1vtZ2/wBGNLKuG8TyvFzjsyDNFnUQaCW+8HUm3m/cGwmOKbsmoQSG3YEijT/bMovMm62BNuyMajfLdOvVoS7U4+AOvf54fsLLiQ3ZPBZhFWLaSMBwSoFs9mNSVQJtXAH4t/pESMffNXNiPJJhDhF8j/3JYwEro0z+auqjoIK9fYOwwaRlHHg/Zujwq6qcXcRiZivIDDzZ8ktAj3bb6VOYK27pSZMdYL2a61ce/LzxXS/8IpwfUqOb/fDfVwvp5H//IkZ2bC1GJSdoFQAcpS6Ik/BMP94d5wVxYFsBq1QTOARA24utVmoqh1gzfQJB5qXskBKwpFiHFdQVzeP0PnmDsHrarhQVGIxe9cYjXIhgWmGwhyhJe6ctYLUVXBUTEOHA/MyNeLBxx7+s02pyd0qjIUyODZFvDkdEaa2E2Vkth/HN0xFLwnkwen5DezGOGHzSdFwefsHCWh+j/7P0Iyo4SkHBx4uF6EXKsykkvBxw4owor/dKolpALMdK1kJgEpmRqJNH+u6/A9409E5HHAwpqM0Pitz/A10+P38yjs6QM1rHFKi1WJsDpdV/EPkFu2fJ5ePfViI64tObOk/v6DLFZoY69CoYBXID58t9K/2THkYBWZqyjWAl9PX+cXNt1TB5H+pYd/LDwevwPGebn7PeMVpIqIxpCXvf+6uNHWJHsHlXCvbnCO3P8Mw5GBfn3eiRFQxLoMb7J5ERDTDD5jYz3qI4DRsogfRJ0vaCuIUSAkISJQobnlvGfHSU/uRStcNDG9dMeWE3dNZGMot1G+T2RSzbvMzoFIHA4IzibhQdDMMiMXu5jo50/3dZSbkXfTBgZD94fN+W0mIZA0ZB+sh44sZb/2kovoXDxGszvd+T7QebRGJqcEAbjFQC4exIS/BsOggJZTsBa0gMz83lahZ/XStjlOSDOXeBfWWoMrEtNdVcpLFWnh3ZB1EL/u1rOBhLv7Ytsdwc7vDKKmrvjsSzKRpMqkpOPzOVPTp884obggjUvUWONHypN1pgBKyMKOySHtwyYr9IWq2LXi4+Wxti0PKVGMXYSoJP8ue8bgITCcGkPvdBW3RRd073S0hrP6/njjZFjKFfaN/xin20UBM6qLv7fC3x0XRAzNwgJz2hrxx0YblQxvogV+o8y3vW6pgZwolOvswR5A5C8ENaVAU4H6qSHSEj39q4bJX7xs9uvLz5qZ/13WyLYPw2S4KwyCFTizbew0v/8LkdTgSBmGGtUyJEkLOqtMt0AGa7w+ekZZ693n7r22O7UQeESryllzHFQ11Y9d3DDH1f7IkJGO8dqyjYi6PxkwU+hdxiDopa/magyP7+auDGxVmcF4o6UDfuLQSiAD7B0s58S4CT41uPVBa62X2s5obTBGjXUerIpn72fg4JprtF5XyTGEtGxoYH3wsXjlHoRPE8Eo75Y0TNX35PqYspJpM1oc+U+4uyvPDtHfdAvu+xwCVynIyNG36Fko0vcUCFwFqLB/ubLa/pg0t8PT98PpGuS01kCPCPdG09NayZKpp08t3N1n39/jjipUhEpTwcIGn3kBSzdKsIU/i2rH82eUocSHI7PdC1oHs0Vm01tayxMcSlb84eGRsv31rHUM0urojB/F/fukBNEvlUq2TPYOc1TSNloiQYg7qPDVJKVTzpdPJadKEyIsiLqlqRZSzTxVP2EedBBFbgPiJl/rj+yYglg8EIAFgPl5Kt6byd/B8vNv5vfzerEeF7gOlspoXF7n4r+tsnTFBmJHebt6FOY3U8MX2wMC8Z3sqXektYxZOCA5tZcEtCVc4FQ1EdDI9XgSb/VlPvnV9YAO7Mr//D9qU+icQBczSPCbpu2mj+JinAVwcfa5aAzpZXrrp9VNIErNJcGkKfttrXcR/CLayBTDbQrAPx4ZmvjxwAr4the4YgfyR32eJ1DGtx9NmbFY0KxLg1CKSn0tQhrpNg2kt6h65hVMl34aKmtAOsx3fkeVdfOvjkJbUHHpiCRrQa+B1AFj3BhMkXkkuEZdGjf2Svb3wOuoFyczLIuI8GlIpAlZZC6wY+pjvNAcs0Dl4XRe/rgXhf9AhcJioWOeQrkrjPk8zR4dropqEAGX5cJCIqhlDEHMxchxHzeoSTWjVs1PnmBQSEfBTpC3haggBT7yVJhrTceCLl3NcekxhlHyPPqfieg7MDPp6OM1WoZIu3UTgXGzJBlrLhBRKEBP1AZPE6J/+3l+n2uoNXVim1W9CQPZUGZWGOrXYesbEBRwBUPLCBR77Ovp/ujP8ioOpoULziPu8bMJ9qGyyxukBWFMU1vgn50NLSNrdAW/v6jqozg399liU7HSuQ5RhdQHtbn2DCu7ai70nBwQZcdKtvoUOqL3U3fJy9k7D+OmJC7NCOLfBytYtJGx+rRDwTJK50lvLWktPLOw3sKUIw0W4+owk0p575cuosKYk/rbieRizLmoWdTWAsTM/sx4alfd4I0YMHhdre4Zl06NrBaORGLhYtAvpRPUui/F9QC4v2UzvRf48JYCa8yUbaDnOzPfAm6fHRnk/9EXJfxsZqhAitzwYD8CFUXAYRjHmGojrFAWD2XctsJ1MQ0Av9Y3BrN+/WbwIbqL5Aph/YhyBMiaZE1h0AgCtP1WUZFsiGZwbzZJUPZ0Y6QmvOFIk2vMH1Rnq+ISZhoTLfwNjMtiobWU78BpYczazvbazz6Jx1dEvp8faz7dtB7lyQK+LDCH8phNerFC2m9Fv4XHvM+zlcEQCjufVdySoD7IC8snU+lOwoFpNBD0zvptChmiP9zP+k+OtpLmPPq4blmCCTvS3v5IZfBDOFYfEPY75XFAFf7WT9x0dBylILB5k84P6zikU9dJ5sGmcycGUCDNXq6pF2BTjfF+5kdjEIHUpYGuwEneaTF3KOezetsHG1AE5vrtqMJbuBo+c45mpy7i/vV6Y5jXecbUCn2gF1wN6dwe7AC+hWOrepxu4Kysf+tm4IUXsBgHMh1CsP/ZwJoJoxWRuebtF0Ue5qgxege+vt7+GTbT2z4Xx0XckO4CLxkm1Ikj5BSSIxWBQIDM/TjpCutKA9/lBnLOtpDUoX/nfaiiFh8c91GzrRU80YkxDMGC6YFDqXaijuQZwu9PEj1K2AJdIcQbHllWLoOKy7S17UI6SaPtA7pNj+ciT+IYaTkWffTks4icyvJrk4P3nubkZVK3LVfBnbd6Vk9Y12Z3RD1eXaSnTysLs49dnG6VnDKh3Lv14Bknkhr5VbcUJ4JyWddSYTQNXrRNXIiEgVvGWFUmnv7HBo+q2TAmWrFnXgN8AYB61N4KV5HLq3/n8kfY9Jhnjh8xagECN4w+Jtq4NyWYSIDqL5yVawKVWZlP+A8rMfApJ3z++bPbkX5nW8ZeofZHeZmT8Zq7CLo00NOKOcggwVDmsHpINcByLvKiJcD4SOWo/o16HphJ7jr1HQOATyyqJCt1coj/lzH2uF/NNp4gIe23Ndbq0EWbYfVZ2CA/PSIBsnfiPBNrWLHu9WoCqdZ1qvUnIyqUcBZJkiNKl3cuWsRzHcwSvD5ed8VEmUjgAWch1A5lifDKouY7nyHwh22HZGFdwBgvR17z39vwwlUXn9KCnS6thTlA3m3jrse9nFI/jlfgm8wn5ft9teAH90pP5GlcDypMCwmKkkeX5rDN2u30ABKlGvbh22UKQceTrbf+NHbzPc846x8wlLMM7gcZsd/K4b9Hz8drCv7L4XHxkbvFTZypDOmlHDgicRXMnocgomlZgxlEeciJnnzrCQ54dJxdG1hZSnMvjA0mAjWIeSJpOKCZ4dDG3TJZvDi1fcetC0aHzBj/bL9EAEm1aoFxgKD5xDYLTHIgir4VtFhHCzQs5vbgdERctYXHqahweN47arBX/KdSgxbKqjmHNQ65cSStTH9n4KfZ8xPNevfZRRB3QSZYNqQSXOC1o6ohfuuVKj1UE9qJkiFTtxtHPmaNHAYQFbko1kez0K8YuYA8FRezKFqa3/XHpvN6f9yXoNqOtsdrsJPo1UyTkPxMAkecM1nZkqRXW+5ljs7wXXFtaU74a7f2U8hNDmazZ3+v/jBvlWBS8MuV2lbYXfwGyCIxMEiVRjHGcHIinFKAvihjLa+A/y7+3eskskO21XZP+BnPp6AtrfT/wOVtsXWIGmRPU3MDGBIV27mQZoEAquYpMe0xygnFezsx9M9v2SIOGinHY06SFriGq3qZbXwojdVtq3HZO3xxfeyr3zmjHXpAMSMNX7wMHZWqZeGuVpgqlZpxWuvpC+CKHRlit3jvBOzllI4wDNZj/bLj2u0ew2urByXAhJOZGp1jmOzDf7nq7sQOkD0bFbp/RTAYW/GuUf5aZX+WH269hfHEP4oNt8e75+QXpjLxXBAbSnvSkGadf2tuH6GHljbM9QCmJg/c+86yikE1inI+y3xFlIymH+Kv1tpNdXQdwI0BjjLThKnWexvBjQ6EI6tARsnm+uwtXJmeHE8xpa3RJiJWbOLRYVRvSe8rDKK3y3rER3oUuZJEN1y1d7giD2aqeGfQZoClJrFaY4HPKC4L+NV0a0J5kBoahgTPXSnqIMjU95Smpe4/zFc4LqA7q5VNGIrUPTWWRpyw41uMv1iyzM8lDnaVMY8oOCHJcFERDJwovE4Ce1uVnSwlfw1SaN0KQanSlQgffwRWGkxdgtC2PkdRQjdxWOlZWRAbJsaXrpjZdLp/aIfneA1DSnOmEelGWlTmXH1879/D0jimJWghEduCpLlicnNsxjgxFJc73r0DIDDBQiMlLOo8df5i0/5bonfUbPPstJtIOgQz8speoWDS+EPeqjuBcqsrS32WYeQdPGpmm6tu9gdkJQgiatrpd/KZKoCmUbpeuTFtvm/Og34H/cGJFSW6ejy4oMH8JDv1P6IE+DgvXgrhGtFdSzhxwhl2+3SwWMu3SJ+5EOOqw8ZFMFDvaXlmOywBXwSmbmupKFL42zZo6Nz/drCdulGqC7Afpuw+IOoljJZpFarTjh8g57y6gsNBNvN8pTcktoX+H72WH6qPioXbyGvuY6Hcpl6jNlCic+lwix4VfzBNsaEyKyz69p8HDCTQW8WrkU3LElCHkRZuklhLcRdQd4m6H+s71jO0aOZtOHSvMVSATwfF610RQfxuYkDdeeXI3n+ufY1ZH6rLsVgE271cpQte25NzVh3qkGyB03ZQxUcDxjokyMmt5j7xs7zqO/PJG4ooiCLVKqu9aafd9v0WS1gqXkpGpoF3NC7ZU0hXxx5avvPx7LnS9Dy9QditlVWB/LVYnruHLLg5ec3737BF69mdYjY9N7H6/jyA0S1g3sN8+X60wvm5OXan+NGpHtVMdHL1d1DdLuou9eFdFl/AeASdCTHTX2SA5jo8zb15kvuxDFR8mr6WZ0q6wKAoGoFZJJuCqSBtqdtTnOPtCEtrkGBVaH1ICT0CE69UPQWMDIZtKH9Bk6r9ZTs+NqnWNrai1qn2GN1FxXJWgEoNXjQldzrItojlmDWd0FNG3Aq3zjoEQdTPpNclmQ/5FHf6V28vnj3gw+jpJF74gmvdKpCRnIWqeyKy+FRlsqOTDUQZsPFAoCI863c7oExujI3rQ2LPeHcCGwsxJOVPmlH1QgsdQzAFXmnd3oTp3Tmz35pkdyeUSFPejo0CdQfXNi0rhErZMHlXrYlv+PQErD2ndXKskdze2xvOOIWcgHO8bvDl/mTNkCGhtojbcZQiPtGHV1P07p4XUsEjR3s8KXcplvokHpAATn1FBZiiuMCu/6rD8oHMdPxllpBSChApSmzdPIqovTKysGJlOUz8WILSv8O+6N6EMIZG7n+Jwnd/aSBguMxrMUDg3Pgzx9gNQMd+y+5ZISU51rm0CXwlrIQYtBQcP5ZiqJey5THaNmrMC1J2Cs8WdnQr9V0KYQBgzvA8bQX8C/nIWxPKDEgdb+IsS1UFDDvCu4z+CwSDrLpK1wXmy73HR8J06xAWTpBD96Cz/ahJf/6hgiOpGIJkYUnEjfREJ++CBCEV9wzYT/yCLr2h2zzFRSeIxiTTmKR+qCqNftZJPINf5YEGEIwXfkGExD1sBuX6+XwfP/Ms3AAwmgvtGT+5GUaByops6psKvlEBdCSfKaDUAz5tEmIOqqZjbOYqec81G817Q/zQ77Dy+BpSVwSV2oGBhZL8+M1JxVJ5uGAbJa2csOjjdSeali5aJtj5IzSxH41sX5jPqddLsDmYnbXCS5PG6QLncK/L5zyQtdanFVZos762710cLVDaRS3cej2A+mpsouGOlaC+qtKRrxNnTofMk2pmfFRPUiW34ytlbbdIxLOpWJnqmtyHmyXMDAVN5+TdMTjk5x1l1nT+TagoZkKJIqNZqp1i34CoTXuyWRRoy4iYuo0XxkH2vrLbV2LQL/VuPr9G+1kTGCdjsGzyM60YUj9cDaDuYibrM9xN2uJqF4HbVOQUQMYpI+Kajt8G1VnNTNg7HjIRVc+JKAx54n88pvSBXt5Yyp1EQvryVI51tnEAI8EdV1PGdQumf6GhvQa5RGy1E7K5V1F7OZmAW+L3/6QiQ2uLdN0ZouXUJUulxXsyLqiQq1miUwx8YXHSj10s7oWPKziwo5HT7YzvgLQnAMz8IV0vPuE/jyofhJ+rDgywkuVfTZ4JDdE7Wy0cNXq0ShBOzXwOcE0o+z2oERDAFrJyQGhBYEMrgrg4wkGeFALop90aW9Ihl4SYN8XQt65F/zadZupR5hCMaecF1tXz+ppa6ZMGBFE7BlVZ3Oy9XGfPWB9x0V//MOubXzKKzHUkXkvMOGXGUAhN77Sp3oEH6A7Wul4ASpi84JdoPxWrl8BYfoWYHmQvWTR3jioDCblcFBfbwOWKXbFsZD4ht6rWRc01mhiGs8oC3lgVtSr4R2lTkq3QAdNdeHeUJjkIKEfOzkJE+xLwPKkBjd8Z7YihcWcsycyKoUCZr1W86io7OmHBT3vr1/4Pa9V5rYI/I2pPufUBEa8at/KSbjT+rdypAiGC4lVGrz5UvaeUgWCuRPgdprjhIUU4Lt2ZGQDjWA/Eeyxo5csayp1jpF+DnieFmajaAIYndvdqXBhn6zLPeV7ltN41caGQmRqV2jUhw7h8GYKyS2Vc40LmudbjUO0/tYFLY9s5FYcIemxr//dtZBVALaCaFt23zCeOjLeCcubSMpKAJFZOYYSrsWmeA4WXUihZAaeZfHuMu3QkGcBY1eRaOxwL3nclCpUtWq6Jvw6LTJWUhyt18AJpBWgoxia8vgxjnOKlB/0PBITcOvJmFfwPaKOqLJ1vtmREktZN2Md51mgBffJm/grbOKrjV7j40yj2fJiFH0buWVu/R470XamjExXOYzWsdH9Xw/TBGRX1qkg2UWL1ymnCfnZs2SABAMjECs202rclAKYsOyIxgpDVOgOZtgo5vkFk56hYZz+KN80sAdDJ63NR5e9nnRGUDfvAPqfykTYxVKYeYN5QrzZ7lH0hUgAJm59pUJtZG/WKQHXkrML9elFjOPRPlOGUNYueh7+28+mP9T6ZT0FyTS4FXwQKR5Q+52tjIKFyycjaM9HK5yof00/NPXfDhuvGisNosuVqy1RYeOEB4vDBKbuRNknP3s8TILkvLvqqcoAuO9b8Q13hDyZQmWxg1xGm/Mcx2oD++P6yEIbxcZe0z8XXE4P0YTs/PxjJPHHcDLvJRjLIon7aITUJs8Y2OIB+SRUie1IzPi9UDGQm9BYPySSuWpha4kp6XhdX+ZQ9isNnP57JrwEia7zuILuvDEBpp/snWK+ND+bhOoISz15p2LqwjI/JsRAsZRmfQ9dxxYfjACHqjvFWT8K0Yqn73cBDGIOJO+PhH6CrwA22v5S5Uq16bbeEcmrAiN3bnY5j+3oyCEeEMivK9fq0AeuHdbIgOFwJrYfsW3Aa/9KPosUewt83Yo3t6euptevMtx7CfuAo4XrHqvGVTafRtXIv7g3yFx2IGQyBh+nLNKvQjD7GDYlhNCweCNsACRaMZT0BrHJoO+OlSL9d/OXueU5r2KGhzx6P75n5KTmdTRYA9Rj8RppTsYFiVsQyNx2MW05e7vr30zsUIV7UVQnC62fxyG9ieAx67uQ9dQmkKPhW2iyx/b9hDT0wHHoAbrhKbIwaMlimL1gfNOdTT5hoGv7e015DbeNPkXxrfxhv8xtFvd4NRjoKcIniyDFYTmeOXOgjwY6icm29BTR8a19OZL7YfH1d1uKAo6MOPvXNKDDP8pvdNX5/fI97PZFa74/SxeVi4zCzWNc1MmLV9TuzkBd4KhKIOdwe32uqym5h5XIMbVpleNjgFZFNQbwymqpd8ARuDCqX6+gz5JaAaPsr9qxrBM2X3tx2o2Z3co+YTsOwaSXcUBbX7xDsVQKG7a3NSd/juLQyDh0fcdqvsjH0X0lxZCYv5GGP3fN4Jem6wuMILcpYaKE/GV3eqQWv9zBkn1Ne10dO1A0BBP/4kpk9n+vbk3BFixo18d+mjtJx+Z3+EkifPUed0L/GXxIZaToCzYsD3XRjFhcHZSUbNRAgXDHa/7Q3yTA4R/QQN7uFnBIUCkURJtSdjQivu9khOkbaNA9HXm4e/TxBqNJLW9pDudPy/X499cQA96A76fnvaycUoN4m23iPhiO+GMDWmFqvU9ZGHLCNivIoTLrGtVgjaslmkJq26VlwcciG047VbBCo/IwxobqXXNaIlAaYOI9sJo2hlfdqo4eObKub3S8X1yO9s5utJpHvjglfmsgnhSnLyxMsjXHYDf6GgowqBQgDzmKkhfkCO/YcQ1Epvfwa6jTfGhShTl0WjhVY1nolgY+XnGhlW8aJobE14uUTbKLrC2W2w/CegG7qRp4HqgiVpLysyOdBu7kPIKcdU4Is0jyhH0KR3qx6a6N8AeoHu3fwbLNoxLd4WLpT2xnL+CbnZ+6qKUU60FJv5PRAMuiSDPO2NIdr3z9krcWM/0jNfVuruOZhFB4dRo2mUzSXQd86eR5XrYJzzy67WtpR9hsEoRaNdElf/Ju7ITaPBKKkHGhZFOSkmq33iEzfS2rdR9E7iwdYa4m+u5Py1FD3qkog7WtvnFwxeRdizZllCi+FY+DfxoFHVCxv2fjQ+oDbxq4QuS2JfFWsCxu/U9j36ROYTY68u2SYo4mtskLodp3saItEyZKYMMvlu5yj5BSP0T/LArNtC8VgFQzuPOpwcMl2F5BndHH3VAkDBv6fgy9jaUlJKhwg9c/xYlYZPVOvibY10aredc4u/s8PWd87Dmx9hG+e6PB6npK6dFTt7sPX8l7xHFm8JJRygDBBrXDZNSpOrZacJkgvy7D7iV4MtWNMCzphx54dkP2xSxnlV6yVjD/PEioEmgdZGs++l3A1wJtODiR/DwZjmmqfvnfLIRqvXdUwOBvM250VSR60RSrVvmQJGFDcoI27e4TuwdUhlve2+R41hyzOzsKFRMTyUv1E9hHSfKPmPj2mLGlOkBtBYpmywoOVEkkbWQfA+k+v3shep8IQdmJc6D0thQisTTjcEAXvt3GzM9KwNkqF0Qwufnc6BjVfy1iNh/K4oXm2J7pNXkghIsg7n0oV+Q8xxjGsM422vq2Rtb5YDh9TH9dSQxwH+wQO5OhVyAWwWMiVV6FrjFMW6W/Zi+sNQkcRUllcL18oZo0pANtYQxyMzIgcjmkWWH7gb+CvNAA1JOroqgjVvUlZoTgnXEEiYDa1vdKrdwto406zeAHMUFkmw7KMQxETK8KyH4cs3eVzfaVyP8A8CpCUR1DYhWw2FAGVwx2QlVG7wrFRKWa3G193dre5EXdU9DUajSkr+MThu0kT1HI0Hf7u9ZI2JAXZaYVOtXphTx0UawCPdF9Es3CVxxaIgID7dC7cH1h8j2L3l2836j602lrATk4uzQ7KCX7Aga+6cxs980JQVRDRXuUtcBP0Gz5Ka/JjyPG1Oi5mW88nWGPhbFgZkMFWNMBWIVeJ1Wk59L09DeziOsZQoFgCdUYvHtt8/mJPjVXof9hSLBqLEzg7dXquBj0mZTdRe5vTaVQ7l7GlTqhSIGR+r+9r31rGmAvAH4Hm3+ZqSVPZmirAzuwjVOXf6YnFYF3LiTL8fgF3ok2g3xUkgQJclgaCSe2/mjPn2J4xvCZXfcQ1eZhy/AM8kHwTw8tur9nkRtgKPD+4BePgPufLgE9/lPeUtDENZxWhtqkq3/knb1cQvHQ0e7del2DGDczQeQh4MfbcOLfcXO8cIx0BHkZ9uLxIR+khwGcnHrwrqKJTNhL5y8QIyhNpe/ki7+V0LCF4/o10BQSARn+4Fw8IMaldST/UAm2emWfKcrdMYbQTU2XzSJGX2SkE5uUnnaZL4p4XipsJg68Y/pgEKepRgeWENwNWwuQOMEpeRTAjp0zn5pNbefNuqn0MWAO0TSk3PBjeosb/lf0qFpx8B+aH/WHGXG04pBR5NHjH7D2/TLDtd7aNvOQqx9gIn/9FfiYgw+ILKcNkoEX697hmdFufCu/73wzLZOVLFkKVkWzFH/94exL7oiIOBObGwUDlRhplR3JtoyWZKi7pZM3FTX2M65oy0hDfUclCE+D4BAWasG1qdHmI+4xFxyCR6X9R97/OV8lQg8eyUbfI8z96ZTqGWtG6+98o+Ie65N3ftyxNiip3tb5P9dIYORh1zbBesyTF/f0dcTxfXI4GCQdOYm/AN6oNThSTpCuBEz7v0u0z1oP9VPXP+FAm2cz7TAQTzk5eToiD+/6SUjOVMjZfpdHP4rPIfXsT5hjtd3O3i77SmZQRmhHGxZq60GCj+XT+W7kpZ2HKVt2+V6PRYVYEP1sHdvhBg3mANLolwhMolzgb+iu6qcEttDS6LjErhXfL40K4ZabYA8usNYiqXYtnxgB+fswkjxl2q33CmhYc5/5Lx3gKsXQvrSWbcQLHrdcerihFcqHhYosqnJ+EeUH6v8vATEVCywtc7gPJw/uqqB5EyVYMMuUpQFQlHsl7w0ndE015SSq4H2YDoFkdUrw3TF5eTgGN7wAXL6ySVBpFoE2l4990G48Jd4Mvntn1iAJ03NfWgYMtyYAaHfddu9tZOhDQlSq0N3UDZYl7VrthoqIteK2kZ8Yy1DEN1awsbdqz//BWiTu2s7oPDy6EtCGUT2dC333UCJnWYNV6f5jzJgjIATTnkNL6d8gvQj48ptq0wYjrbgjOxFPK7ywwGd25UH+nKb5zprShMji/ZsjspnPjmBr9YGlVxNNXGFymCbXdqKy6/588C/PTYat2+ZCSirzDnEbM/mNmYBwmOZcZoojHs5uGGniNiI5gARiES1bcC/N3+PN/3TM5yDW2w2EN7UsbGUHfsFeFJ9ZK9IhjF2OvsaC04f6YiShVWBQoSZ6ksXPukBjlraNRAgNnI1qkGLiCbNWgkBaii+7r9bQJAaeb50iQ6gipeVZ3OOf/n2lBvV7hI5cPO74/gzsqzQsGUxS+iIG1M48go3nryw6W/hPj4oqj6JKTC3SNrlsyrchvaySxmc5tVkVb8VpGTkQ3jbootAT/gXVS7kNSl7blusWlYBI9xuvdFadD1vrAnCaVq84NRPgy0S54+1mBgMZX5kTvwPaaOr4i8Ye/fJ1JbYQLqfwYYW6cAVod6srQzIa/FhyuHsSn4ib9IkWvvZXgLRLwJ2pzFdgY4C5vW2f2FnE7b9gFfdleFOzJj/INoHSdcTaEZY0cgryqYrp69QiDCLmQOyMMxi/YeA0WC/SwLrDQ4bR0sUIzP8OsF6Icxm85A768kx/26BjsBpRq295eAhx32qJln1BteFS/XZyMvAYEmFAXsXoxV0HXsF4ZSl7PVOfXNAfdcfPBDB43e29AYYKLLrNkZzQ7B8MlQRgWHJ9u8Mj6wyojh5s0gcqEUUNu5TtqodEXI9KG6q8CGnRl+6AkkqJ5u6zPS4O6iYBamyc+f88/9cP+Qy3sd9lxCZACA3vjXtkOYdLyqDRjIRj6tFNyr2yFyb1Q+Tnqx2s1q0Fw0PZFdyhLhzdGe+dcspxwP32gsmt7R/M3pLO3vv5tP7Utks48KTRL9fqjl7+5NqKYaExwcnG09KkBCIIZ0B0F3YONWtOu/Y1kzUhkAvqUAjZZ01ysCt/OjWdVQqjqrRaRu3wYrpEgRoLVq09LTIodmjAxTL/YnPDi32ZILZwjVKzXqhv30IdLeQNDTIx2PCRGVOT+N3IhJF88t2CVqM2A196xJUXhNMgXNMOMPBo+B9AegVFVoN/7L5qvW2oEzDBqIrWFP6Z1AjtHsMHl/TrRmWmXPbAsNnl2yJG91OXIMrcZJuk7h2O/6pMU35b8Uw4JbWIKlteIA+fk4Tp41b8L/naS4uFDsgYfOiMibF+Pk1ywguiOjlLqxJqKH6F5uEHnjRlkJwVwqSHs+tTXlJlFoV+SGQP0q20zF7k79mKj+aj+DSE+M20NQ53vNFPZrrYGnRdJIimtXCEWZIdXlC4SzCrfMfqsIgUEWjOQHX7eJkaEi8Z+5sRBh8FqfqYbx4lJmoRVhppM//J5pEpgXEZZlQAYqh1By+PDNxbV5vTpve61Mg+hfcLVQweZC5s+EfRGHYSq9UdzTkBLEWBplqa6O6+sRkT05NPPDYtN9Hmk2a9T0ajTCjtuBqI5aBKY1EXosNhjy/RRizz/d17E97t3ZrqAdpVvUZD4CFTa2FdZ5HQdU6NoDmSBy/okNkotA+x5cKDaKTP3X6J3rOPTc3Kb/KwZiB+e3yQhtp8i2sJ138vz9pdTWMA9f5OvZiCFVSsUuU6I4mcG+55Znem2gjye8ocUnu4bO90DSDeDCO5Nls6zYmPrmYGtERmKyelXVIVaI/aRq11Je2SADkbLtQsSWNosu2XiZie6UVyaLgTaWzJe8h4Jx7a7OdSra5cLlfYJycTX3dRYGYWTqVz0f2GyIf0IrtWvhfkAmWD4xcYSwur6sfXw6uqqeea+wDYoHPmjpu6IAQpNlv6kh8WcAPImWbIGp+7uLQuIXM3CQCcY2WKatXCtCK1XgXg1N+EvWK2lDhDa/XihvDoQkJuufd33eeCweU9aMA3IjjpaxdhwcoqkvXLGYmVkdwiLyNWViV7C5i22hSrsXe8AtP+sd0/v/Eeu6uUW0nQHd/bb5EifjPxIue8x0gTcrH1LngJBcMYIvF5j3S2aAbsCOd82LvI8FX/YTpudYfydJgb3Fu4mrDoSjYE4m9jEr/FWiv8lEWWArdIoXHnIHl9J6zXBrOgSO351XL/NV/UtK0pzibRbsfdmKK90cFEuLOW5OWczVYVTX2cNqcpMVuVvor2zCTo6/PkssQL7pBbUYqPBDnjstakXE7WR/F/1TOnFxczHBcNIhMgovA3qoXmkIBDPEWT0/j+AvSifqncLr1K3jQUgv/kNFPaWjGUSr2N/tznARIAlbNZaCc+msYBmBbXBTK7gGsIyzTqGsDmlmj3g7AhPx/RijrFYIIWTdsHZYY5fQsSRowU/qiQYPG1OTiTBwDZ941U09WezTq7FGzlFVVZdjngmcAzhSFYr9qSU/jpL2fNHLtY79wHpuDmtUuA1KITjxIC8RctYUQb79KS0fgd8QzD4S5o0Zylp83i3+d2/k1YiuC0CeyB96nRbQZXeo0WKqdPL6ThMsNr9TiZBr7dvpO9G7A/knphMY+hLT2bKeuDE7HEbQyoEFEeG1PECnostrIWcizG7GmS7WzT3+WiXLnlMOgVJ6ZyhUITmXrI1y551fQIvyaC+8JeRYFHkKgILcd/FbhMVV+vv448ymELME7a1vWTJ1ZGSiRYU+fqWMnE7bCPqTwstbr0rO1+mAdn9TEPtIGC3NQCCc5xwOkm3ScGbFxlldbnwQikFm57Hjm+PBrDFIW0/R2gzyhJqg4tnri1hMiTlRQOL9dBKyy3lFcU+zR1Lo4vuWomMhy9ox4Ce8zlAG/1iCNCIwHiQs6VvMf1248pkVBsNPWeSd1Hl9e+ID8de3RvHudsEpvVzART7Wcojge/AUUc3MK5hJDqFneWjpUmHDmOFPEJINtCMtb3Iv8uoqLNV3m2Q7EKP5W7mQJxTtOZKXGgTdqjpASN7JNxxSL4t5t7ejnCNNiuGzYHFbX2m59I+WUoQb3FNxE9+qt2MH4KUNi/ufnw4AiFw2Io4Mh8FOahDks1tSuqwpbe3ai3P2aPYPt0tfV/YSmsqUcEAhTkChN9lVvRYP508YQLoVj+PqsGdl2SgOCip4zp4fXU9WuN8k061lWJT5OKX6ZVSyyEIqtykSjKVz2LGTkbaihvTJSLzH+WIT6bIQt6NTf5OL4fMb3/LjgkP+XlhUgWbyXhe11ka/3eEBb4uNS03diK8NropHRxnqh5vVX4jsP1MLoINHCHPTV6XvJJgAdMnvUoIcNPx0LBKIIDCbArpAPJ83OXR54sI4FAzhzU2cwjPFYPcmU0AtGnz4mOPGYvM7p7TsOi3/6LShkcbshZgsnD+ibHJZofJrojWXM6l7sDxRQa777MfSZn64zzsusTWhjZoGN3WeuJuerkklZzPcyfQeKBNMf6v19Pz2vT1SMrZCCakmNYCRo85eb5l4QP1ONgbZ/vkY0QZaWIxDaHdE0OJ+iwqesXmYnhpsOS11Rf/KD6UczJzan5j18Xhysh2xXpGU8wPMipCa4Al2kNkQA+rMwflV4PHnuKgygupsnXwpI0EVUSw+3g9A+szyOMOrIuar92ion3qWZwFT63eFTh+jdv/r9GdmUTywMZg7//Vj8FbVBRedQZM7rCIEMaqKEED0B397P+ret59UFEYBDx1lttrklqnuakZ9L6j91Kz3kkWh+6+u7WRVI8/Pr54ipEMeLvtH1eSCXBc25mzr6IQqYkLXIr+H+QbFiDaL0d9wKpH0jVT65lp0HHzBx3nZmQqBM9WqQa9ZHVM0tynPXYkuv3gAw/3x3zoTyNuvzQmrH5D8jLAgIB/l9UxTH87o1yoFWTcJ/tZdZQ7BEv9l0O1Tqw546zI33xXgx+eFagb41rbLz6dMzCBP0htK5pEriQbpL+PFFdZUDUqg6QX4QhQQctGOJRGcCSAq/KYymNsTrpWAoNr3lmumegw/YN1Dx8GTqIZ1McHmU4fBybN4dLqmmWH8BdyfBAqDupyjCPyaIwMXCwTePXCF1M3h5BWTMgZENvWyxVCpbGhGEC+iK//yfLQRekJhFGGEhokQIoVe854k4KjRhu5VLaaBcogbn1yvC8QkNeutGwKzGyl5bfTJq4N2B5E/7SCZScn1rxSrBPrK34RWoggMvv+Ceh7Qf+tLAtnBp25w4fxa4Zw6T0Gw7LZDxL8B4lW+bJCXM/lVJPqalBusy+ZGwoq3Pb5OIr7wRjTCw43DEZAoHO2CNvrx2Ag9t487/cQvh1pxK+D+DDJZ6tzo+dCk/lZNdPJxHN4bBxZJWpR1VTcI1hLH2PL8MlRoz52JlfXXs06/0hSvQOFGtsPQODHlD9O0HeKj+bTt3BKChwaW0gIeHo2zJsLq9mXwBJCwAu9QW5APVePglXoOdANSRo4HjVO6qcSM3cffYYOz8rAQILQSPl8MSJdMsqaPSfXx1n3UGMrsdU7pF9IguysR/6NnRy5RBJwrse/iUBBIq8vnAeDI3/2cX0OnWJsVhQY14dBUri3VLTmrTUU8emMB4hnhaY289ehftba1kCeXQMG3eSVeGhzuaFuV6VjOFx2nFC/asX6mOvmaNe3Zf5fuM8xQkgwjW2zEHpnUj9iZGImWHwE2eh5l0T3L5sRy3hYUenBcU4Rcw08j7h5Dwoz5+odojATRYyAJ8uj4xKbWWpi/v83RuD7T2PSCG+dxyG+lDusMskAG6n6rHBmw93qBMq8FjiQJ1F/2ta4v7TurH7p/xMbnKzqgBcgQFf+2nIqWmvMCcjw4JhtNN+lF9NVA2qmEg/kiX8rpKyPAaRmN/W3rsX4W7wXresSL63McmuAZZZnz4NXs26ETeYnQo38bbtnvvIrt/lcNL+Ugmx4Q6SHFYqUGrH01aBqlikQaijF8a7kwpI3+AVQvk5dcuM37YS2w300KBSMy8p0r6KOtdEZl0J0dRGjVCPkMrlOmOBJaBHpdCMUEUqO6EiN9TC8Q6es8DRNgAu0udu3POTNLMdf30xp5b/uU7ydQdugJVPn9PaHT52zD/R3lqYBNYqbJqzsE7V3tAlIA+kt9xOahuId7Ewb8z+2HRHoJQCtdXt3meLuWhkYDmXDibivpk0OB8lddbjhas00re5TaUmVsr7qDE9cQXCyDxenWH5dADm5jbxR208ckjQDlFLra6gdhHVwJWdIdhCwxIDR2aAcb8ume5xU9uqiTTkYSgw/cN4QugJ/HgFRQNlvK4XW/SsSGA3v8LFzbLch+a5xgz6tczGx/sE2Afdw5ughfQ15i6dQLJ/jbBOR/mjpPWPVOCd9xbrimGzg149K0DTyBNaRE/u/DYUpXb5YYb0oNXs3nLU/R+jeJ33Hp0Tf9C0YDRlS/ErxPiaLch+mmjWX5qPLEuxWx2CV8GM7PgrNb9Ymzq/49asezFl1yEk3wIyZvOtUYZYOkJCq+QI8EN4eM3eghOp9r/fdLKHGMvj4JKdqEbV7u3ozD86G9cIqjcqPlu27yXq9S0Tb7HuLNl8OH52wMuBVQtyM0NsEjwCLzJ80xAGOmbsnzQua6RRN2IwsQFMkFGMVYBWLkQ5ls11jQsPDfO9CXExzpaIkMlMrAFp9Kom9A8y/hbuD/xP9O+NeQ8zipa8epUFsvmpykAHwnkMivhfwWt2XnzIi3n1Mh1imUb7fUbWQ6fT5WxpJv1ZKLdMZtClTn2HJknlBnqdsbDGK+CzzquyXDx4ehnSZgDgV33RFADPUH5fVoGDxNJtqw6+X9sx6JCR5dQcW0suWZine0damJI8tPSEVudYadXLYjiT4VmAsFdCWCqrUVi9FZgot4//d8QJw3J9n9BTCGylU0eqKRc+DdVbWDAcRfynowPkjYUSWKewmziwxNK4kxYGwM2A/BUMcHjk2AW8BXBZ2QMO5C7uQAqkfX7Sc4Rk3Hps5yLOqUyoQAN/A3p484LZ0GqiQ9bW/1joT9lID4rHcYllyeRoWPEWPVXAMqvySPn3wZaWqISCkOu7wC5Iq3Rc4MnrsePPO+Og3VlxdVyp4xl6ralHpB5U3G1vpWDWYms8FktIf2P+nITwfHdkYulBxMyU4mKSw4zsqJ4GddnlQUq5ueBADSd3672lSwFD0M5dGgQ5LgCq1gtboF8w0j025YtWTNtXwuzPykjVQA2RtSZhtMuSQD8ifxPtJhPABOyoMPu4Q6BV2dMvhQkbSJ5w8mRzvQF7x/FBauIU8JeTDZqjejjyTFvYIiODDb+Ow1DrOXkKHJ1Nu748qNh/LopOK2iCaAhF4F18aXeJyknsbgcc2xba5Bt6n+aSYm3kcUxWzF2lW0zOJWMjJdGDtwWgY3uLmqslwdlUZsMpibtNkfPMFdGfEDPuEI0HSbxrldly5GzyCC6SJ/RjyEOCSy7EdXNf9STbQ43JEIB87g3YruNYDgk+vEl7FxBHIwqCZsGkSQh/BrtZ703AIpNebSOhs9foZmo4C8OEGDcUBGJX3SaOaUwL1WRtuU4sCho8kO9jrrUWAevVdFIRt/GKQMDbw+6ypvsu6IgaYDm1G/wz/uDTliWKLlwrFTTfWFQeiABQGNhqGxW4eFYbDZV6lIgJPG9P2EOzWvm7tDAMPN52PLhM9o1wgB/3g3hFIt6jlIIlevzsqlnOtsAwVRKiyTzj9HgPgx5XU463Mhx69gNAOXV1hZdQro51Zrm3fnWEBRRKwdsxRIC5GttTM7JCrUJ0GfG5HpE1aVM5R9K63OrOiYUF14PlePuZ81dnRZh0sBgsu7w13WOa6Ae/Phzener5scvQFcUKW4rxg6QQ6AykcJSUDqdYBGamKHh8AjEJVYW1H3UZiP5/YMenCZsMTIe42QRc6yD0RnU79Ws/+2VHpqKtKy+appBl6XT8/WgWAdxQiyw+Pj6Bbf/0c6p2tcBDemIXVT9/OxMOQhjhShegBZLw9CL0CzYk3SGRPRTvcAZlPI5K9xzX41Vsf78OnEhLK+I4MQJSiBDmH9JtO01gSwj8vpls0owYFTR8tzI+NC1PwGGmTaCkMJ8vg1V4TK+pmvwV8PRgfdSSkG44KRAmV84rKbrexZ1vsBVpStXkFcd3hQEpmfr4vPCRQ4hgX44vCXDPumCOYxtCvTcpLuya+howyqhjDtn3xwIb3zc018Gs4oFl52+2+EvJkhbgXQqBjxWMFXyzukRr6jHV6tJH76V5ZL7fzxjAB+E3sFJheyYCD2YhlO1s27zTwwHd5GyAsScG69jjYqxnUu2IyoRnaeXCI/k3gbs2c1l3aUPQzW0JiAHgxvMyf8bEwT83mSC4A0nc7B9i460oLjncbrvkxM8b/rnpp9jJyNHhiShOYSqlflG8RW/uwKcJzMSZftX0YsqbXKiBy62yygBxfI3x7c06n2CLSuyDJooBpXXgJr4db0XHtZd2C6/rjR1hpavKYfFH6KDdEvVXhtJsDn7ILsXOk/os0FLHp0vbLXuX47aAlCixKYaS6uLI4W2svKu2RoUhXtLxHXgmvGGrSiKDvmZ24GOK+dVGKeO76s3NVc3e5BI2yXGsJST1rH5k0qDCnEdMgC7RnjtrMqRpFUAJeC1N6UPsf+1e8CEeHn4VIM3TOyfo0QOnq5hQDU3OHGYFXf+3FJYN5sspydjF8Lb41hUeYDrmndB/hKOWtXKZTCgalQJQeAgiHpmljq7Qof9Oog1UZQQsL2j8JoR0Da1uM58PAXsiujT89+aEbioU+0T+EL6b2csQOks/QL/XAhhdvZvHryVXio78wpTuSOHtVAa/nyhXGOjdhpp5+sj9atRwCQ/LFNFWkMiQnk8sL8ESMdxnbh10tWUZDaP22iQJ7ntsdmT/aI8Sfsbh26Wclr/zCq6/dB+s6sXS/QHGiNym+iIsq0lsZb25jamx72/ikdU/ZGC/4GSQc1U6FmuvMV3xio1oE0lbAooxQ75Uv20u43qOWWwQsQYMhBfm4BUPWr8LvVTc68KAqJLqiNH9jJ/j1HE2FWRuL1kgEV+mzScIDu5//LohIYL7t0QNS4UwSCTOP1waYvJMQ8rLOdWs0TTtI5kGrtxURwKRTJ2XV1vuSbsN1hk0tUGfhiV/EYuCTeGTfHpRsmv0Y1oysmogg8Vieaz0PLdEdOCmlXatV6/L6mG/zhYp8oXRNzGEI4KQAB1aaeOXP95CKycP11aw6w/tnS6Opqm3kmSKmKp5J0FKgKYSI+AHvQVpg/AwUd0AbLOSdc3D4Cz8/Rj26eRJ3c6ISWJe/MHrzpchbnHaAyyYToVulZu0J+FOfZZFcxzRzp24F9nFZJ6vttMCFEx5nYf4KJtK/8itxeJiHzJJXvJxX39aqscQa4VzIWWmR3XmfEnmBbTDYMbYaeslL4vmLMNUzuRsSz8oyNBDC+Azy0Ww7xDD5C1Sy3WLXeqUFlLjWCrv9w+/RpV/KX/q0sFNraFS0HP4TFkYJr7HMTAyAMvW0UyO1xmdDRDO52kFvr7Yov84HzkfRPE/lGqvGb+fLC7lqbOTqg658s5who2qxW9D5JY9QmnWtEGbr79PX4rw+HsQYADX/P30m/9PiFNNrhLqNBxmt+xGi5ZqpSfjqawSee/19XnK2WPmKLrAtA1KjsRsj2Or4fgJL3PKJ1xUfc0RD0AIRHhUYseU5bGbpEyFY57errdi5n6RRkH77CN/0iw+H575zWKs3CLL6VognipEsDytpicFVo7xpz+f1cXyNtruQBTuu3fc382cWriJebEzAFMpGQ7454GGpRGtcVQjeQyzp5NwVwUCF9dvyxJ8puWf6AphFsDu6LR5B5EdwU12lswvYdcVkBkp8N13B74xzZ1MY+w0NnjGIvAjSDDCB2wwgxwzwjeRbOaBeQ9qYpa9ByxUZ54q5I5ih/b9Zqo3iZaSonsJc6EEprAHkF0JDMMXSan76z5Jq/Sg4v+d8nfDKxYyfptdKMkVxPR9Ka5kbfXGrU3fbGfr0Qc1PiJETgXsu5rWxgbKOHNIQF83Qi4IdSVOltNOdc732ezrAMXNpxHgPLyTKixO6EUrIa9w1bp1g9fGhglyDCR0To3ZluHLW/twKeHUWOejrH4xHMHKfM+D1Yweuf9eYmq+RXgKYXGlf6MZkvjPqhywvh7GT24EenW/eRggCjj7lzYi0BUHWkEncCYnlSEzT5XjMEoX3dnq+4x7W+592imVaRuWcuJuGptxaj0W566oHxAX3IHrvDzs3rdC+OBLy3x86IbPb4T09XW1B6RwJU36pV98Nsby5D0a06n05XwntAb+q1+Totx3hNPlAJl8YfizlacxeeaW2Gf6j3msMsm/+dz8qMHcCUOBWnW6WRFayzmHLNVP1MVNp0s4UD7pGVNCzw0OSTXBF58qCrQgJidMGh1pElYdkHzxiMrnE23P5+AYW/UOnIjnJbO1mgPIga8wvjPcyi8nJi4QDl5MX1kMHQi4W53cMKCX0TZzVgVYzHkOa+3+n/2Ep4fgE7loBYvcxs1fpni8Ksod5R6gzJCHKMpxBmlxIqwPg6cfKh1z79on9YBuVwqdUWvew3bfDRWxE+MXkkVrJV3mvIikaDEy2Zn8V39QRSSjxse38GWziuBAUPNo/glZfjUlbQCJ5Ik4BgMKScjMnC8Yek95s+AmEv2z7i7Hdwl10H8U1ImcVNN8ehmm+1ftkq88wYEuxDL9XxmLivvYzaO7viu6bZm2JSs6e0T4stgMCNk8jLeLoA2yY6WuxcaKfjUbgNRgX3hCh5Ob9Wlj5If4XGu9eVU/tPWGY+0izlTm6VBZ4uIKbqwX70TUVf2nXsO+P877iSRhl6v8eieTBu6EXDqPo1Wgj/dapuTVkfP6R7zBtUt12cA0zW1YUHjjBB6bJkmEBWspT8c5kb3QBo//2VpLR53/zpHOzdA9GQ6lX3rVWq5WA7z62Mw2HlyVD8lJrF/uibT2T2HerTRzAaXoOargL+x7MaZOjPDB9w8tbcJuNucfPSWwYSU91Z9OdWnyJTB4B/TLwPYXiZrl5iCRLSIAZEeDWdad5gRgA+Zy8xHBSZCuUMXCSnkCbwGxTv4xmQR1+dy44EEMuH6e7O7B5BzpqqdlAk30U6MkdicZNBTDjmeqGhHXSKevmtUOlhHsNalWgH4vyXaCAi1BSbg4xjaTVBKp1+IyNErwltaA2Bwyvzd0scawdlnEkbygakgVH+pQwmuluZh++POzjfQqKIcHrVj6WnwnPuHiCNeDZVwbu5wKQDYu7I688Cc88/WiarDfIXS0pzEofOoCBplvRqAF5DM/B1uyBgu/fHNaAzmFClOcgJZRYYspPj8fKiqz+b13Gtr8iod6r2Nm2MwXq9k10fZV5QRduyKbDdqsRQxSxeYbij5f2NKHR/PwMHu1awLLrZMTL0jaVonpY2bn6EKONJP4wIrzVMygbSFe10JJejpjNLsH12bg214cF4iJpL1JFgE+0bAUMZNnc2FMYI0BgKM8NJURqPUeqFp3Ha9KmL1CBlFVEyumuiw9xKNfYcRUx7qXWLzbrKfcVhX4/Tyrv+MCLiByKJbNCxrdQ1Y557k07ZIQtOTqKHGjOeMgC/DjGSPHBtL0AJzII2TWBZKgxHV1dJOBdZGma/u55eqlOVI46ZKgFSs9tOf7TIYJkVuGxN0BhHIueOAI7gAqudHdAFNAKfktfFWwmN3v4GKNAj2XSmXx99DOMkRBrwfnjMqtfZ8Dj3iQk9fjMqrkPCl835hTJvTwD46PzQ3U3emVonEyX+FwwWyuJvXkdYbuxBq4ewQ1vNxpn60ckGQHbu76VBHTQCNkDHdtIzDqO9Jq0ExGydzHkm2TWQne8o6cFsVg31WAyENNKz2g9UERDTIm2KzsnorF+IQYv3+jKuU952YpUDHIlttXa7cfdOSrpDS0Pxh2HIsZV7BK4h3Bsqh72sJRS9xqn7193NUTvL74guXv+KG48GWTBMJNo7pdWezjoftYhhypOfKGMTLG41xoJNfySEFY1lzYPk0mTKEufTA85kpi6oAOz+4ZRhl+k8IVKtIBGovB0Jp6ipTbTvB6ERH543vm+V+vjmgotBnVMj7c4g+zPha9/rp+3SewWq8LN/AU8gFoju1hpdxC5zdB18tZk5KBHFsvD0zU6V380H1ZzaO7c45kr2QQaK8/mNsfDngl7GO7Uiwlwtct8M/+omke3GWHI3JTsQjSfbHXXEjQxAJ91pR8iafQa3SujwybBv/iW6av1+Pj9OQEhqhWUKAHdTj6RPl7F4qPLBRbrTsTJ1R7Rfm+Po0JnHMg5lB85tw8F9jkrQTPMdGh7nx1ws15bwUwo6LilHlZW9bzWWs7qZ5//7oq+dpsDz0uckHfYrhkHUAlkCfmjNr6vjPozcDnaARhS0RnCDCq5PJQyBn4YHHfPJcv5jVqMKIj2/c0/lEjWEB7gKW/J4FTpjPO2DN0kjnQO68KAoVs0mZz0UqR5UzRMYFmbYz+pA0pH0feRS6JS8tNazCLHQCBrZE2WBXxea0cnwgGmccnD9Pb5U997GS8Ls/otPykC6nou8CuOdNzz11jfBC8Mz9XdNUFbcQd76zNepCwZiodIiutEBLPeW5tUdu4LWE2gH+0ib8+lOFJ2WXemOTi6dvcDg3v4G9z55DU963KPQzYj3a6UsinXcJ5CjmjpwWZgUOAIxhLYsqdMsBeylrxEjYcGFEIPCC3KVhcNxQngmP6Dd+pJGXC40C0KL+0IIkL+QOKUYY108S9GKv2if8uMBIlpgbqPyq9RDm1RSysyzJBMFdYiNptocGY3cGj+56tqY07FuJX4DSgru/GkBYm+UVVdVmsJFNJgjbmzCDZnfpngsbgFPX8eMcr8UNJi2bTclNZ5tSiuZj1QcljQrUnCbwJuzXEeatCeAbP56RNmdC4nVGDoZaRC2348koWerv5dS0M/0/6zV5uZbWGaciO8Am23tT7+TDTMygijgmCv9H0suNYoC6UgotMa/BhFBflXCQpyQvJx2oTAQ5aMHXDIipQ+KfFSfcToxGKKfoT+sZLdyAEQSaOLVBTJsSOVE78Nf7bmNASLAGReiczdJhfP+cMkVIQfmAy0u3TUwfnS6Aa1r0USZO+Y8henayBhuZXhHD9/EoF2mE7Ttr0cJvlHvkt0+r5blwQXjIBpiV760JfYhr9YoM2c8s518Bt03bbMP9sCY3Ey+saK1dNweCsnbGKXZXoiCyEHWLQ38rnxNl95Nb0qiyparfR5Rh6ORUxcMPwbje3qL2W6CtZgZeiQ5iyK9O5xlF4f+5pE6e8+2MRnzAGmrKHEMgel7aZB9t+WIzQ0vC0WxxsUQytFdu6VLu2+yNxcGC+ztWunFWagw3rosB7+LQaDrZN+nZKoDKknI/uhMQTZOPreLFUcGKu28H5VbO+4lqKvizazwb+gbgfpLA+W6OHrAKlIp1RAl4SX5jmSzJ3TkRuaerXuEspBecNdkyVSQur0+6Yvj3w4uFRu1DRQZ3VRzrrUjJDygDCAPXXlMUUzqeoN+eCb/pNA5eaB9ksooQojwo1JCa1pyPa413fguUfPe00o2ddOWpQ2y25/K2SJxweybPsvQUC/d1Mzf/OyKM6SeVMu7JfrYPy/oVm0j6dafYQ40mLAFy+p400iWg95njVFJ71+TzZQX/sisEg5fFSdjn++o7NXER+Buwqkpi+VPuHMZoIk0U8vocWjlZO2f6uThwTmycrz9ecvD/QCdRMLal55J3Il0vYk9OIsOpRC/bDjkaj3NUrW3jz21VvxMq45e8y7dpUYz1/imKZ/qk06qnXWoVw34NNALmysdJNGzMqe2rZYVjWgoQzQ3tGQYwj3kG4kSHNTseuC9IAU5z6r0CGnyyjAimNprbHwK2p0555zQ+hRKaBcFL85mGVLYACov1jh6DiW2weC9jtctk6v4jfeSxOLf2QCWD2RUXpxSv2XvUI04btXA9oUi6FnT0hC4qLgDq8/iwVNeJui+vH83boSnGox01HWIXm1Lsk9Xr1XMNc6JDPovYocdpYLgRz8wG+7McLD4693JYnDqtz4NTncTTkAPlc7zBsVoww9dg5+IlgUabXQoRZcJpQRmmbQ5IgOtFx0eOMjBpWT6eKKiBwGfLqE3EH/MVaqCMYkM/6cMHzVXHFPsx+zIwaX6JWMmd8yUFRvL8lqba9MM6l+e5NF7YUSF+uJRl8lSxZRIHvL69l1azHqiE6xW4krQP/su3KUaWLZl9oX5Tbqpq8eUJJ2wB9TI8JounMbh+bPYyiEEoeNbQof47qxs//6x8e/omZ/Jv9Y3k+sNgYMT+JRXUqaQl8A+qg4DC1FDA6/vJ5PGQOkQE3DLuB64+SPFBHtPRtgz34AU8+eMQ6HvOxVxl3UfaFUVYr2L0a69YSZ6sqICUZDjpf/mepES2aak6Tt2U/cc+5Onsw09f8KGX87zAyocVJ6V8j6rlqg8s4Cwlv8wMdgJLaz57WSTwQpzwJ2SsAlPNlYHlvzNCI9qxqm8M5cjM9q5BspFO7rIal/pEMAuTPRxoRPzfp8U0Zo2B5HcA1Y2u2ByDV4cUfaik1x2mHSYkHW3gSjl/D45tjfb5kPkRkfuwt8SHru1orvjb248/VLUfvI7z19cAqwt2AiYvc9DPsb1FMYSdtQwQs7wQFv5ieVAYUS0Ynq5kCcOEjs8UT9lxfAXtOuXD+LUuK7f2+I1oxkK6xAwD6mtF2bTgE2kzJh7dqX1z1QRYpdWBAd0FUyvFolLhMhJl+tHLu6+lQEZs5YwQoC4m+YoIZI33wgJThfmzeErfmobiKn3NP24M2pAJphqSGL6HcLuljeEsVx7uqI3Eumehh378nAg7jJhWUyqALNGe+rOvCCG+5suyCqtyXub8wTsCqO0rZgNw9g+X97h2PX36H6cHNjRG7RJcPo2lCct4r5I33k8NQ9ykdNH8ndSqvq1bP45rnJf74iBYf7EwiwlWe6XOdzzUVjFlqoT0H89l+9gk7fp8ZH//BgTNBKL9avIqGxNNffjoai4WXnIm9ilQubMjZgflqAGrzmpHblHN7V1JEVwoso/M4l2xUyRGEJsY9ZAv7QcI07v9FfrlkCZvO3YiFWfVPoF11xKITPylMXyCyWCn3tGy45Ycdd2T+bCSiebCQrNUFthrxW/RzX1E+bHNYC82H3oM35Vz0KLQRzMTeq+WoK7HyK6OSD9zKduPTQfbomgFC8LtlxpK2lMxotRsi955i7uVnE86J8KJR/1+NNuS+aBTnm4WN7cJJt9TOPpw2f/R0l880VWgKUqsgVrs8ayWHlKwFgd2y9zIAiLjRwfXKjjp6rAAlBuYG/VJGoGM+Ju8y5i3X6JphOZ3E7eZaCU5wZswa4KBwgCPKqbMGp11cqxdBEtrnmegja+m15JoctGdODuKxeyngpllOJL+UP49kKb3OMmRjLKj22/H5K7XM/4oKUrUsbJl5CsxQkp/xNNhtYfRAFerr1le3NwvisUFEeIyenQRnZHKJBSb8/gPUMT/Cuosb9aReKEvSyFwxm6M/oFyA7ztHqKIurowI71eNX7etzE+8FnVGf2jdFUcqEpL0ywFyUdyRLuYm7mZtgI8NeoU/6DQthI02Ju4HQ9pxRpDLfkR+Vj8L+C/SP14hPx5OSbF7aUdKrgCPgDc+DNkvtRwzX4Efj50i23L6U67QNeKpj+N/1l9J+DNk0K5OVY5soAyhwlTd+ug67subFHhVT5NZoudJ2vWqHBSpmeGPmZ3P3D0Sx81hyeidDRaJnQKRmfdehdNpahWpLm6IOlQP2w+WqnlJblH6E7IddDRf51R8V4g5WtR3Y4vECsh183QYpM8Z5aoSSC5JKrSDDtVz8E8Q1XNGlyns3N4baEX9MhjbFjYyudPuKB3LU0h3hd3N1qVSAS92dZOGgVdmQ/1LmX736PutOSN08r09syv/MjKqRYtPXU02YGZhJoluQ1I5sm8Eo7nnWZ5c1CSEpuIZE/S+3VM4GZ37b5XhxnBHkh+807SBxgMRk1BkiHSNhUmhrU9eE3PDtXdV36QPRuWJNEHdvtaZEZBolMqODs4PE7x6U5vODhNoFiLV/W3toHgjRwmV+iitNrX3jKS4FNg0Up8KCLhKZ/wfM2EuXKtMemcusMRNNSgYww5UB33lEWsmhgraU9iJB3xo2nh3kp4Vt0nrB3OMjSp5MqX4F5YyIj2Q+IuLMdPkWa9edQN47RyrScmmeHfxvYCAcmKiL3bu9sOuofjVycd/P1t+2cmbKGLACMqI4k4W1jT9W+oX4BzOaTMF4/H5BYcHQ1gv70zq+dgNIxeaF7Ks2SgfqiauxA2InE1bFRx1yTjKLXjIqNAMu7jSPNhzpd+AVbQmAgbfuC1PBrWC4tjNJre9FgjJBfZ4cyAkMVKnbbcrzwuFEc1zqzgQSrylJr13K2Rpe5XZShVJ4KFTSvhTQUgiSIgDNvAtHtKXTw+GzgrilqL8jbJOccadYGPQRHbV7vne47yDRelmLvFq7ZxRCtBuU4IrJ8IC+VxTwydeN8TXQnL6uPJDcEeAROroDtq8/VuVmDMX1FtRbIrAIYyGORJ1I/WBl4nY8DTEk/93mCb+dYdWbX6lNiZf5yKFKCJlDYpMzH/WlpvEm/eyJ17s9IBsAHJDz9Pr2SADcvB0K3/Q3+gbqqFA2zIfQe3TYWrDYbMJ4k0gPILnRnmgzpiXo3n9xYoQUBf6lbAGjqLDXrVwLzJ7hAkJPSnEGcw+iZ9NVwf6713jNTz59N4Fvowd59wG8GfoMD5+m4U2er4S3fOILTqZyI5dFhPrZGkMV0Q9G6phXrsu2xDr/K6iCtJmKsXHqjYuhmgptnmDGXjBlF0ZB4SqtQ8SEgGy1j86HNT8/JZcsS7RD1wdcGmGNvNyV3veQIgkPrKLx9vWTDtZFmomc4b7l/xNJIgz04v0IRzefSkOl+Ac6JefLzWT6cZDR0cORDYJ3be3NhmOGyy+uUvkbHXxevnYQbi7PU1nyBardJn1MdXpcmIGSPdNAHmJvFN3v9yKIrPJfSDKq+vmlKSOchOtXrVesGwbUkmfLueuvrqsSHq3lJjzD21K0FmH85t7ApSM3YcL+5nbsTZv4tcfwBRlzkDueEfbxGdskyTDr5p4+R937Ca8HfSQktXkxw4aGvnlSbVVX52V2aWfRXRsiaSHr4moDzwGcg2k3lG9zhMVKWp04fGPaSlMaVzehZ1Z1GbHO/uFfdaEJi+H7PsWf9Zlp8W2XY6tX2Fuj6MPlT9Tz6C7brIiCkAy7geR6DSotCA9f43VZ2SEUdnGaJQkO5gK0jhBJZB59kCYHJxrxLQRzdzfrTTB55Uqxy3JPNGOPZeJJUohzskVV38oWxdPTni3ADlmxAhc8sA66Nr1t7E/UmjsGpFqUSxDItN5B0vsXhahsrDHO6/6cqEl3GhOVMApKeWhmg3o5qViwOs4wdeMAMjGbRwQWQG5/eE6YNUGzyg/KQm9l9eaV0mCTaST9eokHzCqASVeLskcMo/nGGSWAiKjD4Z32KvJhVJs+Wozm+7MVdHpvXaeA4AmIzsxJxl6dPW9RB1dprSeLsPmt7i1KdoTQgBOlo8Wx3RDY/PODF2j7Fcd/7L28QOhynAjwQ4APQxugracQ+8Hqzwv7PKV68RHjc/kgHbQha+iS9tVvgjiZWQL9TXZ42A3mJOo5zErgF0yhZcFhohBxrvkrSREwb/y5o9th7gH5pNquN0aQahfJBlor+E5l8jYWYf4YcYYwzUC/HB36x67khXvmz1dv/glIDmeTEwjSUMw3Aye/882/tbxfDCoq4iFUZE1wCC3omaP7UI/AlgYL5ufIjwKw1XFEkKuAIFVtVYszrdt5e+nKCsZ3IUdDVxdzfSriEaqIs4Q62xVTBQNxBxgOhG1Gt9YW2AMtwnPt3ehUnlte7EDAZcfTP5sCW+gRgyI1FJJ/WLS3u+sdveD+iSRo8tGJuJXvBbabacGpggkVzJyHUZCkRXyA6hdYxrrTxUSxjyx4ULqGxo1jYqRKwgvqyC0Z5ITvUP0qXnIGdcPoYg8rh6+2LBJdYq90hJ8qwGdHUUleTjCWUIwdKUxQPDujRlVhV0UN+v45u5CZpZRqoPKJhh62/4xf2VXHeO29FMJiFX/jT0zAK+M+7k6heG4OD1G83a1R+clSPHOCU9WVuy7JvI2tLJ7vo78RR3mbCsn2vb2lsHKEOXTSfUcPAx7Q0nZwzeXKtP7wuj1vmynzh+dmuuNICCDelLqvs77YdbVpfQqXqxrZSUqRp05EOUGD7KnhmiUFU5RsMmrjFfKmNiQEf0ysoG8653ESLDG3XNIuzDeNrTobUFwfr82s8GzqDABeOpaooc5mk9uQy1aMKQ5yCpBNDwbgqRiArwwaIjaSah/PLRUG+j5S0iicWjc+hkD90kam8bJ1Wx6qmcLINpseUTvFTcbYRUNoUnP2YqmDw7dWCEMnkR/IE5bMEV2YKf3r+mVXeE16OcWP/32yuEzGZS1soVq4aiW+xBeNy/xEDtQr6HGGe9oX4QDPA1PzV/8vkeUuVklqeb36Ef95m2Udle08BDDg3tDYOInj1+XysfNgnPvjADIg3SpyyNJxuIkyuyDjPlfpnS9ZG5LFRwI1uGF4jkl2CdxhmiiCDw2JR9jadV991Q23Bhf8hmroDMUObYKoNoSW34DFW7T8W2t4P1iD1EW/h1to1vzQ06I8SpXO7dn3yqbnnD3xkrJJDGIZ5xI1bjJ/12klkzNQClFeGcfY6Y++nOyOZ8xQxggP/LcAFMoK+ncd5clOd+ZjYGbuOvBflD1bQb5sNHHSXTDedGMB4Az/FpHph+4DlAq6fajNMcns0/n4vOhQrQslrlHTbKihwM4Qs6K/uj6I1xrFZ3uArnk79MC9K01kTGg506j7Lu+HjYyfYsj7dZIuwjyx+Sy5uNLgMTgt9qWAjpfrxBtmtGL620Vkkm5s21rA4JzIg9QV66+lP2z+9zijFVgjKztIRKUjVPZdXzPXCe4AdKnDN0hQoUEGpjmyeQV47hf1AlDruu2RQzdRx8X37T7E53+jN+YP7Czwf2WZn+7uJpOGn0Wjmy2SIPebjz6t5hox/rC723U15KtjwJvINHS+TXeJhxv6C4TQ8llskCu/y8SI/XnEZ/glQHpPM9SX9CscCzEhi0OlMdMhbfOKGG8fNb+KqxHeVetWvYUq2YW6MpfHORLfda9PwNeiOvgmI/c0pNbyJbVydmDJFGRVLd1YYPTkh2PmB72Z96iN+KLQqGw3o5f3EvkhrXGxlwEgVPjQZOEsxq4kR7HbwWiCC9x30Pw4kISuzysuHOvGS0cAVm0I48xxBxneLoAfoQiFqGPHZcNjAT7mRHdmFnxO+oIcWF2Lv3QlubnWBOvx+dWgePKfWcJh0KtIJn729g2O0Jct3IYlJAfgppfDDGR4vwoolAYMcz1qT84+wNsWPSsLs5E+CdTppqT87mCKW/vT67ZBkUe80Ekqihl3bxP194d3jvxA+tLZ9wv3oxD9MhRnrEMPzc5WMR1uZMAmf3sV9/r9e/3sBPw7qs7gG0FjObpPtSHCkGqREyvCf3J0QatVXcsQn6X4ggrqqorxl5OxY8mCuGOvLyHNlJBrWe0AZUtAqtBSOmd7Cf7OEDPjoKhnrdAv8jJ7fbTHROS4PVa+kOMGd6WOSypyn9MAO09S4a6CD2E0zU9qLFjLDlSZmV2SoLTJ3c/k4is9avSxubQhC9u37bY3979N0rGMWJgtd7/qtoRpotWEOUra50GOHmL5gaRQFIVmPn8fd+ql9EYpEbn+tUYCvXtmDqkse6DygkGD8RNY74Ux4YiQ/CAdCCBaekZ3QheijgIhQDzt8DbEx2mWH6VFWJi3wiqbV7rxj3DYai1Gk7ZDhGkUtlCbpF14WkLmp25nK+RQa1RXDQtfmyLicafvNSb3O2EVsgVsAvswAWbzCzoUklKinXz9yeoDyd0PExb+xozmCBsOsdGSyK8ezWJuMhY41pBrV9r1cEZcmSnaDNXK/HhSB/KL3MeIPPyaskuKPK3Jgcnm7jrcwUe1+q4EgUfufIFl2psIeHiqzp9ufYdYNJABmktpaDle5b76EFGPQr0ycEPc8qu2lZ6aBCx4m/Kl1beKGedjeyQSqYtTAr+ET7QhLGbinsWIMsZQAaLxe5FNjRH4dm49X8DiG7VVLvDlt4McOioO2biW0jsQ9r5+YDX4tRAiPDm547wv1QM3yKITZ30AsHUi6FjOHAyEMRIgrs2Z/87DVmOB3uQpRloNjywYP8XB6fi/l6I4fyBHnnvBopBac0MruNImPAFQtNy81OkXXLm+aQMqFkby4R1HFrF7+mlRF1f7INgB4lFFmmweRqSDek4mdj99oA1W2X01fOohjIMorFUZOgq94lH1Igycz0vmECPPRT+oHs/IMk6XW8HDnIZlFhV8xkpqs9Uju/Amt4pGeALNgU4s9aC1D+0U5mRRAdwmGwacVAfjIYJ5qXTLUxr16O+PlWfU/DnolFSFdLFO6N8TiBUpA4F2YmltHvDWusFgm/j6gVcFeGfq+Z5uZDJLmhLm1tL0MLKmWeX3On/fp1Z5eYuiz1NOFeobel4GKoaqeTicjZwQjZ5sQeXcUlVlrFaZyVcKqdo/yWjg0xkCXLxaH2SbtAok4L6SrPSmqJJcLSuzjt/7zNKZDB3RJ9wi2T2mwVblebQ5m6LVa8QbgX1iFb61bjVVeav5dN7Wm5dmbZ1a6pI995yxMahvD8Z/88PDkcSv9Rfwe52s0vD6zBMFuyMzbdOJ1CMHOifLpE4VmfLwzZzTI66cODhx40fydVvn7tTM6ViIRY4euLa+j67maufD/HLowbRdW/O6zyVWXNI31M7CJWTl9wgEhyKyuWbHhwJQaDl1SwgCVkupZiqITvp/wU0nbqSd2PkpdT/4ATDBGDQpTmj33sAA/Q8SSbEIImXoP6Lnmdj37IWe2QtfPdNSbCBrHzuutmdUhrP+993ctjSihp+DgYEaogDQQP8kch8Fp/g0oo+RE0zXZi5pukNrWz3aUf5OwltsJ6ZQgQr89Cd9jj2xjwXfoB7ncz4RBRO/IHwgBVkXtNYskDqfvWdqkkbr+x1ZBtWvRzY3ZI/fq9Eu8zjNHYZRRrppnNJBi/W79d5yNltgmuiQCnfRPAafCSuwy8/qFhtt99UhHW8AZpV6Xs3WpvG4Xscwbhyv282NmkGrB8lmA9L0PmU/OgtNG/L2tBXfX4H+Qm7Kgf1KAGw8j4XgQLWcUM0/VtAWIjaPi7FeqJ0nAbdpbu8rC+qucMT2sg4zmtshwjUJ7pXcMJrqWJKuAU9N/TS7lHhCJ/U3z0AO6oGoulCrYXOVj5GXK4yNOHtNIEfz+eI2hwnbrhyDu+g4xeh1ERuijID7S6bspcmWxN40R39qB3MXn+sGiXdaYJKDlNIK3tdZAbmtShWiPHhUihF27eSGdT3QgVBmZ7Rp2DFpi0LaEQJK/MZeq6oou9la8/Uwi5Lr+gHDfnZUC6AIo7tKURCS+Fwm6nsxMJv7VjZDjr+BtYh5L7z3UdJcgV5rACqFKawDJ1P/E3DH6EPoayJRZeG9c+OhOwuQTBjPXuQ2JhNX/JEnrGCOspQbZya35GOPSDtuhX4XOEPu+tVNvZYTHOwQOC4NTi0O0c3Em0iVg8vnW7bjuhmdFW4bMyupQD/wYVz+7TfqPruoEHisjjr2UcxhDBuXhYHMilnTuCXfBcAqzDus8jTVPztOPHAQEg7FOBGwMQ7iyPku4aBwNjVstpNPENp/WeeygX6cnaH7Gr3bu7SpxopKgie/p1jSGcE9y2fstnvip6yu3r3jVTSNdXWTSV0S6APhgxn/7lEff/t/JKRnN/+qwkxSgWBw63dPQpgbuynq20fTPonO8qIEawqmZClTtMrmgGhTXdhVbZeCWsGDPayfjWbYIyBFWWk8B846XWxxuttYREYRnjFQWFTyfVxN1ZXIhRrLq4Ylp3VrELzeO5Q/V0TbXOXA4t5ChVMc2QE/yXegPegYyueVC9xNhNTe0epspcIKzAyiqwHuW+dwGmcjhLRKblwdq4dw3cbnotP3s2HugN4VEo7++e5IC4v7WRqHX68LDg4wfCwlu27U9dallprghbLmFIt9OsI9K4/18kDjO9wlhslObG0Qp0pUiA+ZG0+ULPYS57N8eg5uswxwpFo+FpV1AIDE8ViflFBD1hRu9kMk/Us6/4EOHVC2YM0vIkVYSUH/ENjU2zug6S9niL9WI0JE14DBtBli/deCbOTAqEPQnRKJQtvGtWm9tJDotaJThcPRuJ/GR8otzeMJIDuqIaP/H/nzQdSGHUlAclCQnwAmTU7LNdcNibT+tGJb2Do7aknQnkzmgNcwHE1uVMv8cvNw0WmNLSSQYsgkMlF2Y3ImWTm1pNSly7ZtDrU9SbB1az1tb87cnFS/6Kq1hYbB2deYbfdaA4SGwAowG+2UUg6KvR69VlwF2j8y2+qejbucrdRCfxGC09RIqjLQvn3CmXZhvivIR1aKfp9xH8A5UFjWr+DKtFFGtX96vn9IZpNHjRIczl9e2qUgBTrfsRNzkN2MHr6NQ3BKrnwv92fRWCLXAWXT9JXO6Z5slcHObCkQNPdNxO7kqwCCAfq96diy/HPkYsfjehAZ6nPcbA5jA8cmxy4v4WThjkT7uAdVcqzA0CibS/XfqRYMO+oDHr2NQDfXPAehnLJX/7TxXGAlAA+tUQJtbN9qm8Z82goOWVRjTB3Apu0yqiFCRY5yblkFEIXT5leKu3JAd4bAimVzMMdn+8JZjmFcNQBzut22K8xyMAS/RHGhpCyUq29pBdaicpVcbWfJ374DD9jxZjcuQhx/CoBhY9km6v/RuaG9nF59Tvm+fv5mMEErbM24lIHp/PRAnLdLSQbYC1H/WsxWSWGc4ZSWXLgFn8oPYNUgoaM5/YJb7xHRigruB5qBHtOXUdkJz6REt9Yq3x67B9u/ZX5BWLJq+NNYDhDilZ6Af1seSBkvQlwJoDPd0uLTuyVMFRnPaEOKssnZ2RrZN7B+aVRMhOV3I+e9UGGopMaLgOYHo2lMTBXDM43Mcv16Np4R5KJoJU3DPczzTXdoaVB7i0awaa2JIrgrD/xZztDIp8g1ZrXPTDwOq/lu87VSN2nEKYXrR9SrIyS7vVZ43KV3ZllErws67muSpsrKn/ZfO037mdJllX/qoqUc1tyToXWwGPKa5l7ZAoGn6fB4AbiOfHBN6S07tb27IGRebFlE79zZH7wxPLiVSL2Y8ajQwowSwWaWFG1DdOsEhxm7OMDlKk2RvVoLahMV53mMBygTRIMiOVgBDgdHQeSXk3ZPdZqktiog1eA+1gIPL+7HQk6jtVFDsVayRZNKCWqxt8RKHYO6gz1mh4ZhVlx+lsnT5m8RwWoY5ItAiZ7fFwxum72RHOdZ2aF6YvbWBCxDLaklucVWcu77Zl+XNVtRr5cO0Yb9vJ1fcQyX1LJcNg0JmKnSkKC6vLGqLe91zdRDTmbfmP4crrBDMUv3jVXgGgG22W2Xn+FOvqcrQNgPfiKCmQdtN8Go6UyNixYkLhpKtkR0SpCNNchI5HJzcfPaHQMpK+Boyh3m5iD/fgM5tCqi66jxQAUHDgn0SIWjXL7iBfjHxmkPzhmu/V7nRdB3DozHMyezkVFoLzCKMqNLQFaQqmk29vsPD4qW+q05sXd3askGrZx42tdOdeneSbrewJJBvyyGcdMn+L0rTLWWSeG2bu3GaWGYEhKzfUdkWQ8eaz4W4C7DNaqdNU+QSRK7JyUhuWWszGFvlCXYzvpfxGRvt2vc1Djv2LEADHcTXNGvr6qd3HyltrlIdg69ewn2XEw+JUGBgs29IXKM1SdXZl0EH7mCkJIue8HOyihdL3xgmIsJwmrWyvpkPdwONFVNwcmlK9Uiqs3q90EbFy0GoEH+YlSpT+D9uZ5Jbt+g6WHhEeNDU6t2XgmgO4TY4U7U+V7wrTmGZRadu31jOF8Rt/ZJe+eLqUF6dfEp6JpH+N1f83z+98HiVd4BaqY13D7szTSl6D6JW25K9PyeB2OOjp6Feb/horBGWYQoHuhvCHEV2gdHmDarFWRKqTV1QoF3mqx/Fd3HcUxB+345uTi28TGShfD9SRulmItg6F9MSLgj+a5pmk4NQk/Z+FWq+P9/PUKji/pK08vHZMHZEMeqqMTWipV8DbAltPyvsnNcvyWCLN9gKlorADRmSrBPsY8T6fPbbnRhSKsd5va0E3oLR4EILx5RuhYD/QAOIF8TrkGMPBxulkGxq3RwOg8uQoRhWzLC823+DYYsQxlsThQAgD4FdQQAOPZ6tc1gxVpI7cXcGdczOAN+qIokOhQHsCQnlsXadqCvyiQ+seHv/yEf1TltiWN0LsWvkbV/EUssXZqgySlTi/G6nO9Bpubc0wMkAp2Y2MlW6K+jfdYpM6iyEdZDl9FuGAlbEo60OmJWccME9InbbnPIskae8YsiUttZCCdXFJaAdPjTxE6270EPR9zhVpiPgkmpKFzBikGQvYoCmmeQChsIYqa+tMbrnkn1VNv0olH+QY5A4eeXuQlo0KQlGhAlyngpgyL53y9L6jbN1bbm6F9FxcIac1zNszeWq6dOjkNL7i3R7Gs2EWoxa2YZaKZOoalLtzQ5+wz9HiXUEZvla8AoaTaBb7egjgvb7yZNTKuD55NOYwuaqRsZaWBZv9DB8t7cD38J2LD1qmc0k9qbgkjYwW8q5syf1+YOXy5zzj6tEiewaliSA/mmySnJ60ivjCSsBnB2sKAb3fDOuNC66/KNuCBmEbyWkIqZ/rTud5SDEsTwUr7G7WibwuO4MBaUQWRvC7lYi5yQDbXfGHdLncGWnlEGLySf4cBpD81QYn/mVg8WBDkNWjRLjZZF+VuOL4CLBUOl1Qs3kPGxTMR5dxuzuLIUfZz73bgnhh+PwORDrpx0SANHJGmMBQYkC/V3lp1N3PJsSKte5cMeU3CJrthm1xD6j4OMiHVkNsv4aNh7cxzMhlPvPu8VuxLfPdNuRc0CL/N6Hp8FDLWZwsRBDXw4KkoyOD0X+5ztG07DWKF9Qp1w7q95yjEFWxC3Kjvsqj5/YMF1RtUcDThha6nntO3Sq9dmwWsv5mG/dAVlHwQtZUne6Um0xR1+Dx6fOmHSMSmTDAa+L2XzefWcgENDQ4x8x+3nOUOnbvcp1xaKnaWypnDHLHgQ4Ad/6uhVPsSEqaidb8HpVE55/7Eje4eAVzAoF2A2AkxqSgzHT5TDmMkzKJRlTp9EZOu1NRkIZQ7KrPxLDqIrQhyXvbwlHeKhGoQ5A/sl6o/chYtkJQDuU6YRSHQESo4kT4PbhPBq7QdgrqfQWoR38TOjho8y9MGiCknwRJ5ca2yh+hjY0uTeR6tQlsk86jnvLglfRvJsuS06DR7yFEk8dtB1POQNvZMmtwaDdHnXL3zUEQvgts1QVVheaJNj/RYEU7mnmwdDN7CWWydnPu4k784RY0/5tJzdo2X6KbwONsfEMfbox9F28BoinUydKuMtysS/PzXC3n5cAvmTDVPhN3Od5XgLrRU2NSm7gaKRMqJn2/XlKvogXCMUJOrZvV3NQMI66DS/XEVt9UbKxUlkmYbf2YGVR12wnMWhzE3eUsWiGU5gXPpg7twR3snVwrUB29Mmzzb17eJ9DF+oNHuFjv8PW8F7VzqkhlQBCJ84g/fB5zluvmouycrjwHNCdtP/Lwga34ID3O7oZb3okDJyH7/nn0aSZH8daGr2GDOw7bdAT2O9rQM61u3M1tBkik0fn9U2hr1bsGDL9bmKWehxU31IxA1lJ2ixn0aoxIuGmPZX3zxWGDoaLLw/iVv9EGv1gdBxdQLiL5meJpmq3CVaNYva89EOWueTD1+GD2VIx1kv0WMomcW8684yjinVojKSR/yPm3VZi2CIatNH8vlSlcAz8I5baV2ZSaGDERzQILYKkLt30JcnMwn9o3KzadZD/ALtUDxUOufjwC2npU8iPzJ2tb3A8HbVxZSdgvV0AiB5/dGz3ca7iMtvgity5pgvC4w0KwzUb5IG+hGuE69DF5fFLrb2dDzqp81SPM7KK2CvU7aZMds3ZgBZfSCl47Vtdwk0a1frmRk99x77LLjgCseFESapHuvU2emp5fjJKrtPpAfrCLyLxEhKwp7zkp3dPGle8bUTOaEDzfTqDLvJIskYjLqyy0+a8XKSQM03YldQBk3N4MmzQDnQ964fG9xdo8ztqztkKY6u8EBTO68Mw468MOqJEijcMm9Q3ZJ/Hjqn0PDTdfozNqBU9aHPZhJTchqnSID7JmaMlgxqJLouqyuKGcVAg743AL5G/IjsJGetDJVhh9qWuNIfTTdAUR0JFkw82f7/26IB2XF4ZO8RZvmAFCjkJdOE85uY6LsofCGeQl80fVV7DVXAsdTHDbNCX9RDTMbeKelNY5oCGh2CE+WieT3GvaCcMSq8x+u+IBfsWXkMRbRlNAbnbEnbgv4bnBzda0IVD6g170q8B1g0IRF62+R4aanxvSa8ZyBBtK2jaDj7W7E+0O8YEZSUjYq+VtWFc4DteE72fE+cI7wSsKW90//RK2E+zukXwQJe8QEYQ9dZelp+dkrCmBRKPN0eZnL9M8escKe+H0Mm7/D2Qj7x3bSZpCXWSTLlSJC23aiecT86l0/CdFoGqHk7uRS4damVuKHWQ4/xxC5TIXlm8GkWXYgXFOR29PDag38iLFQpzP7b2UbM5ZfoyxNwEEZmD7gfim/i84TXrdv3qlBFEzZfHkKcPj92Yj4AoTvlTK2oP4tGj8uWUt3z28Ku6ZtqSTbEwWBs49Stg08WVqfLrdALeKxVJOdo6D7CoGM4weWXJqXHGi+jds2HANE4BlAbkgPyHWKU3ulfT7YNv1DJseSHlRGKPUqU39eYsFvxtt+htTOjHQuLtY4tWyHSBF/pElcSe/SQXw7LVNxEWJsa3k0bJrczvaaOFAb1hvdqGPNLJww5c1Cfbj2XxhgHyC0UIW6wW2hQMJfClEKwigRG6yrIpLk2DF2N3VdZ50EStnJvx+3UETJb4gC1TIVcGAUgmNP5SNepxZRkKR3qkFoW8BR+EbtZBZcL0caql1eZGBQIJSHK189F9KnBHTPKzZn81oC2K4iHOY+LlVoaZsyQYw3e/QRdJBmx9LNul+jz6hqJddnZynOYO8jaAXLeAbDohoJ/PYvBXG0FuwisRcuy0t+CWwIQzgcMC+vl49mYTwmHm4t+269NKlLpYCMXga3nUoclUp+1J1qtYuAHNCed0Jcdoq5/fG28h/O6TRCZbdPkaLFHRlQe/PljBwxaZHouJBDQGfGUGTgicQF0gKXzrUbhnSv46vH1dXG1Y887TfYeWr2YA8EJABRgz5sDrh0L3jXAUtft2VHUZ4JGZvtPKU173L1FChbuFlgaQH/UoeIT3iapfYSnqTtqq42ZGB8IKp+beafcG6MRPorF9UhDOB75m6rkO1cWHyKS4AVc7AoKBtq92v5mSdJxM1w+x3GJzxWOhOC5NXGGywJ4VfFTeqvt+oUmYdL1/X2FWsDgRx+GK0aefRwFKmNKFKI9tRy0uw3s4itgIY99cK+HQCJR1SwVC+4Zf+KIHy1BuFdQ0vNP3v4M9lfHRUWcJtWBMnRl5QJrRNJfqUJxIg3x1qAUA4gYSE9ONpQnpti4DKvEBvmNXtAtptS1ohoC/7MfRwNFNkVLriRjekzfZ4GXi7gSjeGcc+tY6QlZ5R1DfY1MG4QJasz5+h5dLQbDrHm+JC21c4krXAn/vDMfdqjyQBAoFP4r+7PfBUNdiACSA/bNzMySRIdLO3lQ5vq1cGy0K4uTcbK3PoPAPoxnH2bqdga5Vr3PjgGSBQARJgh6PRd4PDkNW99qYgBOAYeBvc2Yw+pKqCX4tYBrKLiYgCTHGdxIuPoDdfnzZJWnZ+oyLvWB7WeWOq43bFIpNy6JR2ZndyO/1FFkuyW6y3YBVdeHyNNAJpNvTQKeiImkAaW+McTntoDXTjJCMnWSRmsQNach3sT1mrOQGPD3U8MYiKmCPVYpv7aou6+4Q1Twhq838jIQwO1eywek+VjA/BttnIgXbiXZEImXeXzgC7ZYp5WQhcBjB3yQUiBQAijh2Se75Ixy1vSK7Yhk1KLho53zal64r1HY7aCGGhzDX1KiE8LNpmPUn20mO1mG1xQpvEERhrdQQbQphjvl8Oy8oZIkljXzX8ATCNsnzuwrdCRkXgbLb2e4qn/mI4sDnEjOehTU0prx/1z4d1DibSeNzgVBsa/igC2mL/mXHOJt2yRRKK3t4AF8EMLD+JdSvmMwJ7ILfjBx/gPRgu/dxpmUOyW2oyqVYwSyFwHm72S6eq47I+gDT/6h3w5D9zQJU1XeDvpK7StUuoU7LH9VZzQ32ilRM2U+/llwupG1vw7olGhRpZbDj69GOlib61brFrwCBHS8do9MR0uw1TSpmB40mHEv1YE7YSJbdMgSsFHHMJ16i8tCKN3eob5/9/d90zkaYas0d/aEvAXgS/aOio2bchHM6X38UjggDJhLr0pEUP3VQjL5GLe6D1j39j/K844mEVNIrUy6zofzjyJfrRQT3J+JVndWe99vx1q50LX5cSZs9UL9aDQPg5bo2CZnjFBJJISw8MrPfSQP/+jUTGFU8S5wqaw/uV+RzPhjkZ3l9ufqcOVPr4Dzm4BtV3D8p86oVhTNXjZiocmBnEHgB4vkWz7mBN9UZytljz07cCcgBL38JwrR3YgwKKA+VbzayRx32dT6WnWR5AxTRMrVISslgPCgbSnxdW4nSgzXVM/FS+ex1LavuBMZJ9He1a0jhS6UOtJe6H6mktt22NUZ2+aOjMqDn2g8HtqdmWEh1XqAyWEKU7q3iCzkkiqTnArnSEixZLR0vU0mdK5Y+s6WOCdHXdMViyH8LQGzCCbuis2VEGpDFG7RsK/MzzXAzvnqJitO1Wp/h0LAOr4Ro22/ekRrdDhtwxMimFVXF9WzJ2zDQe/7RWJL0Q7F6P9aW8vbJ80d/BzOPW1voxuCJltOj2AkgiY7LjwvOI6+3x1CPEu9CauLverkHCK5sdt8oflc/ejIrEnMS7j6kNWdXWvgyRBSc/gfdl8RYLrxbM3wiiYSIU4jP4O37k1QGLBgSIuqC5OiXzb7P0KP9ieCLZsOUwGq7wY29qN9ON19davGQlPpDZ2Ri44OcO2GKKVGIgjR7DSgwFSFB3teMO5Mn4EKqyG0JAvYcGPQRPfU0C8UaZm2zE5LEMqq7E9J2e0RNKN/Sd7ibIhHadrRI6ayIFvVYY3xS6e4CDy8ATKvX8KpwKkqzo+n+DyYLdfBp3plqE/UYEpOtWRCFjEwMqBFLCP7pD6V/OObQoFioeW1Eqikneh2fRR9DbyDeQasQOvZJGvuvPqCJ8+w5rNtkhIPqXvoa+pCjea5hAsfqf0c7YsaLzr8yI57pLWBa6O+i51zSSuCk5hNAi8+rrChgR8XkRRWHm9E1Y6WWgrFi8IcN9ddvX4EJj87J1xJLqKxVNCg1xh+zvyNlQH9M87wUEworHrgZS2VZE6dB7+ntzl+xi7tVoWEJ+JTh4xn5yHi6FAnI68seyrt4Qz0s2bmYtNE/eV8+8ED13eiNV6jcPa3XXyT99e3eeos8E3fFZFY+HIQDSr3NhwEBUeAHPPh9OWiweenqqAgjlVvmPrX4eUWgQl6QOm6MjtRY012MHY+F4tq9PRH2KLbKqM3hHu9EiLU6kBSdy8BLzVUbG67ZYVHoZe4t+aFDMYFlwkJfGXslgwF0xeKyFaE5YzLJmeK5LVcj08YVEbKoWsmdyTYuukpvCdXt97B3p8NEWWKnVW9EAP63KDaTjYwqBiSfLxxsF5a7K7lYlt8u8wyjWO1FCORexybRqhkvKZtApPiAquvQ0W7D6+9lgOEB6TlUvob3DrAm2hItBf2cfqXY4jnjA8LGiuk0A4XXxUxA7QCy5m1/gS7i7E2+AGEAd8IgmVEW+fKshYjnubuy5oT42B7rH1XWWSy/yN2rifDsSs4haoDDoUTcOdL5sJ0mk2uVQGR5rZfHC7KaZ3BKmUS09wus7WMfDkMLcJMBAPKc3OWEAA1umo78wMA89NgFAqLydNhmk0whFLmoj45/qtA5n6JyasMpWnZ/l93/LZFRCl8BP/uVbSFa4MoTqK69d8WRpoZVqx2U5P5CNPe/vG385JeQXkY4Nu23fsYK9EJJOfbaA6ChFecAmBEty5E+UMVXAIjKAqm7+qrrRi0NE88ubSPZUhHDyo00ibOwOB/1cGZ6veEvisqO2K4PS6G/E686vkwSBuQl0piqyidCuHgIhUJtbIjkrl7u9shp3LzvOIgZTgLI+bZUC8+DgrykdjWHDa0+if0MNkN/Mu0KczGEGAYmtZ44/KLNRj0Il9fEcpVW4m4JySfwUrqlPX6vfP9cpm3i2n9eD1cJcuVlCZ61zCJRDoIorY+4jgLSdKIvpVyLdcz2plAyKfT/hleiLOknnQb8Fx8ZJi2xtERfkEMqQEcCyOb3Q6Tg5d5upfbAtmqoUPgLSwk5yZQVG+BP+9TuVGs8tLnPdCGu0Voezd2JYQ0fXeWXRaZ0OaV1yukzhRcyjGvM9Z+jjqIUa2pCD8ruO//77k+x9SsqiQKwCYDofCu3BCL+KDtHH489YREjHzpkRH+sKPOlJF8nFEsKDS3uwaTKJgs+3XtzjAbfRjY37IessRL3sKq0ZuV5/mhISeoMpg6sxrO/sGhC7GPOuD7hus6+dvN1CUHBpe3QQjnIjY7rXidW7kB9JpcsC9KVgmXZOV6AdKWhbAKotWUKyUycdofrUDfjBBdNgfu4hB7VsoxRitOaV85DIK9HUu2PGTIYe0IHwi/Mglhb7sxuLpxinbhhWhPGQPe8JA/hTzzkLkWIO7n1mEIt70zToTVvR/i9OjkrgiaHXS+eg55F/aoxBLC0zw24KW6sRvggdW/eMkt3EXKhtEt5Ug/QflMBr7YBPOinrdsI8t61QMALBeem4WWObpKbCMCJhua2ZP7LERafczRXFEx1SX4yypGEw3CZQ4geTA3nRfEcGOYg4bBQ3z56dK45p6z8WM9VanDgZHg2tqVxkoy2z4WbBE/4QVi1/4+4AfJyT/5LH0PQvibqoSICjTFvMesQR53UMvI31vpN3ijdrEXGL+ACvRAsmGqZqSzfXQDGcQ/uWqdQY/hZ6eIZJzrnU64yOgpVgVXoy++BoMBjBGO43sFz0ImQa1lR3FSQVrqP6tqdy7+mjML3Z4/92W9FvBt6dBlFru/CZqOjpsgHp9OYcrsDM+sPBZd2W/thsnoq9JnB09FRcSUnUffHOXB9uI1c82nQL8Gg/1SnbUWHVUD41r+tHNwxXEFpnI/2+iXRtw6a+v0zl+sZ5UYKPdI3HdLGIfLY2i2YYbtKYrtArO1jDRxFxaTeFE6KnevogNM6oUcMeK5t4tTaL4Dh8oGKfmz1cKYLF1mE2pGo8dyzDXH7GVPXfN1N0VAZ+LnEngZkv1W1OucUoaF1HSynw8BIOFvl7Ha9nyf1y+0Bu99R5xwQDB/QHjBJG8au8sez7KpWaV70PQtaBBIAb/Gl6+bEZAuFp/ZnQARzOQs7MIOTWPna6oDD31WQb/Eoa+uhwO3ZF9QMQ+r8kNRDNfTVStMBq/YkvCyg002eipMeO+PRhVLhstXNlhvj38d0OgTmU/m/aMjT8qAS7+0zL/4CRGLEhWMP7QjynDQa8bysP4hT/acFxIYiPKlv7MLG8SZU8dVQ8AzzriKIX0Afo6pp5RldHwqdLXamLWoP/7ElsH99YkLpHNLPFGvRNxzBXLGYOWSVd6HUCX1bFJonDW5taa6OaM2W5G1vTz0e0JyGPEQBhnAGW1dWwbEvFU1F782NfwNuCA1Bd2S6ZihOcfK53DLXpvZyu8kNi0hru+6VyIMlnkHipfkLCTIT/X5chNvQ0bqzYsgd5NWStiJNaR4TO29gPW9peMR1bCeiShzLO4yaCl3VvRD/z1qarhtIicSZb15CWbkUIGsUElbZufiqw3lNK7R4QXWFIg0SRNCF4Ko+lrwlOR/F2LfyYtV8qeNckGJmwKy1q7umJAh2y30gYE5POpXDOGQCPN0NY56orbptxUGWLzAYEd08cXioP4oe8Xtiofy0JQyKMtuJpetMCcGzjmlS+bzzYYujoi4kas5W6hlP2+MresEcufkGLIt1/myalRdwfj4eKbQCOwqiigrQPfuaeQmeEVJxo8QxwwuB3XTMhPNW4oU7UHwsoGoQKBSYaAZoQIeH103aiMScDycFags+ik37bfC607dqEsuvKvMUk/8nRvoFhKGQbnORcAQuD3uCpWon76AB8YPSYL2Xyffe147qKA/O4llO+RqP4gs/z6FJJD8+ue8+IaDtLNDysLmeLWNmgJbpR7DdRBC4CoYVHPaZZan2pJCPR1ZGjfnlF+Vd5iAeBd4WlhNbUamsKn1wpNLqy0tWl0bTJLwNuv2/8xQ7ErzMIFcg6LN/YOMylFAlYjzzWEhagcJytKd2AWpiWZvBhcMfDS0b97oMF38jOl16xYEWt0QCWfi+cjVCl45RHbexgv+0Ofn//B9ybMAktZirRk6m72jxs8tJFO8V+q/HuGVVm9AvlNGudTlIaiEW0Rfqg9H0yKuVD7V8eL6CLNJAnMj/3xxWNo98nmlwpu+GkmD5c3iVrh331VXpqqEqAtmjlaM7DUnp9m7hQTtqwwtMDtrYB/+CPNut7LCf8+2689Y2CerHW7dgFLkVvnnWolV+g/jJ8Jli5fWrrR6+4uxeCt6yMKFBQ/m8hVFkzw0ELjAUP1U3eeC7r985c8GLLwtWS3PGJOzOilvXECglQLMWJZbKaNk2L38JuZnPueFJ/uVoifih3Zp/Tc4A42SLZ74aarpAmr+SQ64bvO08v9r5leEgcOnJYPwe57HbZcKxrsMQlHgFsSlnhxHi1qlXnfxLvI1FUKvCedDoWPtA6mzOma5/HQEPTn4g1v7Swbk3okZ7TRcTGwgj2pxRZxUC7FUYMgEs7m1tFpDGa7LeM2IPeqdX2s0Z7/Z+5yPPd6E5AuaszGnT+CdL9GOoSMfU3ijBcNMnYYF2jfPsvYSiW+eSYevhkg5pAR2PTKbgzcYEz1KkzPoxr6OC3BBlwhrBog0VxIfEVKNzk9AkOFrDuViyC+5CmmkPp+z3LfSXvR4nwx5yK+1eVJpRAWeKLlF09kYHD0paDlH+ji/qiYB1LtLoRaZ5gwOafnr2FAjJ3KpbOL++ZEehlCjLMGc80Ran2Fu1KEO92MawTICqP1oQ0otDvEQLHQvWSzr5cp4bBDuNEqqxLsWetEYG+RYlqlK/9cVTZWmPO7HJ6grJQYUQvWBYJSnpDZlhB7xULtEay7y7LZk6o0rNqYsENYYF/fzG1nXIQiTsiw7vTmU7xexEIZk/nuieu0qpgVLL669WrwI02LepR+8XgVCkdlZ2gCWxlwstysqrRqkCl6Wyo624dTy3qz3z3isEU8SPtW3TJaA7HA4+2cKoqkfF0l91YAric4QAfo4oLBcgDL2hbelYvysIBmSw75yUGQAgWxjIXYTX+pUVgFt8Vu8nB84f+NbEObGadfFi0lHYX8oywI4V4GViiJESyIQAJRbttWQiKvUC7wyWlrCIcPasjXUYH2Wc+2CC0Yao/S+fS+yKxiUHr3meLKk/WUQdBfkI6Tb4I8Wkpttpj/pt61EYmlOej/jszPF5NmbrIQLhLeoF5VU51VWgSI4mg/dtVLGkTpR0G7gloW58wMs1msKa3Cxnx26C5b1kYsHVZ3JdEuK3SOjNGkLF6NT4+iVxZULSAZRivrxssA8VGvnKzjzeMpHvE8P7ydTj4YhLbC2AoSe+/4HlqvMlaQ7EQPvOJYswKyMzM1SJoeId2VaRa2/g7wz/CV2ZbWt4Md5yYzw09Uj25F//4No1uudYcwTK+y3YM8YvjDOnZ7Rq2D5NqN8vvuiTVny8EJRR1LJoWR5y0uqZ9+3SucY3yredysIEk1IFIN9bx2L9+1vkRqLhf2XWQ2SwLt7loc2V6oCKYVpym5LLwo/MxtnthEMPnGPiPK+1wJK8GqakMIZ6OgwfpkBKFa0zII0tKD1BAPkhhsIdZD4rGOJTp1x4QbLRtZascPypIX+/VA/zMg/d2HcZr9YD15fvIe0HFPxIIruuXIZmAcowJR8Hb+IegyWGbdBZatuYcyo5u3rlYEwFvnUP3fjXE/GbqfxNLfk7fjkxUEZdaEehgSP/nSJFpX9BE63lWEgOcQIO/OXjV3rPATsxy/IHHWpz1Kx08JR5TEkM5P+sknFdZF2XRHyVr7m5BGgNOyuNl69M/JOy8ACfWVKcaoomqJrKqbtwBn6XcqEf2nLaVKC4nqDZ8l85Wbwqyi2Budq8iyQYQgFkvaeKDEhdy9mlPy9dkf+jWBInNdCLzn5B5KImUl6KWMS8yyPxMJpgnO0U6DHkKn0pL9NFoIEhFLUbSiAvZcPqvvy2T1YMvfGVN379JZbjhQv8kCJB9BBR3gKxk4Ih/sqjKKtS5KtZuTUB4WOxmCa2CSU05aRSIqiInHGxPaagVXpmWBHvjTpE6sF2+WHFJj8aJOE6Ee745oPZ9eM9KejpU5/2hM6VQp6BAmfRUEzNGEIG8IbrXZafhAxY92fKrggtYiln2Puem6vLLHtfXhdZXC6jwstsrc7sKPTZ+6+OkzZypqxXizFJeaikR95vgBu3M9aYnQkvcGzQT8JXpPNREnh5+sxGzeasC6l23H7R1YFsK3dVt1xcIUE8obXHbiQvUnemY+CuHQKuLrvfAHLrqlPnesr4QgxkWGZZSMtoaY+AMN/GZk+Q1KgMgoGxIBEG00/+TonZI0R6VgwzpfvchhgVTxT2wkKKj0J2PSVTMiHIT5+DAN8RZC6o0QCgRdYTE/L0t14yi48m1e+TtFkvyvuNhKouKwQr4uQJ6koF9vQpK5NzvWQA5mvvKKAjHrslvpX1C5lcIhjhxci+ClhqE2oNk9hfJV94f3vXnQwXPz9sO91/nhaD/yb7U8uIsaE+5zsHNb4Kybt8WtU66TgTlXZiGaxj0cHshHOAlPRcoOo/3xt4ZJ2tImd9Dd5QqlDi8M3ooIewwJt9BQ8+L15mXVB+b0MgChE1QHco1Gr2EPrs1UYZdaYgdU7GO+EPnBPJnxF5I7aoc17dy9yXc0nR0RUXyEmynX7gZHSm9HPUmcm5/v3rqPSGO+u9asa2bAmrq7Lg6UNpZ9NVykjMySx1UdI2IpPu2x4ExscYeIZiFZZo2WucQgeB5V0YfeVMlRCjyZXKvxtJLJXW0jgjBhOyf0rl5H/L3R1SdAo1guvPKGN+8snCOIBLYl2pN1Td1VQS5FjZ0+sUw5MmhXpoJ1XZigWXILp3J/ga7f2WIFZ7ezEo4F0RyMGKjHBkPhpi65QKoUrpHM2TN18e5p17mqBSNXhhxBdp1rHZfDs+AuDyzuYJemF18Si4xDc+/7nrIrVIbuy9wb0JmGnorvQvFNWgN9iTAXhYWoxEYkEdSuhEx1fPmfxivBkggucQI/IBWVdJWObZgDpGDC6dD/XR37L0lc3chIE+hSx3nVg9lqvm9MwD331d/rvd3S4Nf6buTooDdoKMQd73/ZFpOWLYZd1hKbEcDz4vkAp0gRz3AoYDtu/hnxxxnxoXb333eV7CcfPU48dqy6kAxHuikA1jkNV1KToiBitewErRD54xpI5n5EIe6UyfOBtvhunBjsAdLXaTGk/9k85f1mzcNac7dW/sOd8Miqs5vL8jQ+exG59TouioMmQe8tueh6NA5sOSDrOEM3U4C4c4CvxdJKcB+Ruo4oZXrjVm/qt7SPz/Aw5t+qKEtmS975XLYwxC9V9n7jmxqU/Np6KdQR6K2uvio2gXvg8c8bEc8KssOIxhzFNNrWNQd17vNhZ9UCFUe5Tla1lrkJwe7bt2D0WFgx26d3Rwq3cgAMrVAZaBKrh8xLC0vKOiFJc2+AgoETbE7oeiT9BMTvIPYFRAYOO+8pB5jdScX5C1kFEbT7fUwu3jvOCwQo+/I8v781vsVMQG3jlpCgRCApE470yJm4Sq8/dEfRGQCYmLN3Phgbu1gu5a8mJCoXkDaLeetGLj2d3hn1wEL2tbYE0IYbIAgVqyque+QuIwZB+CLwcvKNIcAiK7EYYPhi2T00DtEMpjKYzA4KgkE4UgSmUjqrc5HAta7vOImN9WPLXsfOXLLL/3prBXwxKdDZbTv5Fet5j5N2lSwPv8lgiqROIgVcHHf7PGxNJIaukEsW5x+Xuavv/TXz5yWBvzpBlwXsY4fY1QrOpTmvNUjeE79oW46y4NYveDAlK9kmaoNcF1PPpDzYBMcdcoGX+AwOl2CtBqd1VSqdJPZ1lDg5oLt0gHsUa8AH8+1ZjFwRv8QQU37vhauhFpy4E/7tSqLGd2cIBWRna/wyqGmxXor6q2NXR5xc4e5tt/Ua2lvrR5u4R8u2m1RCK2BXulKC4yH/jy0mNcvXBFEZflfHco/9/f4iNDxTT1vmXBrRcD7i4slN11sl1CGvDQgoQS/avFYH1u4PsHH4hFgbZQfoYYhwD6oyVop9O4z2bTvPIBZtrkNh0kUN8YgYm0a9y9YzK6K6yIiG0WEWYg59j29kaZbr4m00hoZvLtTAaCNnZwK4tWM8Gw3vU0XC814X9fWzIWs/Dvgcuua6DRL2tjiTf6n7TAUG2UUhX5GYNmTQ2XqehSTm41FpZHIqYWDfW4KS65htcQkaGeqiQPjNXvPSI7fTPtIGYmlFhNoLZ/Xs6fzNmpTAmGE7TOZpeCf5y0iqGFV6qMp3Rp22nyUNXYfJQN3d9EEq/Rp5rluPadSV1ovEOBXD828s4u+OfrbRhwZWKk7EnyVPmIQxs3c1yHYScu6XGKtubs5GW0uK5CwcEfZiaZN8E3vBiuj8s9VCfBAh4fAVhSn9sD1Ux3p0oY5jKaclE+v2DlM4pwPRo+D46C91ZmPFnIRZl5ZDzWytjGY/hfcAaLaGoD/0kVEA4Hf+DpB0U4yqSDSW6IB4yKNGmtMaj8bWTEcgL7iqYIJA9n0SMHGGNkUJ7s9ij3IsP0d/lqfchHQRjiHqtc+fvUKrS4cKywPjoN8y6TZdq3RGG2PkBkZgp58fzufJxnzOO1hhv2sMdRfMXu2jSQaZEk6dWGwvGCWY2BfV7IHtudjMWM1izzxwswh1Vo5hv2yuZj7zNowTTRdxCcwF+1lDTfiadSDQRnBWSBh8RidKgsUA5SGxIhCbPoz07GCw7fmLkGrb885Zr6xaNDmdx2qW7VPQwL63XMfpVwoRWAJzK/UVbik+4klC7dYdp/5dhiPfpvbHMMHeq40ENePu4jtvGp9pwYB6EBQRNxa0z6FPQWwvp3lJqBmfxOJ/56dD3VYGqdJHZr8VVxGhDCCMl/b7Hva0BwIbbP/gFNtveXpBVrNFms5GHQv3+SY4v9eGkwOZFbRaaeAU7Xtds7LSC56X44/Qmr+xDCw3iGAoLsvnJG3bW8ntN9651osmp3C0eBNheqO0Dk+EMY00VwG6K0t0MN3HmGIj+kGWgOTrrU64/5jph2tNEnmw7/x6pHX6kLrYGdVlzoEF1XOXOZPeujIqi8OotM8LJLu6NwV2XJA04qn8az7EBZfZjEo8/g0hCF+2Vwjh7r/08iY7JTAljAszDEy0YtEqZElsYvtzzP5uRe3CGINP5aETqF169KarGX9aVKYISFYc6DS88KWGj+AC4UM5uzi8tDZcnyPZrmsWpYHK20LYfR128ryhRwxPbfhA5Qd1BEO5hmTZ392M7Ol6s71ij6mmkbb/f/hnsLx188H7yR9fQAFKpW55c11YmK28D5TLgCL0Os+JoZyXFmXGc5UnxriYEYvhh5+Zm/R8/gTh2/kZts2frPtCSd4WOuifKGDZjf+lc46mlr6j5FfD/O1McdId71Ym88bFdkOVbdjb3AG1Dlk02h8qdNkOm/v7oXm6TB5xgGCGjzJ2r/9kQ31LEhkqQrJSKtsVdzxvBbe0qRvQ3HfhFubQ9qg/o5VCWVSJiCWBS5D1BbzkgT61rz6L4jhCvMrWYAIPBfIJcF6Rr+Df5EOsiOrArG0i0xg2aIqshEQMQWs5Ddy4/pZlONWhMYO2AtCYOcE6gzblZwr2j2uevDuMYZELu9yXLDriKQ1jF29DZCMkmIFR6wUzjBM/+xpJ3aQ294x+2FoBa2NkhxzPzeG78KsrbhbPJLfZqoEh8vdYu3IdEVlTe1LPIsE95GU1aBCIs7A5AnX9S4MQjAzPkXTV2xnOensRxv93YkMlnY1QVLQAV6HttiJqxre4f6EktBciKK7SLj+ty0BCMod12VSyBaAwAovjGlA2rNSy4tkkrjkQpbbgpgrTw/K5x5QavdFcSV5wEPYKOTubZSUWv1hl0mZ1vi0TBfx4os50TnfpMcC7jZ7e0e7J2mi8DYM2kYjkOPEtmxS95djtKWDnHgoutV2wDXmdgsr8CD25ODAVopWDepGAMz+MmmsMDZayxWTCiT2iBX6WAkleDOf+V7Rdu6mHdmyg+muz4ji9Pk1Qxk65c1C56peldb0RWvpZ6lJN9ovj6YyurSyegtb7/FvWYQSw33EuIh5v26hKDxF5Pdg6GishBdwqcait6hKbO70aBavrJ1lO+iiGYiwGZq5Xc6w3oO/EyQDiB/Qm6jd3RtxNdajZeo61FELM6nKeHhul93m1aTWzLGn3eRDWrJfK4qR4OEsbmzgUeSYKtU/GyIHsSMfnerFiByle2lQvArpyhxkcPcCPENSjq0+39GcfUgW8jDbz/eNCmYdAEojw5x33kjVIEInmbDyabRLeXoGx8nsT1cgBcc3IGlPfwVOiGPVUXeD/QlofgB6kpEFpYSwThnG32ipTjmFTCTzG2P6Y/Qu7HkPz2W6s0J2+5Mh79TsTs0V2D6Q5egmSUZ6j+Oi3LXnuSwuoJr8kQNY63eEnMvJvvk6V+aesyMtJRzBnQjHv+RULqYkrSeBiSWG34dGhgHA6Zjl1ceU9GV51WJo0p9O3kVXTN0X9gPyTqDrnrT8/cCClf/uwT/GQCMpoo+h9hLGPI9rBZ9MuCfrMC9wyImTI0/W33D3iskK0O+4zYI6YEg1P5ZTiCnNlEkAuyK+cXFJuNkuL7eJLYXGLMt4QrcZUzKQleTw1Z74pbiBaV5Qu5JOpxxnLlLS89pnPMzp3+cCZF38TOne4eJRDSCOczLs9jSS4X4UZkrzhldKySSZl8hmm1Ik8qTAe/sjphX2YjBqB0qpNYelvIiNCmX+6yLlAJZQLYGJg1KaChDtybeOT2ktQAQ8FYqWUlgJ1rdgC+N3WvFfosQx58vb9DgV4STtFUPCjD1E5Ber0YrgL9Dan+91uw0wjF4oyUaQlWM3UIKFTU31ILHCN86a4Oc54cpTtHaNqBxTfwHRRWWakxkufk0+Bug8lrLJPK3eWAHemyCOudcdULteMxiKiLTPDao9VTuJ/CyY7QTMSXp57ctcQ9h6dz9qb+pdBDdsJAnzuuwt68kn2DxKfekO1E6PNxrpTWGpghQdfRGSbdVP4rvIrL7fApvYSIpVRLtGgnq+mQgQD38x9LeyS4FqV0eBaC9DqNhBIQiYO4n6jviLbolAgyK/OEC9lZbVx2ChsSTojrREtUpGs/G1P2SMKJsN6Y8/XJtUM3j7nF6pvn/5y0rrrybSMPeSs7VyUi9ThpAtJ23f0741uU3QF0QhTdrKXedW8xk/2avaZKi3Q6QA4ra+SDQSV3YAjJnPvjaBgUx4GcR0FGHIbsB262EpcrlGEQvrqRMeqtTpP17YF1cc9WoC7Zkr2FvPhh9U+xmaIAxBfP24xsZipyZxci8IR1nn/Bi6uoG8/pWLBfS3PZG1NA1IB/DIOWXy1InjcZ85fSkfMMwtVrqw/JqWpRndQgq95JjTeMapw+uZdtjjyPOe2MdIys7QhG6MBNkPU2s2sdc2wVSdZLOYuHmR8HH//cMmJV+NKU0Ih8yzOE48uNjIB4fiL+Tsg71beWQ4JgPYeVUaFCnY9egSYzpbjf4GueVULJyzEssTVP1YZKGypt6N9XU36GPiFb6YRWVdGxVg3SrSFghl+AKhGy/RRDWqWWJiyf8LZkvmfnIb8dS9AFj3vczrTxpYmlACSHIQQ3vLJJisImufvnDjoRNA+XokWtxwYApyPhY9BVnRhgJKTs0MahA3OShT9Dwr3U47pgkXW8rvp5YSvVwAydMdxV4l8v0Y6rXPxZAmxluPfT1awGlNWXIpVvQGRnuRpvJNvHjFDPRDbMghBwHmL0+TmxSqCo1qHN+DUzCqxnAJ87GR3msXf8eo3T/+JRlVHuppOhPwx5AiuMcKTe/k5efg9f2+rp68edzNvG6J3pdeqfOM+c5VR60M9HXCS9ZKgIGjoqvEDidtQIklEKMG2/SqZy8TuFlf1e9O0IxxaUd+nySgGACPPUPJ2LdP2q4IpoSUIVkFV8F//LxLDKSHx4H3l46L/kx05jSf8Z3/K6MafMmzXLCndcV9wSe5s1bj0ty1PAEHen/WxLqIT1WuO/3ykh2k5aaYjoRt0J4rmnQpkqjKsvclugbk6u2P24qYL12pZ6AhNl6HrVNxnldAL0bPJwHdYgqa9+1jqn+xf1gqEikuwg2hDD2YlsMJBiiTA5VRYSWH1aACHAksO+4mTuAoJci8P+FIbEooEChNsETiwZK5BIK3u7SaFIcCF5LTM+5W6M6p2UCbO/sJGM9V2oACDTBixRoagwBL+2AZ4LQdgIsw9+AwWLyxsownPP0yy8GPO5w5GUE5xvT18NHpVIIDwVxsb0QtdbJHthsI1p+saWbtwHFzTWUilcMtN2O6RoB3cAvPqbSNBBNDq6PKHqK7f1ijmp0mwXjDcKibvzS4ay0AVE1kJXPlHmweDCocpjNAqnfnz1HYiZ99BEg37FgL50bBBNhaqSi+SNVnliAEtgL634kPJgbTHIvlsB/rWVa+jbfYTyoKbKIMy1ohJyx8drELv3HEvmnfYEKwz8A2Bfqt8uDgjXNAU4TuodUeqPw/gQtj4X006p/VHBXWlLhAqDBu13MxoaDLLskJQCecs5OCsP0dCnNb7PKLarzsCoxwZ3XCfhoyigIUnP2rPTsGGS+JQUlvv5VNREr3K2vESWZyAI7Pnr+VkbANFcGK21HkPLkSzBDWfTvHJkwtU1d/yEV2J4UspONWaExZWmcromLazPFkDC52iT7PYUY7cjbIP/sg867zaiZ9wO+Gb1rxksTtHJQRrYS6XBVnZTySkhhYkr0YsIJBusoARfDdaI6lD6IM4cVeLUjn59Qre1wRgK4eqmUr1VT0pQS/r6Vsd9OZLs6Qkc1OujbBiiMqvSjqzZTmun/Cx7+BIU7Qay9a6JG5kAR9td+GeN+1H/9yRff6e2lE5nnGcF04MhvHKgtZtf7ZCcM/p0q0MMgm9SuiEF9YbxRZszHJU3c5HWuOPN0sFCofIo2LZYM+aoT81MaYiEnRsne3ghK3GoK2tC/SR1vqlp3jFPpCQ7bm8lQohzA60jyF1euMVudVearrtuAGBhOZHtjmzu7JBzKnFzWNdI7lT8O8/Way0cusbCFJucX4PI/3Ut2Iq6JGKtr2JkRUQdOiDKkAme60k9HYEQIoReLrkCNuqyNR+DjLbdcWJoHRM1/D1eHAgOn3JY+m5YCSHphsgiijrQ8XhXtHWruqSNYk8HfpU1+ry8PbbXrCZdCr7a4pfPwlGxaOcZybN6+aMN2gdx7hsc8NbBvYKrAL6UnSekScYRM+VEUo8t4BQD+jClh/ZzxYpdnjN0auDwNcAp0cO8H9Zhssi+gi0Gw0BdGsR+KiCSErwFZbZVI0DG7b7XvgVTuiMSjt1nRfEnF9VvzJG6uwmOhfrVkgdXbU1+WNXIXr5d3LYQ1VLyAcfic3PMzkibMU68vZZRc342FisPoNDyZziTea+LKwTdFe8mmSqLDeKATxbmhy9zaksZ9MeTxlKIr91eLf2wpMGAKL5rRmHgfy7bdJYj2kxjVGyWqCwJaGaOhWXX4J01dJLzUYqqzEIROMYe6TZ9i+6Uts7Ex0iQjSl8SUqYlw7rfft+hjJiQzPahPmvcu5+gR+sDCWd74nOcgkThg3V8eVkEkvu2nOd4mojAK7pGZNnHgFjmyGYYfsGeZtHpi/cxCB9lLOVeMvrsKTteI3aaIKmIgZ+pvGAdF1aJDM7IT8s+niNeLeIo9nlZ9tBd/9t6sxsidCHeNoCbk+P7y88ZBLECW8MiacgLt+IAVFbNnsNbnZuxjMzXoFE9nTMy+PvIEyQ17w18wf2/1sn9bFfOfJOVW2Bef4Kibc6x+292tqjVMZJC3EK8g4zty5Lo0QLiVsFv/vZe9FWJtzQKoluZWemY98V4I85iNMdiTQs4YxxoN9FXczmYch/wclv6RhlJo/rJj6S9iQUg1NfQe/RcmGupG4wPFATyjRXbmeScNz3NlaCmXitTJiexfnvwK+cQkmyETTAxZQ+kJh5TKQChDjMnxYr+nblbLgv/WQ0S55I8jYjkDUXB7GeeE/ei2+cvSeNpAGsd3kAx/0JM11QqjuCvodwL7cNB1x39i+T3Jqq2uiJ3v+OC1YatKjhXgx6xdkIqMgPZt2yYPVB44svZsEJEIZq1V82Q1dqp4v8gQNpW8wXMKDhYwvk10kYtvKXUtOuOhqJkkKHZXHPFxoZJ6uhEGYNg/2WSyNczqivvXqRD1vCux2nfba5aglVhLiznBsowEwNe+q8Xlf8OfW5dsChUegJpZGjQK4cqpm76M9aUoAvFHt5vNyEnYeUN9WdW52R9DoqHEEK/+p0M4UR3aOp6twWDzWZGtRkngT++5noHNh5Az7pupenpkodJgqjm7CdrHtEjzg0gk2H3ulQ+PLtPtEkbGKEC5+2xOoGYpI7uGIJZy+dQVQAqC2ZuCDU0sRkYRfDQ6wdIA5RfZw3tD2jUjiHLjR7n1j7dsLHNYPwj874/BF1ki8oW6dxVmKQDbL+Q23Zdq3Gtey1vviuPT9vrhcwbo9v4M/fiMhmV+UEFlyrutf/1odAH03Izj5g0KWXNKqK4U17r0JnumhdqyghCUXFIIDKqFmlpGNg+WTCOboQ3snO8rnHEu/Z3KbAUyrFPQ2phxsYQ+wuqYdsisH1aOe8K3QJoNjOPWvupRfIropokW8sOVP6B3y1LbEX6yajNowF6y7EjDpOC9oUhppa98BwYi931XEh1M4LOALkKetWrCBI3pHgJ1kEpb3Yz0kLZHADYIr5JYs+CPIrei5eWBKhPwVqb4SFQ0aacTwElVlcAY9bsb2Vekll9hqj1IYlVy9N3I7z6XEc/W79+Gt/R+j6lM0ei3E9TWKYcITfmzsKzFGygyn0GyBORwdl+12QkNWHeEmPN9h/PTtFsWXCaLGyJtoC5lAHDB6zLhmlxEHn7hSV6poS3lfwDWfc9ti+z9Fr3IoIXC30cF6HpB4fTawjY2V2Wf7GHhwT7a2ZmDVUp3Ib31wHNb4K7kvEN7lqektnSLaT7ye0mGZqNTOUYiXL3MM5FXJ/MsCkU/QjCr9X4+vGWX/jYlfh2FKBq9337VcebKB4uDHRfw0tCVwkG9kkQB4okdhJ+8p1hiJ991rh4YD4LrbJ49pWeUnpx/8Pxag/LJIerUtn9kioGoS3q/YKrOLB/bQioj/sV0mi2XzZOAYjI+XqG8U4f6P96lmOp9UVqY1GT9EJG1rZUgHQcVAffqklPzch6gw+YyeBE/8k1gecgDIFLvRnfo+bY4jKpWjKHtPJPJn4Z4J6Qq6iicz1RH6GrMQDUzOuPgeDRex+KmcAdjqklB3K5NOrQjMTQNIExpXoLLhKPszryjuzf66GD2/FoNIM5H/eMpmPHZy8x1DPSkNRMGcMvY/kDrF8mbMboFYMAn4ypQOulOHMBG9hoarQiwKAuYOfFuS6cENPZmxwDHVwB+cm8hIDKAEg6szzJHd0j0C0ZQ+qCBdzGx+BoCbE3Xvzx+7Y+DQq6b6MsEmiDFxSkQyxBbl+hAuPAGdoiT4EDBrSm+zBNdfE9GbOpd9u7K68VPHxrM0K+Vm11Vgx0cb4oXwK8s4JLzGtRv+pxKA89WOz4scRA5JdRCFl2jFY/Oqi8mwN5/KKUUNi9rZybwb165vbeYzTd+CmsKpfc98QIZhFIeVHJFTI+2ezrOP56dDfc8rl/fRhVhcoRrQtoYTwAog5ss4TEdyG1RZ9L2wMBDaIeL5htX/x8iNq9Zm4a5EeyNPgLMpKTQeroapBhnpwQ6MDnRJNg5ztFD3uFZsk7BuMn5lRPlttPaZXtQEUW6XyGgT5PIgA8W7Xi+hp9Mhu31g6ai5b2A9EYvujDClMeEDZz7er7O0ymE3LsKfPqfN/FqEddhDmV7sP1QitYW1LLyWAbn6NI6rsrnrU/gTRT0Ka0Kr4dEma+w25KLwULU8F0a20Fi/xB3qow66WhGtNRKoBIp1QzlQJzChbaIXK6iY8Y+l4/D2mlZKhlg9qw7tdvu1OPVCQNs+5hBNP4Nxc5fGAuHheOc0cSgtZTrFzQpxIwp7AWH1K1g2BzUCHD28SbXZcVA8KNAQq6Ss1KjlBz0UeHf/nXK3nQQEpcwokeRU+fgjoN8Vl65I4WxtxB6/Mam/vR0TraW2nrLfSvGiaoKXu7Fayrv3XtyjJrC+hE+Xc0+f8pblQvYfE/xrs6Xil27IUl0ydKI2R23iiRvPOAqfKS3+HhyqhxGgrv7G2xOe/8UpM53vOxdTzwEoq4Q7R52rpQjLZ2RVLcz3Gt654qkJl6yhhWglIRs3rLsBlV6Z5qKi7Xq+KH7Y9zEm01NBzJU/I5vUz8Y0kdjjVrL3o66g5q1DrwUsjO6OyKOnhE5TL+D1klZYFFLQ6BOQgMWt/hI9EXGOJEIkMBtJMncofs6SLCXJMeo98YivWlDKfKv9yMk4tkxt1g7NUsxqMez0CIkG6ZbUuywE8J6yNglcbmc8gNNwz4kt2gFbk9FRgVvl17YpEBBSycxYfNnILfFpDdr54MGf93wiEp9z25Aftj4kImlN+jMsxRA6oOci0VKOkB8qRnzOgfxL/RgE272jFwXlk56Wv3Bp9W5ibc8Y3JYpQXQpAyQxl+697uICjHPk6J7FPDx5DukEa7YDTHjln71zJ7IuI4EqHE7JKBeDnTNpdZFkl+l3/mC2sQxZS5M0aqUYH5F6qjoCuB0XwoFIYAtCoBMDZFikkAwudbf+ClMpKSD27Mb6a/6Hv1kNWdGvY8YHvus4mkBXjxvG+goqXGpMmf5IIrfSWEtofyrO6zJr/H5DStInPs+Xv94K+e6KkILHGaOtFS5rsbCLVu+NIKJKtW8P8twB7U4p7r9+VdB7/ag6QdpndtvqvT1w54YM9QuNcWo0/TwmtSGFjXMH8+S/4ZtrfpD/9sidCfdcXSWuKCOq0U8RRBlr3AYQ4apCz7gLRAdL5PAU2mlW/YNclpYve1mQiC9fZT+Vq34BAfOoKkDLzz3lzSLFIlkw2XJUuU9C5Z0YtITHEijlar4CU6JGdstBIpgMxqCq2cX6LokjWtvPX+m0dN8mvgXlTz8FOgX+Ohv/9yhZxedYkYqUX4eVl+BYwaPOG2znBaLSO1hiP4H2n9AO9RI/A4rgMvqPltbtSN3Mu45awXt3y+Hk0clxLPs9fS/sfDJPCIsSjd9ke36JP8RS+Bihac4I493Cc/8SSWBgkFPf93aep9qTHL0P0XJh6RM6NiganpuikW2k3tSVUahD5KiJ9fq5iln9n3G0J6Dmpy8bCWCovnSzH08aTz5Tf0IlwBkuEGtPh9M/OaQRVaCeoPNLscCSeUqVAZ6BLAdzTz78UfrgxdV0Gr7mre8Dkf+qNLshLn1Zo7vvTdzuCbtsuYnn1PRA5Paza8LEHITK/z9MTb6VdWilV8Fx/dwl8/L4gPXOyh8ifJ+7HAXpwgdqcwnBP6aKGuiPMn1fZdWAatC3MgY1hQAz1M524ubMYfeB+2vM9Ky/ctB7HvVdT6Xa3iwjC8oQEKk9gtMLKxZ3Tfa+30L50Piw5JZFcN5uFbFTcw/0wKWs/71G8CzKJqwfyUOGECt22hA5uH4U+YrDXvSLc9d1eAUewK1C5QvrLnpM409wv8d7fis0/X+PZ0rWb2cgluiSQwAGQ6xVtWaNkBijRFJzBM0FJYSkLmgxapgu0M39SCyiMyQX+0oiWNmTJWBMMmYY4pvClPoKi6RmJhNuwJ0tW5AHcJBNrNo9+zbS/ENMNwTkIKUvwSytMaRG1mzrAxhotP1kP5vsJhmjCgrxSsSybQTGsm6D96nAQsiJTjdd0wBmcA7W7qHCNaI6IKTqgeH72xxSRrrJ6HpBJMxiny2pCVhbe2mv7EoNpofCjDS7JnxTptNetKSQPqc4+6785rxg44+uUoDvs9F8IJnyuvzTuw32r4yShfQBvd/lJSlMN4bqJLsgTgbnKD/rZFqVRG53vPYvq5w95QFc3DpdCGUBXxoDR06ca0zebMqkG59QZoqN6RFyGueAKH3kw6XSaX+R7NYzoAum7j64becIEyOQ5sWHTURTsYT5WH4hMh5JJlKuqwCXp6JbnMJiWXO+cdbdV7iSLUy7dqaLrH+TefDeoEP10uJd/PQx+S3nPKtkOBiyCN5B4y+J9vyzMhsB5VNUiH65Vwbg1O8FUDWrsZEmkz6H4neOzKvkBmMZOXWG6sKTfZ45wcf5gbxcKIg4SNkbF/TH0JrNWMWnrFyJtQXuqbC3tqeQk3sZauOA7VOymWmjGNQCuUiLSAgIwsmmceD8hXO8454cTe3WqzgAYTj1500xwArStYv22BZh6CUJQA/6CZ96E82opNpM87f1iG/OJ47nglGHSgGlOg+/FahmPjmTAdgZcesoYS3mos/Y3YhNfGniW66BnKnuLOkOuVmJJZS2KW/TScsZQNASGZbjT58UOfeCuNCorAOiq/zbiuStYB5pmHCtvd19OVfqyilgQDsKCJ0MioaaalwnWPgkX3pLFj2195W5rhYOP4n3Fdj6iYgDO5o73Q/G51PHnhX/Kmc7ZAhvZ7Bp2p343Phk+aJU1XhM7VLvJZbsVXJF9NDO2YzwyQxFJZa6gC2EnTXXuxL6/XOA87Ca9YYjoBuQDLfugQFefPHn5MsSFZk+WRPewjuWpBAZqlZQM5ICe/iM9eqLn5sTbg5ghugSMDlO2dn9DYg/kWwb0bcvqskz/1Nbh0eAfiu+Dfdn/KWyKVCuwxWb9R1mD1sgPpYVVwEHb80eGtrU8Mw2nJT4rcQ4OkQ28lVWt2rlLidMGbm0hDqf038zi21KKDTmJQaibVRyTu7m7wTzlZx7Aqvr54K1blICIX4kI8udFZ+/LFcJNvGxoZa18CCJCdjTCscBqQVsGm513pXdiURVgyX0OOAhzp/KCO5kUacomag8AsXuC3M/uoTpesKcq3DJy/LkglXC1yVoLjP2PJVyWwMuZ1jZY+kZdA78pnAEOpOy9HtMW5g4z95EkKVwfrLt5djx/9ANwC4nJfWhdMGvnmVpFDIwhbE+qJImH1U9Qk/uAKHFqLuu0JxVwSt4f8zNKG2Hwj874/9Y51B2f0QUQWFH7eE2a3m18o6vPhGAGGoVpzDHgtfNS/aBQvqsSnITVKivL/2Pa1+obFpe+yb+IORBoMhy48C9zUa8DSFUqhmKi0weNWwpCco6te6XIz6d0ZwNRrzxcdNcfAKtPDYjr+0uvp/CkhRpLsL+AiuiWZ6yNbCdu7WWA0XK7H5aRwkMsCp1Z8e0E9+TCxMAxdDX1oUEJmJf2/GY8rg7n9LSBnOmCLqKtsOfbFEArZteXI6vzHtqIQmUdw9kXbyOYBfy9glIB5o8o39z+vnWAUSp+3/tUMXvbIi9vt4pm9/roj+Xj2Gln++LQbOPYXHzzh0S320FOh/AQeWwFiig5hNBLSmzNlmFenxuNzCnG1WuItg6h65Vh8vcRE79/BHFyhaRH3VJrs37iriFzMUmmh2gDKk1J0Mv4gKHds08CeyHTuXKmXd7Y7sSXM4PIAqSn8sfDO3+pQ1fo63oXxptpWRE3Ll6TOz1Voq+l2Z0HAwgE7OsuSr0XdEsvC7ihsZJd25RJMYB23RYYcJTwMns1GbeQBKpV2Ni+q3nmYg8RURTgnzvKfWnO5C31Fxwoj3j86oyfEHHqnIiyqX7VLtDn3eTmGi/WOp8dPtjiQz7Hs5K2H4kcqyiuQ/kDQiU9xV9AnwXeJ4G+/DJL05rX3Gv0r2wB6EQ5+0lIJgoXiWpDzEMg0BysQEnWfPs5yDuxwmF7uctrrAALZP/ObM9LxcEhDwWB3gjq5NvkquGIN6zEQidMEOhDNDjVor14mN3Xy4YJdxGc58Kvl2O0XThBXYrdpDPMxySkfqhBKUdytLTHKdB04twpETb9ZZxWQI0mbkwZkV7V+QBk20b97xbm37rA/SPB6pW98lgRtjyPit5xwsUA/8fZPm8kDwvBgG+P1GMzHIuIBu0IOWQC16qMkc0Xs3Oq1j/Gklzub91DZZ9GM1DXLjUd5LH6ExIbv7/PPYqMNDeogsLp8w3hMoVLHrme1SM4iM9znaDg3xS2NNdwRKT6xYVW2AO3IFcGcqDrzwSfvSBUvIQcVYm1C1/yzm7ceB2gxL29h99sCf+tSbzWsOnOnE70rbHZjnTXnsJ+L6KfuReXPRea0VFnNHD+7eMhuVYjREcBpRfHBYQmic5aiSEdtoC+wa6vKkqavKpbxTleTe7Wr82awfLDnMNbO088IaDW7nV88Yyp65QfurTazjeEDlraIQz2PhK/rtxhl8PoIdkM5JtIC3Fi0kYodXEoqshxOSynbG0JFOOkMWYv3Wp5Wr2+17WwekeLkeDEMDO6Py64mNlLSqQwX6EDklArncALTXAKl2cXar3DSJN4236YZUUwgM4j5sqOL8/sWPsZF/4s32cDIfM9QfCodNLc4//rXrsc9qw1x9IWAOqOXSO4LgLd0vZrbinuIiokkGiHmp/6xewNJOBADH+WnPgbZvs4lAgAqJwgHOkBOLteuo4YVpeDgkye5ZbuY7x/7dofjHgzeubu5RfxhUOi/ACs2ONnP8sA2R56nU01JHD2LioiMOoQE5USx6Z/GukoCjNlVxPPGpwyvSw7nuqzMeG9H9AFCIcCJZIEdD82zZ+cKnRIa1Tz2Pjg+tSyI3PBFk0rbEl20oagaZ9LSkHzUoI4xdi4nmH7pGSuF5iiICZwrvDIHe+SBmaupa4u1XGpBTUO4SiP8z07nFlhgy6TYE5LlV6uoHoYCwm7D/km0+2WoXlAtBl4+yqTfeF0Vv0Mk/kz+cDw51wyNRn2e5dSi4N1vNuvez1213eapSgS7Ijcf7aOKGQGo5vZOiIYcKulyAsZ5AVrw0lN2r7f+FZXK9GZs4B4gXamq5C1p6IBGCJPa4SQXzIYBX/0zLn1C1YLdCpqFrj7GUS1UVRmjftR1lteTzrrgp5RzlYG3jnzu2h66cICnA86oHRJUp7LuddvJ2e9w1raL4LbXLsF+c+nqiPZYIVAWQuWkCu4v8ahqoQo5xEgrn/vwl6WkSZTThE2ZkWwXXbrgzEyLAV9AHx+Pp3FXvEwIAzV1HNw/ygDWqHaXmV3dTMuBV2B2eOZjz1JCLHL9y9H5YqDDNoWek3VinmA2R6MlZEU2Sm1SN2QU8p644Kv/JOwziNLZHAvG7ex0wf8Wo287lj6gkaRuVSBiSA7kZn39sltukeY1+ut1+2yXvVWvXMWR2xSnhGkQxhSppMD73u7jbqXu5yn5QEMoVVy7hdDNAzoFSoDVO+6scQ+bm3PLLkT77S9ZHdDzz7eE7+b+b78C8inE27y8RbZYzj+SvFvhddpfNN1+0qCdLqGvUulhitPuz/7VFxZn9rH+g/vEXNFyn5q1jO61oS2N4zuZp1D5lTpJcFrgmNzJ2rqZsTI4lt5NhJcoEGobYFi+ub+ypOtVEtemJVqfz6jkQUS4pThcgtyboaeTkEdzS64VaMKCN+GgyNCLzBngEWafidHqANFC3quurtL+p1p2e38dwsxMSB/Z8AcBdjLGgQS2pj4dBSNyFQwtT8uqtNzUuLpftYZWAKyRvfX3rO+pfyHNp6cKprkOs1tbF8vIZuNy+ekaYSfN2rt/1JjnXiQOf4tWn3U859eo/eg7iEkpOoH1q5KRQCxs6W86nrVjDv4AzBSQM9rN/g9kCShWgtNaTNuB827LfS+CXndvU+dHcu1KYBkUrf5TT8VC2vv1RMnzLRuV1A5PAZfghxkWA7uI78mEx7VFGDXbh7eyqFLBS2VE+WlnBYPrGa3vmtEkD016x5IeCNbkf5U/58KODWalaNB/O9Hwch8CQpEJE9eKbXVEUgurRI1JdkMNsSm4ebEs9SlmkyzywElT9YJEv++xyj6znVwfzQmat88Ve66FtA/kSQ26uS/aBm5zwBAkoUs7QUTJgra2nGcXna2P39hfemFw8vBR8wqA6b8+NPQurTotu7raWUXP35/0umJmzHv7Hr+DVTAGRTmg+EOA85Gimemo+39byuBMvLRXAvoipBlnqdBNOzKQlFWfBZgFYyn2FCQ9wtn5jxP2UtlsLlRdTYQaozbmUh9VSAQVmn2C9H5dfcgFn/lEqOoOQAO+Ny8kG3itBt+MV1XGqE4Rcdd11yNmJXDhZ/acsHE+3rG9P3aiPymh29AMlxopR2gl4uMJs7DlWcG6rpS7XIOY38cLjTPP+KrACATBIdJpJ6GsI8KRpKJDM6ud6f36gWu+YKMssMXLOIBH3HGxHbMfwl8KXY2fof8YBqcKW/YOp/AH/htdea3Xq/uqjQPSmnChgUpMJIQ3jhldo/C0cT4OY2WsBcBbKeZjyB1kN0QnrYb7ESEBXlc8J+pPYasFvhlbX2oEs3Onr7neFEKgX6zo1vmMDvOf21xg4IIa9fdKQEVcp07ah4mIZlScrPT7dxffl95+F2zD9+uJ45S/3lv8ZMFIFsH2omDeQ/p2YffaI/kGazkhH0+W8wlatvfF9J8madLUTpYlF5Z3YztXWCTrzc+HRa+1IvRvwwd/Ya0CTUHy21cGwOVx7P2pV/X9bepgfovVqqQJUIWCsaNampCKoKTo9LCg56xTD7p00HaA60jqKXSwYES0A/tIy9B2tZdcMPkFPlTDdf/VzdVLbwT6omxKc2ilUkdgltR5PpQzdVWXCydYenvcjWXadVzLyfrDI2Yya04PjQzJPdu6moXJKiEn4a1Ur7TfCKFQ9rA9wvqiS0We36yf2Lxf8F4dW9FP7eXoawVgHqsSZ+gVwkYivhmPzrTMNZ2S07SlL9UHLQpf1AlsBoVecjbNkTZx3Xf+dmRmYmWHmonykY1NH8wqYO85sbFpGAq4gSr+fkHIaktjXPxvn8I0+tj20GNJkyfjgbqOaKDgWFGpW++BwCyin/Nl52TnS/aCPnozju3Cdc9NHBRqgAvkC308d8YFpdBpl81HJ5nuPqOB5hCFHHMyuX/08HctzMCMPkFkktLPhvSCyHkInnmsiJHfAdg8jXY2OdOs6scQhg4eSslf5WdwMK90i8fREpLNztrn/CIbAFfm6lnlKvzXEMzgL/ki5N+O80Ti80DLpt3U9ZMEnIjVunVcysbEhaJNQioyjTgVTp7XZD3t3WrosCHYlN44XmQSQCNPhwg0IvH32Q5l3awVUPU0i7BYMqn7sFTMDJ5phY1N1VPMi5qnRE4yIta+hnugKr/9DSV4+VscBboMHzT8NC8F37YEQaefTjjxfbJHsVT09JizXjERxxQjgk8HWgZsB7mOylNiXTbKs/WC3D77YHB0j8NgSj40ZYur5bj3qvKz1+TfhrWz8BpB6wxwdlmRz75s32xKKzfjZ/EMLKLxt42xbmfnT0EIo1CEztu+1HQUJlNd3IX83talSVtTkZZpYXZepBg+YDZKaAPbgzx0x1V6C6IlSKsAJySAwWtH/ibZffezNTx51isaQgRLAqNd9nC48wFU3zn4aImYdSUzfo7JS06oqpwrNEtkHgrBGda8LREoKT4XAcPoAhICz8oID3801I398QrdZsPd/ceYaWa9bI0RHIyLQ3+jaOChVdwi86w/VVwjZdz8ASL3TrKyXl0wuKLgK5smXV4Pzxpwuoh8VrLgC8PLoXDHVqd3UaTjpsikBHeRr+NL7R4DGgf3zJRv7RSYrIkZl5ZzPicFXqkbMapbDQoYeGqFw/oi7Jm50DCEPoVOzPiiuSq3TlsMtIykyr2RWEsIoME0imkMrz64iTSpqWoUj5Kw9Cmsin9AlO7SwtxMIm+1xIwYr93edsRA/Kyw2Qv2mpH5KlHa3+q1NdvGfKcUNe46YBLodDAjJAeWEHQGZItosxMP5GB0ez+v9yxZGOy5E6JTUcJLsRqP6RhEWU9WUVlp52svdZ3wmgm3s1BoZMcNm6OsNFRwvfJtOQwXRZv1AAOyh9HmLMdAUWoWUjxvsXBqwp1foMJO6zhIxw/XHcY3+U1Jf35XxDhQRPs/mRerSo9nYIege0hZv8u18hrpADAkV/76wMBUbDXCZz/6wPRUmTUHJ+aSIOXE8BChXnq4EgtHv7Z3XTeBlEkughCiTWTvT2lxsnaE7CJ/GAb9YNFjWavJEetBNg3VRG6IBg4N3dvVhz8WCHZQnfv4/ZHGM9JatZpES/n7Qn51MeLgnC9hNQ6PSDLvFwACiqxRBHQ0xh4YCxxD7YcVSiBRWbqKxJCGOjN6ISr9hG+hmQlsxLeW7/W7qPv3tAGm9tq0Ryx0EkWjk6/RhmqX8BhU2iiBJPbEZeoUIOpzFudCPsJFBPk9LghgH86phYQ5fraj4NkXMZ+bkzUN7nL9Pn47valnaam6T/Qy9h5+xl2OkkQAv2KwAn8Z1gCJO2+0GRqrlw6oQdvYyz1InkIrV88JuYm1GhmGskCqbOe0+IZHp8eNV/K1lyupPBb09GNRczbEfk6SkXI+Ac7nxnaRryrZGdwfCaw/sPWq/szR1Dq84qVlVW2x0Ri6X8Do2zb+C4ViyDYQFu74DCxsCzSU+oi0qBAIBzwPCEPGfzgHu2UW046FCKTY/qzkaRGbCtxhCsufpsTOYzA+FL8mdk1Ah572u8wiIsvMhE5zgQnQXfFdhVrbBO7ERHhFKmtUiXOpDHLjBXvsk6OTUJzhtjVbzb6LgxlklMmCE0u240ABz8PK2j5JPSM44RN25ljC4fYc+1ZpOJHiZ1928tv15N7l1vOlELfAR8xKTpiJLLLZMr6j9E8UOAeTonzpLI9tdE/DUjY5snrB93gtI6JP4rErE3fkhtGemuaxoUVjO3Z7EQcD6hJIe3y9DYW8MEjfkE0L/+HWBrTK+wYpICOBBi6yPa5Qbf4HFP56qpzfxUmlCYk0qzZEYOeckL9kTxBjSNchKIskXOdPX8O8Fxtra+qafE54dM+/ZJB/ZVfnXfYbkpQe10Piq2WJNWOpM2mKZZZ91nhVBy2iGFgJ+yTy8mJ1HjBZxj+48E9V6No4Ux9uqnZiklaHAdrDu2RmHAYDq6iysjIeXptSfLchfcT7PY5kLd5nqiBYjM8rdXyqQtOwbvMnJbjHGl1uSJiaPSGQt3Rajmh6d7NarB+te9qKqAAp5zvz0xVOXGLGSMgq4IjwVO6rc9oriGp6xCRjBWja+nvaISlHzFzW8bzpCh656DaAYcxMY2VDWUWBTqeiXcdnozQpc9Z4mKz1XBjXyj9pFaTc+eZwbWIaoflVbNIr6Mim/cAJeRsvrs2Z7P072HyG280NFO43yITFbx69fb9giiMitcjEsVINA4n92sHrM8YmSJ4mhqX5VHyKMCSTrScA0kMCjZdW/Quy7xwGQBoKoK53Mlb2ca9uqvP2HT/E8epsEAlYisFTMHj3Ro3y/DioLSvSyW8a9INUtSOj5JU1etz1affS8trIRnSrgbMFCbpT2xGy84ATP1k9ybpVmEdchJZ9pjXCZcfuinNGq8pJK5tx8DmJgUKTfP0BjYsUqrGCgrxhRL5/tFLXDUeZCH7+gGdJ9o+eL2VCcuP7WYWWSRvr1uPdkP9YbTNQap/87N3jXmXpES545+n61hxdP7a5nlbE4OrHpoIL4cY4l6UbjW9/FtneAGvQ/2agblr/Qdk6vJndemo3gLK3hq0wuOw3Pu3m/JHDwZVYuMO0cnShnEkqHqe9mSq6h+dvWDDnA7pBt7HuT3VkF01YeV1JyJT0wEe3jP/g7uKm4TgLDiaF5Z27c3baj/2j+rtjUinUPCbyIc85WsiOhFcT4sNkIhmvq2dU/ESdOzAsaNV2xlizQi9XvGQOPY/hELmI9XqvvGjRrIri2xD0ANEb/9o3R6u0e5ZJJy4rlruMCC4EK/XtSCq4VXhCp/FX1V+O0Iwd3vin15PHSkuv60Sfk63jvHtc6ZR0xGvKK4rJ/KjMmJ87LFNj8LMB7+0wF0j3yuGgQG60ipLsMy6I2D1NKtBcKrXpv8I/YSO1pd4PPGkZW0QbgsZUfcbkoE/ankqaQtgtr/RxYQNpc6d/UZmqe4gdjZm0W90RCrZihmtW44UFFQiY0uBEnOp1NZLLmd91utpQyev4EF3+sYRFQVMdVIzr8UxmFJm5qroHgCruxDKSyxtp/JRNmCprqkOBvomk7j9aE94aZ2F9r6XiXjacvePdXU3bqfucEcFLwImR6sLrzGxuvC/5YywYFWT/iZ5qF5muuxmLRoYBmRCV4mA7I08+R1w5jHu6ELHAwGsYeatRQbr86atKGYikN481vARV5c1ThZtozf/jJXOrB1K5KA6naVDGtLYDczcsw8cBWw5yQ2EyJFSV0njvZ3apo+h9tobJAu4q2/9zuJ49k0lwrD+LbzP/6gSmC78lF/6LBN3Qzbw6nKBfEESaCM77qO7wpXhvRWszhVPuKbuvZ7XOBN6q1fcIPXh91QQ4WZmg8jaOFZmcva3OzNCQ+/Q19mM/aXrLK244sOcJd7jOu1cPaKVpkxMgtJmhnuEh6DbUu7TRFInOVpAMgIs3v2GSUoJEwMoz5UijBbSuJn/LV/FmLL5Gc61xnJ2xXIqOYIivcTx1j1Wfea3jE5KTOGipNZOElJyexK9C2YT6sBNAKMQe4HX/SBuH37stnPgEi+8Icq0t5EkuPQOA2gtgj6Da83SbFvE3KgtV4y9DQCCaMnFvwS14o03FivpY0jdLXvtuauX73wgsjCUsXCM7IG213aLKBQNEGs9U9JexdfLNa0s5pzlA/BH1xvdqHDGMJ//Wc4+ZV1TVCzgRD34W0fDbbfS+tc6YbipIv6F+tUNovMLo1HnGB9qL5FF9kwaAISPOxagQarmPU+0eii/tlvRxomzaaA/ke2Z4gxUJOU+uYvG557doqobpoJGUdVfnJfo+ZznMAPqmVednLsH5ZuL3m+ucrJsZBZ0pIi8iE8+yt9z+Q0HJe32d/ZgLtXLmTVGeB821Kaur3AcRmDNRAWrYEAeSg9xm3n1xekz4/KhCShQTTg8OStjb68wA+8ru0I98dhBIGdPFwOY/rWchGgA/xpzI2qA0mrtl08GV5QJGNio7zJMUPjE0UdDUTnn2VumhojCIt8FhfjaAXe4cy6ATik1NsgyOr7rrcdO/+BzDtWnjks9j44acUt7g50v7TKdFzoR8l0QA31ckzFt7av9/0J7f50KLFoZtdJdNS58/U2C+1GDSgvzZ67tYL3Li23wX9VwBK4M/1fbeFryV/BfMN7W0qZjFwMu0Ftd6ZgglsiQ20kfKrIMbcDLeP6hab39SIfsyJV9uJ2GrGccuGFVeBoxy0+kIS/yPFU7pAfddReFsmxp1WIBDK9R9MGXIy15zl35iSSYhU0YvkRZWq9fUTAExHD/oTUf1WOk8DURLdqdNdRFI8pCer5kPs/ZP6Kxegnr9gQPDMHQ9w9eL/u5/P0rN13j90vHp/FR4PY6AIaqv28mD2UpOzkiVXSeh0TEdKtmO16ANCcVzGHjyGjSQ6n1KUEHpNnXDSHn0LaOQEwdIPQueW4bNLmw0Dz+UXXX4rnmbwoeDECqCZoN8cuaqEPa74WGjPioMZp7JYX0h0o5EMhD2UJrzXSiLgDXTuxye3tzDuZi0V4pMi4SJFE5lbbDPAZ2aHdJIffjHasmBddH/FBNCncpWepfGJqJuZfJBo/f5f5TyxcXNCe+LXuyrrTG3lxDPf+ly+ix9vonI4+Pusiaqy/W/m3irpxN3h4Th7cF6FhM+Kchz0gI7yb5z0Bru6qoa8vOBxfRauJxK8tXfXX4dvv1hec/Fdch2PuqVDSzu3otdftAq7u9bILBgEmswSo+McrCFqJwxprAx0JR+yyFfDwr3qMq3wgGHjkni9i6za7BnbsuM/uBlU+13+NHWOBKQfgJjXGGF+LtCwaov26XQ22+Qam+CNu3R5zCrMyw4kNRJAfJ7qq4FiP9V8WWHHIjUnRSqw2NnRZBMdhgcZEgxwba+4ozu+3ZeGIP/EHkv7fVSepHqovQ85h/cISfbafnRqlqPoWkTFa6pzWRHbP0gersEGK8mk41iQgGEMQDWS/U55Ip76KX62IBMpWd9nee+RgiOKS5HyZahVuqQQG0wQ5m/Z1ZUuvbkX6tU+0H9VZEN9UlG+U1bvJAfarOlNCMeDlF9QI1r5iTjaOE2JHt5JcW4BX+9+VtPhWDQcWM1kYK6G8XqRWGahdO+C4mPWLRv3wWgT0t50A3j1uJh4I4PtPyXcHOv1vnWg0XWp6FRT4exur7mDgcz300WTkiOnQg0xWIfoNbImBvFzoksLyrHlhj3cE+9iQfrPXOGSSY6TVY85ejqM5oMm+/A3dwn+CPH54T55qCtVHqyvG8S13Oof2d410TFLXyji6EYLlQuRO3/hR4i2TQgWDkG5TKcgrCzb9WjY8u+tyciXeZCsqxNGzFh0qULRDqR9YJouvcsu31/jqw08ZVAxqFG4ZcVBnMBUXeN2IftJpSIejEPlVUXMmFQ4XaBDsmDB4zEcKNqSk4bK4UmV0+pwl24bLLKf5TUUQw1Y+swOuvhiVrivkJcavemHB+CXTwlIqtbYMCSPrlxyVIYcutRIqmzZu3ptdxbAYLzNISZm8uI63ziRHIS0eokMulY1OlvDFyUWiSyCrUSkvOlzCVSuJgX6A78UfJr1Ss6OlAAOyAMV5uBHy/aXK/GpNY6N/Xt7YMr7QsBPa9k5c5m68TxutX7V7X4rOBmOJFlGogNSocYjNdEVOqBGQovRd8GgYtJAHfDmbR+j8Um6gDHTqYco0ALIViGvj/uAH0jgAXlQxKuzwwAylLYNFdgOjf1mi9tpXUfBVQooXo7smG4y1gZ0jWjdRxOafLO/GGTbtvv1cyNcmspah/X+18KOZwHbq2LmOiKHu/Clhy4kqFiA0JwuOQDR8CGpY/NStXLjakO/oYtP0IHwIO+k99gBMjD7C9UZB5fNQhhOYS3AMaR88bzDmNII7imiXJez2mRiUs0PddGSltPxCcCUKZNhUo4EJ8hGrnbTM3Z7uCBqEnCbxv/OuXu6jXnHQyvC+OB7tPujSF9DMowWQO+of2rlv5ilTyrDRhzdOQl/iQBYdiKYwsSzckyvn8j+NU+Wyyy8mKH0IgdU0flbghIzmEUxF9ejgb7bJO7kcPBxqgwtxlOIj+wZC67nOVN5o3l06Jq5z6IFRfKntKuu+8+FLkxQdrohQY+v/ejvj/hu6dv0jmKjZl505pN0RiESbM3GdIkihr7xhVrSkzJn3BREFvIFtEO4qd8ObW+Nz95uk6hRLjG4cynuqSheVSVEEgQhA6uMb+9VBQNz4xCM4ms40S79kHJFFJoEyNC3ngDLmvKRfllXsbTkjk3G4plIe6tKDY9Z2HrPU+usP9DnYFxDkfJdb/sEQ5kqSanGfSr9fzNv+ukT6ZGvjknHbT0PWZowNf8B12BBmLhnO3GfhprJj4X1512xpAR9NaJrw0QZaMIglc18blHmHZO3RIdLAmZFU6QA+tbJ55lpplmbBtRbPhnasDDMuTJzmNL3aqIiaErBY9oTeNPA+H5MrF9TcQVugNatOZ5wwGqME5alpsSMdKpHhyNsn+mojgI+SIJAcZXPRvk1OvRT3TfJxfl4JGWHSpivPCOyWBCs6uJEUCTF4KHHZ2GA99kzVzEgMBG8Cwlket+m69bJBUhQ+MoKmZNpjRcNpK2PUfqSlOvzJeaoERmoBVh8/jqjTUNEwGzdMOw4f2fDNlsMSdVG/sVKSCFaB76tHFsuIZKpEor3z0m2bZ+xWSXdXTTwytXOzzjKlVt1eHcYrZHSTX5ZWZeipVmSfp18+2BZ4AJpu8qW1GQ/oSUzU77h/I/gdsZNjlqMf7xa6MFdQ8C+8bDH0Pd2Rp9IYqeFu7bknnyEHXlIeyumFP+mAShRu3yorljN8aoEqHv7ewTEhQmw09nEyZ9Ikyi1jYJI1yjwDASnYvnEXEiCY16doKca+KtRJF7//hz0iE+uShtzVPnjjQDOBEWdoO4/OYFBA4P2ehezs+uuCNXsGiED6mzrzMjNMOqPSClperws+QDliwdoISTU6o0r0IKw91xxkYC02m9489bqUPDuGpOWBSHuaG8LstUGRS6Y+mMoPEotkZANlh6HcD3C4upRoHYSM9GeDng2cyfsu+lV2KpgUw4nUMSLze0n+IVRsKbtjgUAShzlmNwhGpZAaF+vzcLLWKODBawTBiq4Ej4iSaCXa49QM5nT0eyaFoe3frpQZlvcohelTSKOKy9mmWSeCVDI4Wpv7jdtpB8mLbdOIAY5Sel3tUw6TBaYNd1fMRtELrHcVBqfTG3EFlH7xofrULkbPFcK0dGQsYhao3tkwOCs7UPEPe+nE29Ekg4oB5cYBnruI9QCTSbkN43RlZzhD0Dpl15DtNZmOMEUK9NLyMFyi0R7rC4EYCDGTVaBnNJ895EZqsvt+8jyidkILZNR6z2sO56A1nXW0sp8eK8+AdhWROpkFO+waJLtfHRddviPkIhDZBs9e5eFni+NFgdhX09hrKc3jEquJGKYbd9WR1bKR9sxzz7m8/ll+KysdGbRutFcCApwo/OgGXhKogx3BRE4Y06dfm0pMz8B9gNkbxgj8r+K+G0YzjNL/VLxMExxzSx72slHDVR/x6lfDHd78elhEGK5y7oJz7Q2HpepRYKFOcckct1u9veuyVqMDDuMD4BH0wGeq6vP8fIjz96IRiJxh1maI9xRIwlh7N45Z+oRzt+/jKTvABhWP4+m6EKHj4l+LpVpRX8pD1aBH0kHzA/1YpqxzJ7HTQ26Ps0Rl7mpbORoS9hXsbgzlHG18sWSnfov9NEyNBiTGvpjtxs6C5KVzngXbkg9fYOCZAPcd2iXPaCnc25LCpN52GIWRLePb3U0gCyPtPlqfCCohkieDSiHDEAdDM9dAIEvdPZec9jmIGjHCr+yLznGMrNKsJOex2M3QKN5/bJxQSwnSR8wxHysUwTsveaOqy27dhnAxn6ct5SBm5V3ed1EnkLr2DtO0KcNJHvIVlRyFAc93zhuONks+AccIdW5rlrfBTO1nAHeaWNq1bBorZZ7uD/rEZDnUseE7zL3hsUMzhFUTogoT0XH08/Q24W4szPx18DOL12HcFaEwjyFdZKj0uBbEpAQEkV5NPCD78UGoT01R8G79nUl++sO3QUz3IraFTOayOwGVpZvkH8tk5brVoAgHwkIeyu/deYaaXRbljiY59wl/B2CtCFYQ1SlxDP17wVJEH0Z1razharmOo9GqKUob0dEKHy4g8DdJt/RgP1JB6nfAmwPcGE6MTNXNFvUNdba3qkLrO7zZHF+u7cEyKKGeAlKlK47f4wIHpEKSdeHoPd9Lk837jm3GcrLq8SduKDWR0foH8M/hprWZMhhyv761xb8AEIsj0tOuHc7ljsRnmSbkY0VT7cdQKVpCHg13wxzgO8mNXQWDTU+uSRAV39nrdBIQ48APpSHrRQMQRpcjlE1cjSbsX/0Nq6ZhQ9UbrkfSj/aqIldPfrUUx1RIAxoD565HtZGTpcoinvB5Pu+V+xgOGcY/cJiXIxgLoG35Yk4aT6hi6Dk9tRSd3kOJvaw3o7/UOTDa9fUI8n0q1MIgKVOvLUrmtnmRxkEXgIUQEgg+x5jPriwKsxEKe7vyMmEvX87fSAlOeMCUjd1rvezeksGjq2lpT5plfgjC33rHdoKJYHwW0c2Bq8mDhmQogY6TFjXqzcNhnQzcNoBf3gQRinmlDcfWW9/qPqX6tCihVjyi9aUIXrnNaJSTcEtuKQUHVbl6wfwOnv7XgR+eDXQWE94pHcNeIIIUMZghdseTi2KS57S6LFSFe164zoxN2t1bugzYuBfJ+099VmN2NoRUqR3NAD3KwjaAENDrtS4TArkNnQuyNV7p1NNT/KOI1wMniG5hokCpnYSRSMXQvJUZAhlpPocuV+lphD4tznJfQAwsq9fw3igulV+6ReyX+eGfIFoVH/QXPwket+rJDf+C1J8W26i8MIDALWGYbWPiaBgzkXd+svkMPLUH7qkbDVkPUmaUcBhii2uEcNzQya+2j/VUiBk7HFq2OlRbTWl7mCMVg1cH3YKdg0QAY3wcmT5xSGagg5ZAkHv61CrhMvbaBV1SUxTpIO29Y7q0b62ZDlfVQEa8nC5wZFiHAVi95ybMMQn9mmdfeXJdkdPgT7/JVX+q2RfB63vRq+1ohZH4yADtGVFQMrjaewyA/c0kfDsNhsWkNCrw4/F+UOqS/sDZ/Mc0lkmOlYpZrzjoeYA0u3Dj9KKimOPy2w+Ml0Ha8mGc0HcXHctQnO5yCdCucaC5MhWQSkvDZEhhnHkwlNQsSlPhAm3y7se+prTzUeuj47zAgp78ebTZvQrdl120FtEvZgW/TOEqVTSANDmnVi5BfvhqjeKqsvz6qrGbL1HR4vI5w+BX3WikqW8enpqqA3qnLLRe3xBdfuNX6YSUIvbU8srhEOKt4BxrAoGCvw3pP7LEtLAJWPqMfcD4OS//z+d1TdWB9Q2eX/IoiXYVpUpjqBlQJOC7vH7RwVANCqwlk6waOMioNA1dt7c4XI8SCIffYDqm3Qx/FdWvObHzbNnuZWQ6FqeLO/d/ufK4EGewwEdsREwsSz5soFBnbEeiDaqoqPG4qyguBnU9a0iW+Z+xDYEdqdlqIg9hXgORyGFz0jW6aG7mwy9Ao7PO62is78sQTXyPt39ZOASJmOPcd33zg2Zu2ObeZ+kcTlG6yuXfHytJSeKW7L3Aysv650/BpEjhgldqh9CukcIdQ5u+9RGXvpLZuUa+FXHqZobXxDTBwYDR5nO2c91RHZUOLw/rWlhMLUXXzpxLNuX98vqOMv3HsivhEdIcovgQCp8D/Fvc5M2amMSap/gRxoacg+Nbw0rgDbetVxXs0ql9MOXs1QvsfG1O7frmsSKQ+1u2DHDJA2cHL5D1i+bisvhoyJ6iB/Q8rtHTW6PXfh2pwWOLK4bLPNGKvjy/7OvvSBVTgYMsGqya/x2UBZbyVYb+9Fiy+8fgnfdME13JzKBvfkt6bia9x6C03iqPwJGpzfnO4UihO02hZxvgu2YGGkTtqGhGcG1DCnMwhEBco0gmfRvV4ImXxuaRnAY/XGLkr2dWNhMghOxTcypwl03DfSx6kwn+BC1PaVehyN4iVa0/rCHFxMoqBZ+q/QhDTeKKD/dSk1bh/4xmPoZvDcX/n5UwyaHNAV5UyEybtw0V+cIJQTPweSrFmND/uGRpBlFWARt/m14zohR4V8rX91lF++heIZvbWYJjWiIKWHvTnXoMPP1T5D6hc4ULxPa0do+P5yGisUxg7X4yt5sgT7A/71u1yFZ3w9vBhJITGQ6sdwGvy1cDw7FQUfrn8+gDAF4Bvw6nOetSPLRt+nwKwRHRJnJ4MdXy1tJihqIGCz4xgYC4yB1dsI5hOm2+LTAl8kr5lt9alGHXYKOICE7eTSX+4Hp97cfCqh0bR/huSmmH/T7pRDYnGqgJzwlNHcAIzC4jzR8vS+1vwVC3ZQAR5/am4+RG0fBVCO/1AkRZfU/5jRzeK5Bd8VxL6x2FKnkk2bpf6SZcjd6xQOsM2Bk9KaunbVNAjGMnqIjD3IGMHeDxiqwuw9uMM3rjKiNjTjIyzWVZPQwdE0sjU03fUJ5cElf/XvHcUDj/3aZViIRUqmeTpU5W1k2Ke2l+C8J3dxMwRclhoBsmvm8/ff2Wht6QKHIlAhKoyelMB1MNgg3Nh0WosRNo8IVm0erLRb/YFarGgNGeai/QXYmR5h5QnK79mpvHZX+xkAFWItDMSvVClfmDIPq1V1FOTIE+H+u1rnuvgIW0cGgfeFogyyYwf8AS25+oH+rxEqzQgHIxde4UmHOnVxxKj7Tq6YO19lzGAASTmsIcCdQ8jWwscMgGT+Q1S9UHwYmZpqeUTaiXjXoQ9yKTgV4zHyF4MEyJB3St8xAX++9CZnJeTOFp9bk/vdZKttxmk8F0emSaFtzS7KVxocmyZQ6AGSPo/lNri6N6FBGwZ323Lhxurq6G3J1k0drYI4/Li1sMGXrpGW/LWTd7xCIIzsmIW9W7evl8ONvtgSi5ca3cfFf2ELaSyBLuVlNLPPy2Rw5VABkrEpMFuLb/Js2+Ng+8mhmCZ9NGUGQfvebEJ6abdaCYQaIyC4fa2nXwPbYjt3VrCqbGnNQ2hF9r6+VUHzDGNTmxfGRMkqEg4Qzs3jkMzKooIB3/dzRaIXyxHc0sLqU3Ejpg+gUnsqOf6CHLc7YCoE0E2NKwj7Mzi0/qFXPDfCQ2XbRHz/2sM0WzEoHexZ3IQg2vCHAa8bfB0vsNAg0psVujLbrceAIcP4jKPMJQD4MBlpyMDZhS2maZquiWNxYC9FQ7+I6e580jv4hKL/vIl4GVN3dCOqhs4B7kcerDTca1691ovOmRQD+GabFGVxPhozfLHzlxE/I1DKA0PZgjgViLkuktJwnbUnjYjTbLZraXRlo5LvAIGbe3+CWmEFFSJw1fMUGQWTKwlHFX+SbAt59boB2ABa4tyD1BBfzyi5VwxzMIm9cAfD2xUytsYvb5yVWEXQZiFa5yiT+IhyTasj5+Ucx/XDryGGT6HoJya0T6wLKZP+dHe4Nk4HmDIMsBUhYb2e+KMlpWF9VCimJePQZvX18p2IUC8idWCPP4FFuQzXbQBGtBzCj6PoQCR//7VPX8hIRhTUD2+6itNqXO0kCE+4kj4gDCJ82NPa2nAWeHw2xO6jfnD9FVTmKZusxwCXVIKGSAhYAyETT2lEjFmauGmO1q6uHVs/crdtRR++/Tk3Ijs/EE+K7iDfpSQgJpFltaBgSCZ3gVhLUNIM5C6hArfO8/TQIJn934vICIh2wZj8chKbJxRtJqjLue18QLpcr34BxI9ZuSGrIQZH59csWWJwJnGlEM2NoC3sryiub0qVXHYSwk64OEyrQbKJbVQP7rkXrDjFKpVDEb+YlTA7zOUx7VcfMY9h3K+hbYPt2/uRkSbW06xz5/PlTTL5IXTFl1bgxcdwgwivjjF8D56VUj2J9w1ZJxdjwq5bI1uMY9lWifrYZWFlTmVKDbBPByxkk+rxFiIh+Dvc14b54xl926poOWV9wT9MIIqg3WTzWFMAukkkvCBnl9rkEBl+L1H0/QINjArEJtQC8c4nmnNyJo+JuGez8aF8bOqsGMHMBLK0CQzOZRYZn2vAiaJeA6lAD/wzA6LXrL+jkxeHiMX7wQcur+nWZSArWtGhK5rHvCxFaWx8+l6SX2VR5lZBIw/OMI9BGK3ul2LEs8nPNr+bgF3HaF4h0XNRbIT39C27rmpW4xzZ1G1F0iuUjzQZvatv9gdvf+5L63/ELtLk2er1EwW+gfqXn+an+j1b1vEFJjXu95Hab8+OyzuwfOAE6FvrHWmc5ynWXr8Kbmv8xMRzZMdsy4mYop+AiCbgyHNEBBvc0cyjAQEbe0hVAPJM3fs8zi1DEsrW6yysqBHo/mq1wHb/f/PcOju2DlHPEYSD4IWQxF2JQPVmZZgY4scgQk/c/WTeHfNePZ7NWAEVAAbIPbV788Pwo9WiDT3/CEGSPRoKoemeyoqAvpPzxdIzIJD2qpdFcFplJDwZlQGnoDhOEAKDkMuAAOFSUMFwcml6u2ZYFvtX+wLe+O22cME1N5IUsWfEYFIZyRUDr4l/nDALWAu8yeGAN1pJ8q30D6fQxprpyBU8mrd0S1b3dI1UEwwqnd0ncAPY09X0KfYUXf/omgCc6XgnoYF0CIzLYgc0N24Q9rtoA6wos4tf4a7KitHWj0vQJns5QqkWFWlTlw2gmxp6p4xVKzPnx3SvgL6xXa9I2ZSi0JAtS0LJYZcb1D3KvokT2owg8A6v/jZUNZW2lGFLqgI6JKHzOpTsw5UHlgIGa6LfC7SSgRmFwDBBQO0lWp6ZY9lj+K3Rx5aTmQLx72/WoYtzzDvEXeXiDhP1rHutXh2xJuJe6BUv1ScrE3hVO1RLk7eWGZL4v+TR2gJBoT9AXxcZXZIEBpoC8y23Dv2iRg2gW8wo6/YVXfbgp3WfkWy8Ma7FoSGUlUSzs5Fm07ED/gbwAVK0RHckZW3je2rAqQe5F32CfCElO5WKZ4V4zXHG9vOLhV882LWuWLcpEyxgFv4jHf0Oa/RVD4tC4JUi8XUM1/GHW5Za3JL+6Rjv0B/6aN9uode/k+OHbI5LsKKD2Px+jSZbRmkGQ60Q/+S+EGF9zdXte/S71KZucA7oELIRdRQX60rsHXgESjHTJnpoh8KWCMfr2sI3LFbYWGPyvOwflc/P0lh9ZmB4R1uyhWS+ckm/kHGgi2iUsNwiaahw6mM2PFnOsn98CGo9FGBYHUY7SJTAeru1Ui/7XGtw/7f3BQckKxLPA3gtwQh8C8gLa8hBI29yJWB5IItftKQn++vp6OrY1UFAGseAiI7QPnrMe2/LNwZuNqOxh4BCO+DGpJ8D60MeBq2Kl0aIUBrf3m3pJMErQ5z+r3Np7ikmPYFHAVl6F5NLgiBreksPD0v53C/+JMyAe7z3F4NjRaivtn4FYJxVkLxOFGAMk0h/7j/Egp0aGLUBKCFqed4Uz7Lhaxs9aDFmeBzhuZwFmUZ0WJb2WOKsJJwVjzTgSKTQAMTK2N55tNdTMzvJvLG/XZpRvULMMqmU4XM+/EXk8kEIkFPkzECqqME2s8wye7cryiVBGSTNAyZ/1A2V9J87+rJzxbZT+lWfGt4dB4yPOM4aKQuB76a+SoFWXxxm+0wtjKmGn7zFMFht/ec9yEnASPDahYjkN7XHXZXX/Lao4jIb0tx7IXNxN8JEiFI80zsfSaX0gxVCYIZFwVNsOeJR+LEzzFvA4+Dzqy9M8QaPhvjAM4OLZLkL2VtYG+IIp8T4wEvtSN4BkvZN80h/vj21va+iCeZzXYkmbxaRadAkptUqTg/rOSFec2t33XYOjIqIkQCYt98ndTEgmj0ihE2LsS2AW8c163mlPIN1OviJzAEnQ9bHlu4MTk3LrgdFhjoNLbP6J6BED5bLZGpn/hNtPhcmlA4rQtrVMrezX4tBzPIVyYZhuSEMJBfnt+imTuAuTRvpkccBz462cwqWd7a0NQCzbtsJhn1FDKNtmbnSo1qZB4QKMEzSlZ9JyB79mxkoZvpaNdftgFLebrKAcb0Y5GKcagPOeBlULE9N+4LNtwVm7N1dl32W6qFHyCdQyaPMWgH+y41Iwjg8Pi3Zm71YGr31twqkt0KDprDtVTbStXhD8JL/ul793CQ46phWJPSQVlg5r8MfDbfRSiooIstYQyfM3BOu/kR6do/D6zN1egIlc5QmmAPdBI6PQ3buH+yzsrOvwJr573WnArcaqTX9XtxZ/kciPfsHC39db7RvyIsHClEjI/0FJr+uuy60Hn/rL+d9iL/Lluf9JAMDci7bbIhvSdvIIroSqKDcNz9HK+79BdHe2AvM2i+rpV2CcjQE3W0sp3rzaS7/pZgzABNSCXtfEssfB7AcCc5JBuYOoTinBdAHh0j8q+3avXX6OAtIns8bGrzs9c3CpBMvU8xMaNlymQWGirqjVUgm07hx6v7xV5Bt3VCDffwcosu1yc7PsfP9qf+Ji4W/wOeE0zNj2GGEILAeBq7velC/kxYdI7VWxlzxecbYyliBXNvvF0gNILZvjRCQz1OcQqMfLwPoAhLXf8trW5OSGnMMkzg6mUR93DfjA5vZPeDw3/MvTfECHh3wo8LVcH7a+PL1QV0lCDHvee3O2DpEJZVLUFFqBSycF3X9K12b3dTB/xGRx2791F+f+9i6FdgmGmSt3s++OhZeXKQAz4BZvU+YyWsqXO1Cb1QKLM2rhrOOs7je/Nc9c5qRoU8i2902rcz5yVoAuwFad5yYzBHkEnZ0lVJlxIQj33nx1fHbnyXun70RIulXCVelkswiaDPhNpmvNEaIxo/1QHSiEceL1ewR1M5Qau541dGuFgbCB1wN6b+5SWS9wtxyhdcyESDpA7zqQMH76YLmirj60uHKJ819HKaYyBPtJsXbt9S+72fgh4UGo+m1y3S8Gi5AMw9bW8Ib3rFhOsoj4yQ7LA5hWCBI+Yt5TppZezOYYO2g9AFW3vRP1FgvlZTaStFuLVAm6MpuAWQ25gQk91L9s6/TmJUHmxN3oSg6tCYhF2rddCUhCo0vMHVqqGrMKXjGeSwsnLkUnoNvdpXk1oaSdKuyEC6pf3TFHYqB1/x8zVT/hhkWVIUwvJ9lzcOH7zU7I+YvBs1Kw4moQUKZo3BrifQ7EdbBZq8OQ5hW4RUKOntn7KP66B4fz80MstgcLJORxOLcZDSRgLs042LPQ6zLm7jPDYPqkdPa80REMPwZA+kHs+rUGYR78ry5H5mNaB1XjfWU3Z+j3zV6Ya6Q8FjUHm/WeXEB2jttHFcd0cZtPVm6XtuKgVNnADHL/rWU9X8OLWVlWWwN1lN7HQOaql0dLbBJEcZHIW6R75SANtXIWFtzfZB4/zpJP1seOyslo+k895NSxqevIMQwkSwCfz0idP2zTEzbKz87SjTOQt1jNH4OgRS7sCtREcR5QdoAJIHTm50slaCsC5J20PcA13Ov7nQLBFzIGMuHRmlpW6LS62KivhzGOknQrUHWK6aGJRfp3TrjB4F3smB4nCGc/WhB1p+N44vCvpKvZS7TWJynTq1f6GP22LrTsQIGflLt8yHQmUagrSEre9ctaa9lbH9DYKLhlGCgp4dgt3gw+d60gP8tbFwHupSbWaHqNJTITg3uU1+v2DK3aNRVF5pZo9FIbsvMyjg1x5HoQsCRvqlDAsgeJnMgJXfivJtekqrPM3ccrxKecIppaxgIf3D28qttxiG0kHG/md9420yCTSyd0jAYPN6fhnVbhZ9wdfBWYPN6OQLdC/l1yN+pIhTwGZ+aSMDEinbNwV0zTMxqYsgLpMGWHJpIUOBw6hBF1HXt/8EVCrnVY1ILlCjuGZWESVuPSJv0eS5+1MIzfESUsvOd1un/b5rDY+dqOhF8lOxtJziwwR0KewY/PKLgmWTEnZb6ffYmecPAzlfnEU8rhB68nJqdjHBksOd5TyTjYNAhibARzJqML4imMVNUb0z6wVCiV/OOgPIVDhgYNbpfMg6oR4yXsBMXDef5qXC74nCNygyy+1mmX2l3tNSxbKKK8Z/uSedFOEsF2BVDMJQLxTe9BRvtKpsnhQtPdUNnR/OWbP5p7J/9c3ujvQvvx76IHA6dpfY/qW1UCyuLvh/MGCPRBjsHWEO6wGgaQsDzoerrNRyHkXa+11OsEE7OYfdtpcteuuWhPCLFMKO6pmld+tRFddweRyqCqx29do1LAM1RGWv9c3V6tZvKFHolZZv2z+lhsauYIc7X0mRmxWg+xwNJE9JpTRhgKWlfPQBnP6Vg9HUM6jVQEFNYsPgfJjnHWUvolyUZ/3MMqx8kKv9IBguEHZ7nplGHOZj87q4cUc4hUK3f/eojC42YcabjfaYBeuTCkTP6D59o0Q7YC2yrdXZ8OnNMX37wqig09mxcXy6CCyzLw4OkVbF/vN7OAXhv+QP1sKtmSAscJLbwhwkf38G2xfoH1ee240VNOGUTFLAmBZBdycC1kt+ppgUFp2zqewZn4pkz5qnEfHVkLT9qeB5LPgCwtT0Dm9B0DCC8VJpp4rdKuVoSkILKayINX1ZlYu9K7AKlXMd+ovIynKVVyp7OH6+ix7DNF5mAdjk1Zm1SHuYF5aK71xeM/0rrLPDwPJNx8fe6hACS/eKNv8FxfAw2tjG92e/KlN1bY2AZle+xI6XBlOR3CP2szULlPsZnC6MrorZN9ylEUVJ/7ITbSK51UVE+iBHuAQzlsf7AeIPZwoGN312Xl7LPlloGIop4988mDPshD2y5ywKAqfK/ka5e13uCVJw3zk/RidMXcCh0rbFceVlWbF1LU9ahpm+DgdhEcmHcFt5jEqziJsKqLhemtOc2dCTOtDc+qzROWkuJmvu93FsOFz6oie8cFee61ggA23biPIa4+kVqLFoHxcU2NrkS8iVud7ug3DNqLkJXZoOsHZ8Q01jmWsOVhcPjuKMETlmBrx+UkYNDHtyE1GXf9pjJSSdLB4Fkta9aqaQFWjcaIAzMDNhSlJUJyRnUoPpG5aMbxlhmOQfahwkiaiisXBtLB2n/ateNr1MYemubAxksP82rn8PM8TqQpCUFYQIrwNrRqKnzi4r27wpGfWFxiQKyhv2qA1iLforEK37dtU/afEVgGsEIZdl/IMGtt9wzCRvoMDlPeEwD+yxnGvVfd/UpEpiJofgOtsdNOHht4eQE76Kf0yWXHgC0NTEUCJRn0ZeJ9MTTxx5thBy2CZVwNaLBD96eX9kDbAuFMGbqzTdYw8Jacvif5H68a1yZbLUc5JPSqg7hRcdthjZEz8atshjw1JPMxajoj7V7TfZvRHmyQ/vMNsFMru49WyvneWetSWwUKZDrb0eJZIUdmPeRqTDn4iqD0blIgwEYQ19Tp6nO5V8qtvLoHtBf9TxXo3G1MgbppIKjvRWAHiv/Vusq57/DvJhERqMkbY9n2msutp6Ugg072Jgwh525uMzwhXjII9DRglZxe9CD/HNNdrcAL0k4zOK8ERY16kgrVw2wKn7+oWJY8ILbAXWdsyZtTVIrp44sntTP7XUB1oRdIQuyvD9dT960kqbz9L0TS4yUEkpJFyZHHn0vZg2tdtI4iSBBDe7IROly1mZbpxGn3cvVUYSMe5+tPuYGVhqsC6LklRSrwfujEQDd6BdLUqo51MwsVQUEu3+yihbYv2B39BCo7jdVT5oYYBiZKGlOZ17zyJ1EAvMj9EYCAv8TnldDW+ioycoC5vGlKPGTwTSw7z33EyvnFBdCzSNvA8FiO0ICRG1RF6FQg3uHNyM23GLkXw5e0LKLMMqrMMEfcyqKtcKrdhboiaLJYn6Z3HNq46g/3lGAyAMKNOjpE5RSEnOhvEouil9n/93jnsp9jxil0LQCzOij2bfESebZYwSDtEJSYLkaxaOUhqCkBaJhBxGytk66c9oXas56tTVANCyv83S+pq3sPES72YacPfs2wRDN4J93bgyWKUxaapTQGhc0ylXKHaD9z1DDhSW1ym/zYIHxsddrl3Ge5SRgz+VpQxlYAOMAmJ2x3FIjrc0dlV+LbJWpbudyZLelXpufyAQHgi45sKIIbE5dwRQFuaRDGrX9WlPdRpzE7kkWWDb6mCBqT1RfW7AqYLCsYFAVqDBJfjs5AGrHFX9754CUdEq8VIYPAI6LZSLeNfk9vGbPRNLtOnCmKTmADb6jOWzQxEyVme0A7GFO6Y2mwePsRtPcgBJR4nXZdSMQtmnxdIW/iPmb1pjCkMmLganoLjE2pji5PVrXCQMVVl7CjZLut/SyZ34iP98kNbWf0VKceR5P4LWr/Df6zvyVTuRkk5La/w/KqlR/pIvrRrvXgYRdDippCQVMtxgPQKYwBJGVbc2vZC67qSpVCKVX+KDTdlppby6rl0dAPYFbvEVxamwD6K9fR86zh2oF5xFgEEnYz2q4F4/L5Q+C5IE5Pfrj2kukfair0W/uQa34bVQWwm9THgUsXjNNfW18Sp5kuLRQxd2XMG+ZhMKmUxIlE+n3V6q1wUvwiegBHzw2WYvPwPYY/F4jFLas1ZSalFHkHJlYAL1kopKnDFvQUo9hSFoB1TzM+FoK4u/VHfwxZFZM7uktJkJs9ZnLTGhgS9mMFzzYLXoOiABClA4Os5eNUVwppKxgc1Gu8ZsHOIvXagx4nRHsmqyqviWlQiUQ+4XtAdABnOgpgwLFxA0U+6HY+vSMQJmj3GJcm4Sg7zrMcTcIUKWCZPWR4LQSbKP+ZVX5Iq4a2CJY5J0XQJomePDA94+11ViVifOA0OokFR9xBukTIETDKKgGVsbc4joEb17UvXGcdwo9xYwYRvrvoAvPpskXKIXAglHDDcySc2elg5kRNM9jirSP2Wcy4YTMBWi491K/D4dNoac1AehedPJT+b/Qp8ATwcGLNvwnitwftuwKuSBslj6JxMDcZUlYkMYwlTX+oaOL1s11XUVu/a/XoVDTIPu9nYcNQd4rm+/snxay/PlqP0/sadt6MeQf6XKkVQItbgSo9p9YCD6rCknQF4brgb3P7SvDlb7ff45a6WvjzeaWB+1sfBkpP0ER9T+vBtzBABPc5nmKzVtsqYKG0pFofzoJ/EXcqniksVXJeCC9HwKPlM5a7ogd/REQK2llBNVpDmYW1sqtVR8xeORMvr2V5rt1ghnADjmhnIR6X/6pXku6EdxLQq6zfEDNiguV6un6PafyXSWiuvxt9CXTflYIjiyEHDa6tp8EYFu+IoeAp2EByASlLXw0VtlqqUyDE7iNOZHg9w9/OlPuoXnlDoFHnNZnlTj/1gKc7AcaE/9gmVuNZk39rk+iwu/sf77W/4bCxenXdkD32RaenHu/GBAVZrkYknOP88U/gt6B30Pc03DxC+pcjaWY590Mk46xWt+PQypdl7u7BiL9ci5d+Pl9PkeYCcuCBouHZmbfTEQHCQWAM8YhFoDZKupZsvhEgHQOum26EhydPaj5hpoRkxew4aPC1Sre8+X9fWhuE059AAVDdDAuUl0W2BrlZu3Tr+BJ5rBTPBUwvblfEIS1FTDqWyKO6L5jbC/K2EMXO38CXoYDrDnJkrc8Vw9bAxHqOldRmBnyuC4+CF6vf43hP3S8sODYs2YRAyMv00urApdHT8juBHCKD5UgE13a6N2szKBT7AatEC2Je2f1rIOoy6poDBVmeaJPX5pc/m92zBGcdfucO+wjRV3aW7WLJ5e3Jje4GJxKBzulL7xGTrQePZKzYYHSaw26OLZjBLVWq9bRXV6XSPE/fbVs8EeXushbuda83jy9sDQcqHqNWkEHpDs5e1Rgu/fK79aKiiXF4+rOmfboYc77pMZ3NkkzcuhTUWTccPi0sZX00DX0zcRxamImUaOGrhOov41lOTsOWLhM6VGzlJh3SxOvTml3qHZ84G9STC+btzvrrAJHXCVCo7m3Um0ai9l1AIPeDoBvSkxLqOfh8IomuWTQ65RzkrLOFH+5SqzzDc5V/8pn0I2Sag9a733vyZY6/4ySpiOhBmTzh7Q6o5GXlAR0gfol4SnXEXDma8pnKhlQg4HsvZlTkk+fG2+Qoe+HBgiGMFQItHsYACOK9r5mSAX6oZ92kkb/M9Q6JQ1CwYWJn3BXz8wO/5T8/zK7BP0aP0E7zT+YEzR4t/uRuA6AzJaOXLgZpUz4XOeRAR7vz/+Q0kTKXnJ69cX0pidUV+NlSrPAVXwGeH2ceAc8N7pnzZznnEDBeZ4H4wnawUOy2beuMnZ9yhgMowKD0gBBWXkEvGSsCD2Rym0wff0lNxmF//wo5z5veqers6GmxyqkT4t79bFVLcjQRSOcX6yqJIx4yOktyPNS+lSpgFRriZ7fmnHoqLkfPH6p4kkIWdWqRRV/tie+cbtPzfEt/rk+ES7Qj22qyyRXk/FxsaT9WQ7Of3FdC/10MoltA1zZK++swmwTTkO1UkTm6e6ydy85mpLyvaohGOGnAy21FftGKAqj7A+YrWvO+3AZKmWa20L6sTvghkdmO0/MQPU+LML6saYyXiACbAna4moEz7d5ic8ERHx6H/lwPEYxfbnUJEf8YAy9BKgL8uDnjAx+RLu2s2gVTdNond5PYvxSa5BW4QtxvfL9+4p94tWGudTA5isOcaYBywJjwd+eUejuW48axOB3GQ87g4DVD8LpOoL3SZc+wGcVSAizX7bROS3UU0cyb0FPsm89qfx5R1rli9EwfQPWk2LZW1LuUvvvCHEIEFW3cvmylOVdW6QE7AX85j1Y9Acwn0IyzsaXvViG2ujd8V/AKL9/xzIoBISZs0OohCvSdknczfmBwWX6VzD/OodIfMzbz52n6drL5i8175wBv8U9NN1who2FpU81CqnGXNFB/y9RTGSYWZYnqR2frBeBF2nIjRBuOm12+42em16vEza5cwTAV20aHUDQxw1gZ9wkUMPWM29vkgp7RpIgmxqRNKjJ2KRvvtVfosp1LzI27DWgsZbEFfWFA4lULRWuw9g9dmRuR3hPka9XTYQ5ZzumL60xTVvDWHFrKz188apu6s1G3h+yh1XwRF8uwqgHRjUDxPrLD1P48HG1pyLjGhUtVzqlfYrS4lpirNCT6oHb6qHPeSZd2csVMQ0SDE1JjEpbUse0qPas1wZkesR9jLmGcRzBxVbwxNxe2SLJtzVxpSxOyHOtsv2fyt8W80+vNaQ6w3Hwwl2/tKcUR7YbLDgC+xARHhWjyOTtE/90cU58tfIjq1egYpGWPer6/ghIccY4DDbuKCLckntGLvCFcu+9/j1UAfmWgYr6ny1tBsz6EvTK7N4AENOVM13xi07W7I8pLVpRv8ISEqj6z/aBHYvi+eBQmwP/qL0pmYAgjgciiDsPpTl19e+DSegOtecK9T2X/LzHAwnAITppg4fCE32qtjZglT9GpGLWcZauBcbAZ7Th7XKerjM9Q2480B1PteJtVmIL5/Z7wHDRSt55NN9IOnHkUQnozZWBj5vlDdFjtqjfd/nU5odCo99L8vABT0JpAitHGN7LC1gtUZ75HVTQWmAVL8rvp/ZffTgNtk0atEig+t9rrBgiWNMhtNvlLdB9YA50mbkTwpmVAlgUcbiS3rhi3CwETF03AYptLLY/X5wMgvrSU9DqGNdyBmeEsikwPlqiwH225sAan/vY3x1kYtCVOw3+2h1gcsVHAT/DMp9/AQGTbrnXH8YXQ0l1FnIBJ1dxQ1hn7GTeUNLLr006aanXhmRyM+eBVx7JiiZzvanQfw+54uLdd3Btkyor7y9NwQZRmBvUFqvJNbX8fJ18bAYvs8QhQdlM7DNKIcXy6oQL79shx/NuUoG8xJADGuFfdLoJbITAwTeStXtVfT49GwRBB7lSWubmXUHBGU1T/wHPh5nAZsy4fr7peHKnw9JzYbKTTB8/aTzfpkQEs4DonpPKXkVEWCBGz5iSQN+IBieULdNm/qXUBGVW1eAPtnkd26ZFFcVV+wINix74aW/V9GJeD2sgcdK/Bsr1UCp4zrK7frSB0WVb8fxwS/HyyYRmjTrRmqaQMyhTNwnRb6fYSr8WG8BegDh3XhyP+alR2RbmQ5iI/Let7TePhse+yMU8WT5WIGq2ykg7/tCJULDpZygr/JaZNjvr4YpY5zkNRndMqFYSw63dHJufA8DvsjJPzP6eoK210defRaPHhb+6FQeun2x0GyVrW5jL/E4LK6xGU2bOr3uWW5XVxZwrtCqKYwGAM2hu2aXLHDQ/+Zoa85R3SiGe2lgGQOwMaBpYt1RcLKnPxE3WEi8ZVvrcgCdf14dk+G+lCG3CwThAJWlJgCTvVCFC9D7zZCy01Xn2Q8JLdoCAHIb/0nOeMdneSStmvp4ydeDuqUqApWrIH+to5+jcAtA+DT/Vw5uORgjN06jAIuM/ZIpMeHXZYnu2sWvjc+ZJXZMr5gtrQgb9IjoKKoUyXo1gk+47Jqr56CaQfZWzhwNZA3V+0ZMKSiOlLiQ1XqkFYgiU+m+eZNIueMzmFclnAp6OB+iizG9+EzKbW0tgewRrEwcNFFNjjc6j1HV4sTjysOA0AL2AllAazbnzcxFPbpUHHrG/C/e4kRjAFE3S2fXQ5/R1kUVQlZL8b9VHteNrLEWBou2ITNSbCtZ6dn/PMhVJ8oF0BxnBwG1eMpb4g2GQtjqfwsbWW/5v5fddd2T8+ya/8RClL9WV0Tik7Uv/+J+fQNlPFBxOTGyiz4HaYhGNrjmVSZNhgkIOz1bPZS58ClWemGBl2OQdaCsb9mYoyXMkX/idm4q94GbN35vdpIMp4SetLWQtoebkmIRI6KWkiowsHN+S3bCutypNQ/E9NPU+QHptoF9kYgDxeaJkh2MMhRMS2gqopgfy9XaAet0BiSRcuI2GPmHhFT2r3SJO/h8EU+hptZJRo+47XTqd0h6/y9tjrH3gMhMysHtrWEWCN8Fa7GW3+zEKvrcC+WjURTx7bkyxf7x7Egt324k24OMl32pswaX+H4icUAFWG3mNhZaQdAYHvb8AVHeFZ/Ehau3hxsZMwhBHCHYb4Er0pZAzt0REA24UylJQ1CALS3CiB3HCiVGWYdaHdG1O/h6SfVebw6eAAwx2fcIBKu1EDjveShTb3BGajt6WWUVUMCxd8Rwja0aUPcRdcvTFovsz/AcuSAqiegvZo6vEMtm1sIrqBoXRq2bhfXCLqSHkVmF9WSPHE2PvIEyMVyG8eYact/UfK3y5pPTS6XB1o3p5PbxWXF9PPkGFEc8ztjWXxeCT50OgQWYQI1CboHk2JU/y/rRuNfW+HEcO3fWYf0aPQvyMKn6QS05Obud4N+ip3dvxk0OCpmS2enmyGWAheBVg//Su4W0TrfN6CzMOyKS6X8LHWwhJwBnDkJE9bwbPh4C5gp3HSFYKMWh4bGhtuofemsFa33Zs2QZihnIC7bdLUsuQ6U9wmRd4AtjYlGwU7/J7E8+BJWPP5en0VOW6R3aocUsMhsSQG97T8af0kTInvkEq3Z8VLYv2PEESuO3MrMKbFQhfcrP6XSL3X2gxY/TX0NkNxX/b9GNFJIi0s/PPVyVeREcQ6HRxnQ7Y1uE3lJrnVVg4o1utQpuOHJ7rgDtWYk3xSwqZ6mFZtDQVbsSCWWtdMXcd+quHU4PmNQJ9n1+Co+xkpA6qj9kGY5n0ISUdSZw3ohgqzzMdNM0HUgJn9UYStQHrL9r7cptCTg2EnEOI0faYXa/W0jQIP62ExEWUdxJ1lkhheJirscQGS5EXHij3jXm1HJLmAJEBzz2tnMxh4u+uMez20MpT7aulnLUdA9ktFCgxCvvNYpwdhwhZw8xOa4pGFe2SVg9wUqoyTVOttbyUjdh/RVW2Fk2EVuycPjidmKRKBKjceeI4FBaOmI19//3RYlCkdFEDX+BvFTqrXwc/hdtzTTdrTn1BBW2HWRSOLnmwtsh47x9u6Z/2d7ghVpJ2NFCgiXrCV5nJD3Sh+aAJ3wD54Xt8pp5gPp4az0HYKFzeqnsbhaSbg75S/P0Az7R+5VWjDllOGyijj0GpPKxCvIk0ImL19GWe5Duwm0RUAzCNk+piF53sK/llIwUOLTU7DQEGdiH6Ho7zXCADxBxbUuCfjY6sDlHlXEyQeHIGKrNYGtWgqPqSFek52FcwMmUzT1dpDduC9o5qHeRPISKhUQLFT7keHy1w7lV4xRCfbbe9xL3a5piRx8MMb/VF8WKaNP0ummaTdDye2DjeH2aVFA8IY8GN2PCp7OhxRDDJ5n3iLZVZLjLcCpAJdItYraevpJpKD6AY6tMGGXpyrWLxN0qZfthM3CrE/aA++My76u88elQX3SsEpjvWC4/n/dp7k8UvNEiUuvHmIbTp7qB5G4eEa7WmpxzWfS0jcYUBqmiHs66OsoCg41mXcXvOQZ01WFZBRB/7GOEvuB+/7K7ENIE8Alwib1jRxMyFMwRc3DY+On6FhyHKkrPdjJT4jFLhLbiwWrQgYOQLvz4mvVGrs33v6Mnys40yvyliE2rx7CjLzzsa42x1fy3VWphZe9J2zNtYm2u4NmAnUARfa4yl8Yp46yF4ISWPdqmxpLew6vd/jS6WSjUCZtMiEwcZEtPXqzEhGDeP6qwWEUemqybjwB3dpqllvcOyoC5p/fAJweslWnhhbMFUgMNxhazzW07bEhJrWDZMDBkOHYiLNFqbVTR3d5bRYWGhMET8x9ealxHJT8iii6oazqID8cT1JKisNF9MIxbHJ3oFdohDaQEywjRd/uKk94p88S/ssZ7dg/EYIMqXWb22Lp0VPDa4vOTH30xixye7EAJJSu3VrTmMcI0BugMhgOHujp+SaJDpPmUIMdsN2ekF2iAPfVUTgye6yGXbXnZH7M5i+KXydP0FWJ7dbsDmibwpTEu8MrytWkn44QVkjAMqKfI/oiAQaD8hgQ9WaVTWMjunYz08SzxsDwL+a8sRyjvlibLHD+Dt/IGSMPEVtoj3Yl7yFz+VaoPwFyUR1Hcy165zexhNh/Fmq9YBMIDyr0M6tDMw+YXZfdb+iGP4K4uPQoiJBm8RdHzM4ZeRKoOsH1AkbSfqmKk+HINhScwl0a6pixAstZV1OwpGC7i8S4f27nes53AvezHEa/zKkkzQrgkQRs2VfkcO+JEzVpDOZ1QxHxUNJE3ZdTHfNEO2zQm8BOo4/DdVP423i0ZiGuBcaxvEnvwNm37iM9Xbb85PC4W1RfkU/EI82zI/v8wg5Kd3ZfQJyjnd8O6OGD2y19JSw8peQSlcz7Fhvn6+ep/+kBTJS3bcbBko0SlR30sQmo2iydVbKjD5M4DjsSsr1nHO4s8bdsw2gE7SBfKBshGAXOxuzoaYU63b0B8wtv7sg2WpzVcvJHPvmCFn8an6Rw7qDpmOZ6LUTHyHcO2upr/FpASRytyrkq0/AwogcqG6wXt7rUOgaRvoi0CSUZ45mB2njTMRIoLtfsvfvERJ7C2Ps2cR3O+odJJbBYMuRbepQKKkCtdCFJIXN9yLYQXiP9Nj/L/73yoEqc5b1sHslR/FDSPw39tZuVFnxFoZmEmCTiY7feP1l6pokKPaBKUDMDMlt3H5OAZayj+jxnJxdcfzc2DgYYjfkVLgzdcxzLDWtSH7NLM2qylORVYFuyGvhzu1irU+iTqigUtccwxa9JdmqU+10b6WwivyRao+iI/hFC219Xc5AwaZPFNbPuUW+8hEM+vfkJphIpKFOqD33kc7xNY3077vn4QgUcy2UJ2WmlDtZP/y/kLqeeJu35zp1JeYgPO4kLCSl1UNOxaIORrarma0C0NW1HW5lQLcOY0LYQo2opQbOD9nO+OT5NHO8ODztbZcKjPScreJoHRAt6vF21VN18CZFh4n+XlnmNLIXmv8EaawOJYdAolxdv1/eXlFWUaPHBdmn8mLW+oc/Xoip99Qdz9MQ12dUmU8tfSgOfG71wfqkMq9KznK2q62IAE8ZvvUag79AZQ4OW2SG9/Rs1+xndQEQCIvhElxdoubCrXmwFc6kNm29SQ8niNvNIUrYAeX8Qsv76SoXnX7bxJ8Is1I1lkAjP1Z8d36Wyjk5+WDUZg/VFVNAhVJfEv9iMkrlTyL2iHMD9iFmiJDUt69dKhg8NDCktvkR2q7enGATGX/HNUuTdR9Ne/7wjN8x8D/Cc2DU0E7fMjkfZX5bobOnqxo19wYSbn8ZaunrFxk8MOjPthkAJYqunYzmewac8DomEYuF9kuPfjWuES5gs08STD/Tpvep6A+wvdg7BItANm5uZhhz/XYRwd9lJE4sGBWs9LKCsdyczhikcirkeA5tYZyokJll0ZHkrgZ++AjgwuzxuLspUBdBH9k7pBQjZWeJirkHb9CCmWlNnbSmfgrZ5l8O5dT+5nQkTfxr6S41nCl5mrVMvDzLHMOJh5vL4cKMLWUdKX4rAeH7kA5iKQ5YsXxycQPN0xuASV7v8LtYS9gk7l85LUuOHzxcLUN+RrfqarbZ738OUfaV+RfX3XN5EdQYRz2acMNsJ2yTsOU5mzBjp0SM6rhJxI3SxRNuIBBMWwxX4leyiQrHtUl2d6U+82T9a9SFwrwvqY4wGP7Is+jYp+CrRKa+VoJ9LmmZcZ3yl7l22Fy+ysB14rjcT5OFjI8mRQfONkk9DXt3Jm7/LPFBlMUJ7BJAAC6NHCKgVY47ATJAB7FdYXsLsRTBKaZHdcFismqnmpHEePzSNOIU12E3mIux/edvlltoUoKsVBIqiiT2JmtotI2PjBWRnYWyRPGdxC9Y5rp64JSCyGHYhJwhj6oYgvSCdCnNggHZ8IYCFMvelpWxmWn8hg+lkN6W7oJCGp2uwhEnxbsCSZ1CzON5ecJE3Z8TX+Cd5G0UfFaA4jxkHdzJCV1KPIBnQrBIBIbkbzURSOhgAKjyfvr4cchn3n025hgEd4HG9Xft5JoMEnRgqgkWHzwbMYSwHXid27Rzacz+kYLclIk5ZT8vXk0r5/6uMWruo3463Un3wOW7XkjqzBOBzMklolRqDEF+X8Ns2PsWNMmSA8Yb0M49KXisdNTAxllKzEoXYf40gsd4rvyRZm1yv/fKAR9zIUd3IjdyyhsByqcquCsQPX750sg5nrvde1PJfxTKfLzvx+d2JLgenBU2fwE9ug66fmCIzAjMj6MjvqWBF0k0NeDHkvt6wzoE5pbxKOIHEbKoLkcvxtWKsIFE3DcvQz5jTS2SPCZ6vILfQWYSMXhceS4U7xYVOMZR1FSV+GgeA/U/4UiFaSO0ZMTxz3jks5Zgz8C5tlJ1b5Oyj4OkOmKG3ypXRZrc8g2Fp6Oxk6/WlC3IUR0grdvNiOYRjPw+Qzkk5ZI9NmNtFSVQf0wEXnWfYLFjyBrDeGmiW6FomNb87h4X4FL/jkYTiCWdqrWmm8yX0G1wNJ6K19qbctojR+aQt2PAiZTg8XOQm5Ec+qaWggKYG4nOptZJmcYaITbI+UyEICFl6v8nUxIrS1XRQApDJylrheZ86D+TrNkVeE3IILUyEAJE6v0lcyVWlb76z4+ctJiwAwdDpMKc5h5Wwq2Pm5tDyuEWHiQE6O8gUTYC6GgpgVKUg1UXCyU9JTMEUSmxQVqHQwkPGUVjERHInJCEyPPenwFaEamWTniGhMYa9hm2xOscYuJ7a5ZOGMSwKOM1X64ypL1adZHL19de53uvGdb3LC/bB/1ANwWo2erNUaAztNfisGma0k5SSN8tt0NpwsHMTITnPWfAwXiZM+K34C+9iGbBFvGLH0Pf6/nJBrTsKGWT6VKqYjzWwjWDux01GPNVdKx7oO3Nq2uMcIkxuWZqH8PAFdYz3TpYrfNPprMFXaGnc++yLEDOV1HpXwXVmbRyGpJEX/Ti4KiA1MDx/JIJUDFmgJnaiPVcsTW5XtgM7W8dpXDi8zpg7bbZ4+UtziSvzju6OrcTLQCWPnP50xxMQitJOip9EoSGP/2NrYcIxl5gzOfzqM0SlP9IMXNamFp2GWHz49a5Kx0k4T/ld31n9gQxNriRHCCe5Cga0j6VB9+orAwfJGK09YKD/npne+tGMtyo2wFR5yUizvz6wceUcrqgqvsvECv5dqAYKWUQNqlJPcvQ1o0MzmDjxGm2/1XyiPpb4w4RV1fC8GSdjj7qX7r8leT/vASgmt4rKWGlYNt/yAWbWDA4mlSsoJYpXv2zgNhwNGjErTKDwAhWxAjPJXZGyoot0hyFI1lHzjl/9NI/5+kzBPFPnbXqiRirerFLtt4KPdB1k7aBp+nR7gtlQoNUVrngj3LclTgy5FXfB4BOEodskS8uzLHCkyagzQ66DpPKPILiOZxWC6Tlc45/S8SXREvc2Mv5w+JzRglW2Moo1n8X/YAR/bM2O+b7GaqVQee6OUDCRDYVeMcIgldda8ZkPu3JZiwW/yJoQ0GjMGDNzPqt/flttUDjqOzohUQhU/vmxgKfI61agD9ZLTq/xxR2261rkPHU3qdWJTz73pQKDOgNzZhjdx4/tuEYp3BcaNa77eTf4d/se5Rgmglkd8PhQWyGdKQtlbRSxgPG/dJYz+VkviN5jY9PYgudQ/c1k3mXucg0v8hRIDnelUTwkAmAhLzBsaN81cXwuQ3IDsoIe9C3bOSrQShhhCPFWd0L01I4PupokhjQZH0FUL/RyXImFZc2TK1+U5KsQOGF6hTrocwRl6YaMd1/y//ia3JLK08Gl7ARQH/XX4Spln47T/cCGXyTp8nsh90Sfn4yFuhJmiv2zk14ILDy+2EmIyxcZNhH+CiEUiw4dX10M54/CQ6gp4kbk37H2hjIR83IU0YIjTreTtl1jXJcdtRZRrw+Kl7YdqY5ePiFpG8zm7URZXIy085cMsGpzMDHzuP/x65ak80eqiy4WlGeg6oYTyVF/Hg3ZVCxdr5ZpK+7jPXSpBmBeao4mAPUXxzqpaEYSEQ0Khwi5nt607wZN2vnV2Vz/Y78LO6lQ+StevENyE4AHR9QfE7r4xnTSugA3h/LU90j84w3s5gr2BQahQhfe1NnplpeWwTwlOF2uZm8hqFTJG2fVldjkksPLN3Nu6WpUk79h2NX0hUygzULQwVzaoljhou4PZMxlBmONeXF0fe/uS2kibzWC7HANYrYvzOcpnU02OtKm6zJl5CRLea23vSFgq8is0vwm60mN89UaQXNOIyvKMlhktbcm8KLXE3uVD/MjdUBMP7xo1UgDut4RjOZsaQo3gUKv7qQa7R7hlSoJXRu5k2hnNPcYG79ANhAu3eHezZSUqRMdjzVzgayXajkzzIeAAl9rkg9KK776K0SUihjWrXWnqc/s5WClzJW/vBksVA8/E5srBUfTRGdcK7P4/rB0h8W1MXpJMpATWDSM0HDeUVCDq/nyusMUhJUASaObgzs4DrXEj7JRlBdAKJz2s3y2Bft/zjaWXdzjwRK+Po88qjQz89oZ2I+g9TzvZfx/Vxhg4B0OJEQc5VUNoypjQu/OPQBKnMi46fMQb32eAnyEi0AehDske6N+kaGhLDu1O1JDCGCqpzVMpyKD8xZ1BmAMi7G4sLLR9l3vPgQIzIRJI4yAfazckYlgKFvBdVT/Ar1hA8jypSBs0atdnK9ZplWIK9Iias/f8+cG8UTSePshIB21B/dr3TomHhyL/bdZjbXCKDKyvKOafA2yTw2x9xRG6u3vFRjxmlK1c/dv1IGOZ58RjTGUMVC5juPGYDEOXaG8EhTyw3P05yX7uJsLITDSBhmU+FROJuVCk+DNcjq+rbXpbxReRxcUsScWkYxTm6nYib9/JElTHT9xLM0NiuuTO8SCNr89/FVhcjzh0qR96DppvsRDstmvW3uuRHKxpHK82F7nXIFFT/vH/7/vDW+18RK/dXdVsSzROObn28fclvo61sjr38IaQQCiLUm0IBpG8eASyZSrbuPTQY7MumjBbPMCH9FmS08+WWNAtIegKaccYxjOWC26pHbyAUCU3A40NLTVT+B1SPdX8rYqcQ3OrmhDauQKPckoQe8o/T+0uiagyp61etJyceF9o+8rjYDr5Xg7DbMJY//X81uZiUhNRkgwiVqaGQ6B65boPB3qSBoCJEb+eZHxQsSjnS5qFuKAl2DDc7Oxy8buqx5ISL80EZxMhi/7Lx8DlgwIh1jC0T9OZ5vzjZjN+Xr1hNNX3Dqkopm3bIzZ73GW7ehMM6iJ5l7a7WG458ucdvjWOg5rI242mxxy9EPMryGIcpu3JYkSqiivhARW8V8UvNioCkHJJbQXzFjmtHXoGSWPLw7bYx58yfJzQmmo5wq4MpQ+eYVWS9EAM+8tzRLFLou33ydg57WFv8DO+/HP/AXZoC6blOuCCeFEhqeeSOc6t1vWrWJZ6whoCrd1faJPN+jRmiQGAcP8gIgaQI6XXS7t+MU6Y0LD2AzVTZpfV4niyB5GA+mIKtfZZJiG0VTpe4O6cCzQ7Z0lFMPqWBDY5ERtXctL6796ZQNr6dY1r2RefngeLB2AcVix8Ig0ufO49vmRfH2FYh/ZpisuSsvexcs2NNjK5uw5F2RwoUNv+jSh7f0RicUJXy1HtyEu/IPEl4vw3Xv6Ju8aS2q2tGMZPeux5d3q/PWGH2cBqAhF3aZqTAGHX2iSvOWP50jM5LIn3FIlQgKfObI9bcr5FyZd94fdq/HgqNurAqb0UVZmMIBHoHFhpbzyHHSysCbnm6/TkARjxZ17ujEiG3ga66NQSg0q/hV20+PQSk50/q4YADP98KMrpDm+SJs8jfL7XaozYP7v6pP0+fQ0jQm/+Tnkbp6JwH0aGakgcM1nZ3dyTA5Z2ZxH9sVtMKvfNW0IWFBG0NCFCRlWHMj0bo4udPRJN6ipe4u2Xd1z0uysfKDlnUA+pXPKW4qW/CJGH8iKjL49NeXYBoQadrx9fRvpulf3IhVbEoL87vZFCbIEv7aAXpsxoSrDb5/dkeMGpDOOrTqu8E1XJZ7+w6JvU9HwNjUtRSGyP7jrsvYYireymqMiJXwqAxCC56dFcF1YWA5PBbotn30Te/J/RH33FCQGWQyZHkGbxf+8D+nBQUovhh+230ZINNRSoKBqHf3iyF8XDKbgA4oFULWFIgRPeFWeVbVxvpUFn71jqg4zGDk6AJYNRdgy3SAD8hi8k5ySuy2ExE3DxyyutvqKfDXYCxAwJotukpi/tLeXi7rKVNWEEzFuszP4726ZqbPFhZE89zjCYFn7art9LOM3a6dVdOhapaef+cPPlhwY+YFI/CppLRlxw+XIYY03IEua5rTC/KRmhE4sj9cXaqsQd641L/HoKPN1S6NDoJSrMSpqXedOPTWh8Bjg7CC4KRT4v5Tx8y0UmCnnikIuKRlNoVHJjx0uU4SxP430EnXig9Rr1bBXVxIMjJ/JcTNFDYTrcv9I0ENlMRihRjXhq3JjorpoYzjhF2VWGO4O4uEJmeJdqFbnJxX94Q1JxwgKQsSZuDv/puUubgcNI+/S1/SRAvOi4JB+yD+GQbQTUzQ44bZCC1JAlI11DCAzfl7kidB/UPh0s6LzMmowBPnI1aTlP5QTbqCV1GxqFLVXHF+p/2zeuH2nTHQ1nHvDuXG1GVw+fkjKgPqQhzk+5HvkA9//j5nf/8r9nuMIhri9Q7NpXSoYAUUjxJbmYvEfJYGh29ZC2UqicEi6JP/+jhAdGHarp58u6YBp2HdPhcIc0kDxa/20qdNfISKPaBZJA7tnngds1JPjBs8pL65IiYyaUHrsE2dx+4wh4FOWJ6qDsD5LwC+QJAXnVhkeEl8J5ZNg84MNkJV7e50ji7HPQTvUo1SCHxZ7LyOOIdcreLysITcrXcUiXdVKVI71tKNk9AJ8pvv+yCtA6sD0KNKkNDiMcSVv+Lr2x5e1tx9wsTZLtx1SNnQG4LiS09JMJ5t5pxO5pBvEI6w52yoK9UZMIOcvHztzkXmmuMHPKpew8W97lQvyNeaSgY2QKrXhc0kTQCymMtl7s5E8YOClB6NvSf8YKsj2LmHKWoJ1YK6jXTu1ARZ93V+825vwmsk2kfaSjk+sjssVzGwzgd3PGvtoDbgjNVP+y4DGDWq80JQADZqGTQtO/RGLMlsguX2IonItP6QtWsAGicPrKbL9MD4W7KpTrt4FNntHFYraVh/FOYr/nU/ftEgZS0Pdu1DHp0xK0ORodhVeMYK4dMKpYBLbYeIjyCmNopbMAMv1HbLweOsVS7coUN/7eqiDvAoqcQVYP822OsUDDiHZYA7EVnucsfijXq6LPcecn0zOI6ZjfiD8gbbrzGgX01CThDcCD4qHwbxy8uuDeBpaBSs073aGPCARo9zSFcNR2n0vi+HcDkc8dAP6jnC6Q9nPIy1rGqG5p66vA20ZqQRyRAd+p5cCD46uZ5EthCiJFADtUlOgB1OvmhljwdCml4xVUSB2q5sllzY87GTAHWNtpD6TpMGShTkFwyWvnmulmMFYmLIxUVl9bqA/tQorHVYzqFEEsRMbf2ylZGCKejSrIkS2R7zzIRdAoJaU5pg90LNjHTG7MTmCuoY0FUp07CRC9mGX981oUK6wNAQwVs7Ms6Q7+E5CK1YFR8qqtSgxnD7gLdNP4inDGxujR0I9FZeem89vbtncd/j8r59QEHZGUSC4jEoosWoeYMNsI35PAxPJ4X3Q3CmTe8TDUMxr05ZMh7ZwQbv8PNfoh36Vg9kAp/cdja+3PQ7KEBCqq4074xKahmmBPvGe8n1aT4gZRxWLbzMFHlTO2nW2v1mn3ge8YxVxfVjkRMSD4jevqeSYaEXTfV5CmxZ+uen5hZfSVAH8vLsAze3p6tFZVuLcx1WRpPtNU0kr7oETDQcB9tM/XbpBSpnfclrOUz/QpyJA/87oSMVcFI4QMU3nTWtiMF05CmgYBgqIYokKUeDOgIqXCxlWUvTty6QEpiNNIgEb1EFg51LcEBbPmEvbI0RYjBIkwYECced3HiGjI/lXWZFmaSI1gW32KZBIlbeqCNLZ9d4AyPqX3K/fQtm2fvsz+oX55f+g9/4Ir7rNATBOwwYGO0vphgM3sENtrT2BWm/OvR3bIzypL2Q1rqXXSdq9DkQS40klDe0Iimyw1bIfsx/Mie7cEsmnYEvTLbsLfHy2gmU60OtYGe9HzK0S2qQvUN5gXJlozVgtdiFFUqyBvfJldPr+mvtsgzqKe5XIthGAkNZsCn7YXXMe8FDrtfcN6pOt9sx/FDQsamVlPPSbfhxBZQZweCMQfht516Zgxje9bzEQLWLNCysem1e6QDM5prmBXaUlHh+l8tE5HNny2dW1cFAS5pTS3oICU5Fza4cDwbt7SynczmmpXa0EtiBwQcxOirEhrvMjJJvNC/W95Uw6uTqz4javNZ74zievIRxj+KNeFB1k9Fa5pZ6dq//pBB5nGuoANtCdttDYgKFOR+Lza+a6k3lTdto1LwqTC4tKD9Qx3qrv8LWv/2q3HK+nT+4OaYf4z/qtOk8+g8pfLYuoo6fCvxK7rXGicQweF+5/LHevJSWh2DR7K/qpuZF+ye1tXNbtH3QPm4rIF/g7KKB6OzkwgB/ZOVvddzOCo9HDF8XsbkHf4NKhYCElj5iaoYRE+JaARJDXk+kX58e88sSzbkq3hgYy1mn7lSP1cQN6rkn1sm2/MBz33gwOQuR95Ear+WSj/QtOIzbvnOWqgJ0Jk4D7wBdwpddTLzQ5bs7jwh45lt+8wCNiRxbZov9BInGaGzrGg5NkGy16z61T/HxXpB2C1e7Ijc85RjBEQKuvi/6qEouveHpuDO79cEYEwSVpmzNPLdGyRrdi2GegHo/n4gpn0CF/HUuu/gXVFAptCM7hU1HIfEJk9KIeGtScfIAowxMY6wdg28ZEB02b29X7b7YfPlF6ykz93IQx1CyO0jWuF/2piQi18xlmOdOcRSxj5GVH69TbnxFwzd/+CfKTu8mUvEDuwhmY7OqWxa8FCH1U7+ZVbpACBotS+xoiQgjm6EwnzYE+8Bkgmkvcx18xr8B01+sG2Z8QibG+GJsdavlK5GycdimzLFWq4uFbV0/h7T2IZvhYWGBKIZDq8ixsrKZpCD4adC/cEYnXfTxc73ujIaDp/9uJgRdhvSqz7jeNw8yTrxiQrmh7WJDpwDUXxkWZt0NeQWS1RMOKvjyUomo5kKYMHrNPHTTzPSu916zRQkiofUJh9wvYjVJK3cvOV4nNlJjjcBz3Re9h3ROIzccyD8+T0ykl6wv9+MYR26I18b2CiyRKAHUjJCzz/0qaTyBR/xnQrBQq25FlD0j15+QZdYtxQpDpafdKU6Fd8yeY7UNAx9HBZdBKPuifcBgQ3MMx0JkGHXfD5uLrtN89qqx2VtB1LUTmZxkQYLlPfxK8jiyTzJ6zyLPr/Hextj0tIEssDVoHV5SiubG0jnvL7qrFSC9ueuLiZrexK70ZqwnJWDWNqRoxAs3k1QuZGgC8C8+h7YMqauHbTSGfHvmdk4fyraGmnwgHqUPhj4FPcHgdrJySV7n4Wg/Dex9wxw0aASqMDRPOiBATsXvfCdeoZ1Bac+GrtPTlNMFqaf2LuzMy14u60FYeyXON6YvpNJ8Xzbu0FOBJ7W1LS2xQZHeH6vcZWdBMdQVRfCOawiepvWTf/Ny5kp9eyrrI982wzeLWACKfDNPwHoBr3lRRUSifje5BohLYYL0P5JvSAmFNcUcf5S3ZdUb0GSspBfj0saMOvK3EBRtgU2GM4Jowv/9JirEV+WGyQFJ4aeXEod5fC8XE40iOs1glpMZrc4DJQokzf98/+qb0FY2PMnoZiJnPYdVaEGG1UtfB6sHL3eXJ9e4d1En7SBzB8Eo6bTiwpX+1pl/jk51Ir4qBEhR+Z4s1p4zDIbczYQWjflfECcyKz+UK+XICuRkaSI/HsVxtyWb2urKaC1LnHslYG9sciHqrddRKJrfu6AaXSMRiCCN6iPK/PQ2TMRu337llT5HUj1ks7f3xCmPz/ATbX/+RNUi3ePfXOWETS4OPEd2tKZBfhr43esBqKg9s8NqdXv0BZT4gVxka59qZTvsuIBiH8oCJFIQYjhVQlWYkpR9Yksz+aP8FkkFg8cdvp2hHpLLYlG7p3+/Y6Wb7d+hxNKd+3t1rwacp3rPhjkxEJbxIr0s9x/RQ528xY4Z8Mk06PtN11YVnk9ZfQUGbhw+2T7/220UCOFE90NwYV0dtlItoSIU/ERplhm/sYR09sGeTtaWApStENu3tzn5RWvGwOU5T4c6Jbic3juqioyFxLo7dvnQL0dfl69awRN5AkI6SUH5qSDxCv+UJq86vd4dT9itiH4wMMdKfsfKLslT/8aMfWHsS1B1ynXL26lNMkD6n4YfkHE6FkdL7Zy4XmFLOBDAvr9RYOJo8lW3h4kzjrNL4lAjtZApaUkTHpVfouNJEH13Srn9/cHLhDap5+QnyNjy4ajfYNEPmaJTuPqctVaNNPbf1gQBFPVXXlLhsgmQcgTkFU4xJL7OBoC6juLqdTlS2v/JbEPYGEvi4RknuQnHV3E3ny+DlnyZeiRowB5gflBVApV5zkvXbB1mqsedVnRwdw2HQF9McGnacWBv432avwQhmeonyE34L1hLocCjJ2qghJ4hDKMtxCFrEskpfCMvjbCngSUp5WLDt8Kie/snAmhgY4srlxpf09SQIvhu0LrgsY83JCs6qxTTcq4mX71TqjN4861lIWbyepz38zktaTccvCkU+VGvp4ZQ/m6+H6UFFip07193oXPT8Z5ptA9gvk3/VCX3HEliCcr+Nm4POps1qdIVSaH8bfMNnYKHkeC/ANByE6Q2IePfvPy506TJUiU33BtnfF6IBo05fGiqYN2hyXNBTW70teoJqom07U+mMaGGYg1wR//7Sk4NeinF8aOPfluw09nXrD6TrRFxkIVPX1yLFzt7vT4sos9vw/RDHe4+c87huwwUvh80d6xE3kR0N3SL/XCn9K4/oUkGyfuTZHU6RMwF3FZOLqqds6UfjpdLwP0JR3FBTIuqMWwJn3KFYByaakU03TD89alGcXKZQdUtA/B6qs4y2xBY7VBy5hDvp8/MNXERU3m+JSYwxW3DGqQFRlV793GwtL8VhmMER1SGyt7dERoVTftvMvf4sFIlgEnKA7ciHb03SmWIn/5VCeTYRMbF8OL02EF5ljPT2pRqQfZ5yUnzaoOAiu3wg/FLFKr+cbV516WAq+6As5UGUZO7Sm9PmF9SstZF8diBBs2qbTC4EOpw9cwvAhcsqP1/DRuX7tzSxhyedqoGRyQqY6PIuxP2rEsqn9GpQzyxaWp/Y9Iuv3qwUM07812jZRyJZvD/DkgEFOYyzJfsHXJ1n49Q6wb1QXliOjEV7S/+/rJtec3jMPgWhE1Jc+X+bxj4QtK1ICr2esi0LRPlIWO3hKy017FR8B44uAbVBn/kX1KzDaNOIc95BYv4nZigL2I119dK3jL1Ggjqz0JX3xvc3iisXsE4uijB3lwawMWJfsIn6Czlh/RpqvXqVVVW/7FjWtQQR19wgcsC4KQT8ENikOwzrgChR3ZpGeaxRqJB3QQRA3pPj3wLfFmLyfDGxu/y+g2E1iQG8ftymUtjJPYZSqWTApFJaySNhK8zhgY5UGkQ38RPZG99pTxXfzuZdNF3oCsP+kczS9ypcEjH1cJj7yyaz9nPgUFjWlgjd+z/+oh7pCCIdSnFVTO0/OvJWDWBxITZSakTX/Xxgr+9yua9kjcb8gq6aKYsSPaw6PnbpvIHhLeCt0UoYt6VkVKvA0h8SDB1XMQN+O6/oXGxkzVGQ4n7s8z4ANSIjdf80tCWiy9uSDb9GPSNVAM8G81nplq2iyuYp6kThZhhXgISZvov461ZzmLiGQNIlkqdDTdV/90H5jvsJN4vcL14cizCWm2weszXQeWrez3H66LX6iE/QRhQytCkUa+xizIwFuaK2N00on8oGR3EbI+C0wqnh3OYAWq3lF937A/CeC4Z0+uv8QmJNEXQxuqnwgxX3YjiPyamsNGH2RxW5K3dBPXGgKCrtUNHfAYiIGWZNzMeBqglP0KLTll/KshArJ+ceQtkLdw2/m0CyoFN6VKN/uhKNejSQAmpFQ/CrfeEabKiQzpB6Wpxm7XWVIuhz+gLOxIgKO0JfWWYTWzRGKT7hf45C+tf5ORfGOXETR/39SrXLh+Lhdk2rVcFF6bZPMRjhr0vfRI/hmK+ksX67RG1MnSfQiG7Jgm3XnKg+zhwoNEkkE012DEQEF08lnxmSV8kHZc/qpSmN6v++9z03EU0c4P6Y40gfVBFLKB2TjmrL2tg7GbLkX55AtylG8KDfkQ736SemD61lLojqmeXySuLWo8Ar5K21ijoWKXh1jZu+B22DBc9G+/tFURcBXOXTOwdH1Rz62R8lFBJNfFQhZCSA15rMhnP+wpMo1uA/PUhsY4Cuth2VLwoX1CHilLNu8201YbWfbr2P7f0MREQlJDnsuB0PDrltUwRlP3HAWQOErKHguZ4839R10MgmOfshIATiQXN8s+eN9j9RTDj4H20Sr+W6ODWML7UM6Z6z6197NGl+oogu5f2VeKzSddYJ27922vPN1YXee+mnbH2Q9N8mxnej6wdaN/PVddkgR+cge5gqkoB8X2KRzCriU3WVe8/KYc6up9HXcFzjbLtwxVXg14IGBDA5Li2UNQftmNyHiABkqPOLlm7eouSVXxq7Yzf1PyRo/xPHiUc0QR6aq7dAl7KgiuUggUK8jzl1xwmexe6j5GrnegD/HWgAyM/en42iogtt3Ejw9HpsXTEQQw9HcSzSaFUHtCfsvcbi7WtO+JeLEm7fSFfAsvzVhEWVcOkz115oVyCDiAAck5L9O9+wWeVShAohhMaf/UscODdA1tn46+cdiMuYQQEgvhfLVA0boYdcMCGRRGv0Uby9PYpH7UZtOR6PjFU2Jss5L46b9BC9jAH70+mg3i0QDw2GIiegK7vYFfgeIMRybQ4aDtAznJS+3T44OuYYb52iIiklROZgcf+ZmmdY42qTrLsV0UK/ND702NExyKLWxaTU+vEpQs3SDuLG5kmAeS2VsyZt/K9RU8Ap6lGcjvVtG42FyLSlDgLCVrSsV5kUeU8G2s4FcNfKNFrRyibKmdTL8rLP3V0QC5HY1gjFCw/FZGryyZ/FPy10Nh49v/rwKzvojDyZnom/JunR8QYSaAvpvWCodfZ01VWqVBJhF98tHnr6wmZBTxL/fGWCE4mbZyE/X4rvXhipIJCHu7ayWpytbfaqy/RGjrsnAct4J1J4OV1eAjJJFaHb5G2aBOGNGDhDY5ZUUvOqpB0kRc159Pc8ZhteCLx1FGWcwKinc59soeVItN192lRZzOJcpkYzYZdUBlKQ+v+2Ff/HozgAM/EI2god6pHSR8RbxWVZaIPs7snDf/qvNCo8bR+4GeJc8wr90MJk1pxuCqx20ngRgGyDrGZJgJSUKTbChu7hNamK5t1hegrvjMqFJk/s/kYxlfO39mz2A97CrElpU8IApqkOxcw7BW0to2xXjVsJH1INK6x2nrQnY+ghCJannKeF6+hnNRtuoL4RNzuz+3f3ywc1gqtGWto9H7T8qwYTQ6cxRhqQfbASanQr6QeSf15JsCOkCrXc5dJoQkLa8Rn9Gu5VJwU47S2/BLk0eP+gHrfxnXJcqwkbixRqz44olTFMuCEY58BWwW7xM+unGKuGgw3ck8G2vrwLR/Sd7CQsKJ+kS5byTnTrlzDEIuXAG1Tbl+goaQ4IlfXGE8VylCyI0DlFrmEsN3y4Fy4LXz4ljFIz/SXFfCMrJsK3IfJIGir1nKPs6xS+imdx8H0BK80OQ8pWAN+ot15YZmKWJUzoOdUx5hVJxU5FRCA1zpcUeoAhxQ/QB1mxYEzD0kZRJmoyGi+OKytxXzcH9UIg6QJ7udTApYt7H9vow/g0sJ4vcsBbnHqHbQA0AxAJVFEV7NBz78Y1WsKIlLJBJBOEQuN35FLmWr8xoDaPVt/64yXBD8TvYmpu3KUJEJ6kNtbKtXXZCHuuMQY/mV1aWC1oXkLBSwnBgKcaWm3SUplF8smytDe7lXZC7R1Rlga+kEQNwg36xgnbOtCQWnfi59ScP19HWiA7HGjnxhFYtKJ3IHo13/uzNd9qgX8E+vQJEx6Z9L1ifxLegTZrEUbOIE5vJDev0s6L8GJXq33EErvz/m3LjST6NOS+kaywXH43acJCUzAdSx8L/zxHB8zUEilpac2JTpS92/XnGvQZX0X7HWAW4uL2cpBQqiyBNhDf/z6Q+qZizXWJYUm5s3DhlIP52poEejRQP7phLhr7TclxCADvbvR+kNs8jY/TdoIbNBu2YMtLapzjqzFHF98l2NYt7UrgMhB8HN69C/J7lP20VDWHY2wjhdiS8TQ4DvUMsR/MchcsRvjTZ/n2X0CwOMe7TazuJVnelTa6ur3ynGj6HXsgvGUk9BuhCjnkgI81OBSyJ1Mk6/qcOSMoBSr7Da5vKqvy9cR0VOhGH/KKPU5mdH38Fjro+H/kStC4DBuMwOPCysdOpSRvFMgFDZASHCfc/xx5dh6YPyM8WOsNuoOwmAnQwac1kxEY9GFU2kwSM2zqwtiByXZQIf8tb4kR5wfFdtu6X9HyYktDC1+jYkktWuBfXetD7Llbhln8+iKEYcpTk9enIecJqiiRVVUY0TpAexU6s9wfQ1n69c7Nl39Cu5UmBmvry0rLfj7AuPs6fXPGI5WDbHqlgEkbM8rKLS6e4lXk1MfN6FhBS/Use47ObIEMWh2JBxWY5r0wkjoahyf5lR4/FDoYzIpyy2DsTECdve0pvxiJJENMNmevxKY1AU/RcySgW5hMVhCFxDJRlghp5iwoEo+GETTNUyBd22pWGjGSJLq1AZjeJfCLdPwRbCF29noRywhOuNOcC+VapB/kFyAbzbgL/PqyvyGrDQUjvaWy55x9uWIxTx+GP50hs8jbCoy2Hq4lWCdb3ISlGdzoaAUUFGzy7oc4CTiU5qBRG3YQNzmI+wy6l+ag4wZBR7lrJDJoWKUy+dp4janTjxqmOoTJzCt3kys3maGUOjR/j7Qi1AN1VD1SOPotRyxDO5xYEnamZqrwVb2kh1fFoZ1mseXBLRZ8LxjIzhzqgEmhLbrRG2Mfop0CrM5XWFZvTHI2qnvMwdVzBg/0zyS5vXf1jPt0qtF18saZm/1D/DUsoA7e+iOzUDrsxTf4fVBHvU7nUWm44yZkj4zC8LsNKBP8ZLwDo5PHaL0panmifX/xx2VotLMLrmG/NPtpX+q2B/TGD+ClKBpPQOySUF/z89nhoxWcYxgg5Z/mUQOAjkfcLkPPqsAyUdgX2DniA/RkuRDudhe9qL0YTO8p9z5x+k8M1YFiGH1rDS3u+f0HLFQh85nrcBW/TugmUqvXriWvtSeamrgiEzQtLw/XRadaN7myOrgLH2cKCEhtrPKyf6gWZPIIBX4nwdC4U8OdnYlCMlbytOO9Y/su+q3hkq+NwM5gc4RV4Vioh5BqZ+8I9yHVKR+qXNIT6gIGlzY4ZEFoYJg0ko3H7nBD07rZeoLr5QP2dfnm1V7wJX2Y1ez4e0xNbQ3k4wF0CCC5Q/i/12mpE5Uoh6i5fGG+AfrQwSUxX1n2SFZx62L/+Lh8oVb9RTi9kdv6WA7ziPDs24uJtKmXhas5gqixdCuaHtNzSUIdEBo1xtF8+ZGh9LrqRROIlZQSPT0g4t7GiyV2X9/kYenDEtYewSEsg4mDAVmg7Ulrz8uZikdAfW1tcs1HTb/Hy3xT4zeXbjlHEwt48laUW7Zw1C+YevM23Ft8gnFM0xhT7yGEjX2Az28goe/PujGFZ1ynIF8Oteeh9/bV+Ne+UCUXm9/k9eUQEAkEuf1lXCBiJLoDQN11NgEkZsFaOrZrQH0iBptxSGcb8Y0wCj+uWxyqUwHqsTVGfs5t3vk0hesCr/qVMq4p/hvgh2nBo08Z30K8bwv6DD5Yyoibl/kT7T2XaCk7h7lXYEWQu5FYh1fEfPEq91xaft9c1+ayU275yoRPZV/CQm6hfMHUKB4C9IOTwe0Hpiuxz2eIxEDWpi1CwmE01pSDWwXCMsk5rkaOP045oHh+kRa3y3loWu/gZ7SI50HHKawLWKc9gi5aUWQ+eHX3sXbp7g4+pOEyhvT0yl1AX9gAIpvExdgn65imsn5PCg20252XIIbt8lerLQ7mK3DXm7A8LVViQhbsr8BM6Yaun6oDkRIelsJPqDdULuQc0hdGDW3ygRf/AmEmhvsA8x1cXs12kSAmbeOo+DYKtEhUGUtnM7BeGTMFVyTMZ5VpGVGpAnBJOd5VFebzJ+kEMAOuO0WX6apquUQPCN1lg/7tp3VTWP7hzsElxfG6st+65GjDlcTrgdLO8f+q5kSvIsR5sQzn4Tanxur1eBDgdhMQBjOyzD+Yrz1kdL+gjUVRGJNRWK6zO5W33wDmxQ0iHjzgdvJh1ndGGvdgR2hIRpuDRkP6MlGZZdwVF+FgYlfBzJUa4pSQGa/Hk+JLBhv+bTzjExXW2H1pe90ghWb3vUQLS4b0hH/NgTztS5T2+qlqMkVohIUvvcqM4+wwBvRNPehikaFM4FffYv6W82OYPcsnXzN9BhYCFRMbrL4sSC2T3gk7g7gyTl7BTfH5yRaZ3uXu3UnDrrSwBLRIxJQwjFy5j9rlkhR87hS+6xm8MQ/xKdd1VOqW/vEG8deuByPmW9Y8nG/hyJISmeZsIFH1mY7JkjqtSu5egpI41/FglI3ZmkJD5LH8lGRsKIXA/tMBaCE/SRHw7/fzYpql7UZqUwufUvoF5QGTPUK8RuA7YxxHvicKOwnCcuPweHHpqS9FBBn8KtZ8S4fbpa5KZJzwBCYMBadlGByJI4IeimXpT2yRgqHEIwHX3ZQ4wkXLuc4ZSwAewUjbQtSDegi+IPSL6sm2ss0bRBdHhvKMh9muHtGLlihc+3CDV9QRj9X3VBb3Rh/QXqsEoSWUpHOnjaEDWXioEVaySbv0Pf5YLud3vLDBqeXzPkuFamHiiqgpAf0jND5V0l3/DL6W+skYqzclydzhEEF2hiSJNZiSjzMptR1C8mPkooP1c863Cxkbd/uXHNHxJhEylQFSspvW8y6tNWZnofO7IiSuIqiYw5//9dCIKEUVsKnLvmkl/BHemFuEjj+6MqumVH4aaftxgX1zarhW2EEcZqw8cpJHxtdX66wcRQUI+huardzR3COEbzn/YPMzg3yM2eItDFMpJuqJie4e3yDA7ZXDDKy7hIWhnKVBBT8hQvsAXQOD/BNhNIF10d+l0MIqRBp9ef7m1KwxV0HwtkUIQfUAZnv5brK99a6oIyH5EdGsoHV9YnMVS+UIPXGTjL5yFqC+6ZKd7SABvSEyIcaG9fozcDd4a9OA5fRzOLZVVlahHSGsfNkWHCbUz0BQ3mwLYU/HZjT6z7ILjfaMsHu45JsUCFQ4380EyKal7XPibdZEqqbkN5AYDcwQjvlRjqNnDk+k65iTEfhM3CLTfYqupqaGPOIydNvBdFSZjnNUMSrB5AlgoDFfXBsMAPJz4bSbRVjW5j715y1DldiHl1Npv9hFGqdKNDjqmGFfwyBxSQhrimiYM8LHeVcSRUbaR1WrPzwqx5sMSuEDL1mQF42VHjdlWTabgj80kE2OTQOCc9pmmJUwz4Cl1goL0H7kHpgGxq3loayW6Tg5FahCkpcVvXN1BM9KA8Q1Z/qDM4WeRtErEjwe+cZXn6PHLFY7WpDSbxnhyExYVjlJBFMVJo+X1kQ/p3brF3nMLInFjAjdJzKcO1u5G29b8AZgpZ+AzFlr3BLqI2HE7mrAq1UJ2CZ9XDkGRb1X+XshcShWT7MVIKlzgbCt1GBGAuk5ep3fdj1LYTgVcgYMZ1xq8BgRO5jhWYqS9RcnX8a9PCpPdXgli4hUM+YGbELwY7fEXGZlV6VwOvgV8BWbDcNid4bJlwatLoJxuWs9g2vdM1T6iq0/mhDmulI87mZQidtitOg3qhsQrQK1XLaVDitX6mMngdl/TnJ8gABTJgYLZhA7fCvrlS5G3pPbnjr8GD0OruMCrz6wsgO2gj55glLI3vlE8YT88V437UTtztpq9zIpJXsf9P9pet1Xkc+hkhc3xu1iBjA/yV8aQVGIpTYfbq6ui8U6Ba0XNYp525CwwQ2fjyn0oCSH8C/4zqFJ+KP/CmBlxo7qMzd9HUfmPe9u6P9SSesJbG1uR+xLgmu3Sw9w9Gz3yNo1vkl+bMhR6QRKaw5/qIHvyO4AV8rUCwfIncZVXNmm8OlEf5TBEYSAknd7Vho3BW5biV+BY9llugrFbNvosWkG3yIRGppLW3SsQgEABic9/VidJupWJrlM0wbDm/9e4v4WBvrs78Aymq4JPCEvSn5EaO0fR4xKDttYfLtcLb/eXjBtBhJ+aYh/8bqKAVeU64wCmZ5/CIgb7Sw8EFVFaIMn3QuWGyl1cUfoMt8d/v81NA8kjG8IKsSnDTLNJbsl7lT5qn7SNkCQ26DEEM4Yt1ULzGWw3br1OLRw1Np7QBgxbiLerXNetMaDkAsdje3nvhViIbVD7V2HRxQixAujAIPwF/zzihmaX0eBQ1nrEpsdIWD7dfhaoHVRIPlcRMYaW63t8dUGy5V/losaly1QUMxmuJ/41FXUldk1nxcvEjZkCN4CvzxmWBJVERPcIaTIPRb+6VdAbHEhFqOpdAR8EQOEzMvlFgh1cg5jcn6t3hzJpogg4Q32G9+S+Te3bU1H/o86BjArFn8NUoUOtTtZy9Zo62Mm+STIrWVs74R3kzHuXTO5Z0ldFY9tEDy6Db3e5hdMvM+7Uj3ft+MhrWjKrU8Bw+ol4rN6ZYiUMgC4M/S/F4D4Txa5/IhyrNP4hZesZBHvjrCok2WUxNuKAEtonV/krLMzshlirgKeuhCA/wMFsKFZ/IJuYuVpdck+0IWzIwdeyaP0ZAk5BN4kdh8iDdJ1k0g/Gm5oQjpQ7cVBFew0IWHWDNSceS/26MxZBjUoCOokrDPoJfFHiE77u2jk3O9sW1LDOMmSgmCoTuSHbLvWyc+cNFIHo4mNW7WN3pVMY5wH72BYR4yxYVjhNfaDjcFozkGksr1GbuWEcrE3qciWl2e5sg3bAo5+nVKQ9RiAbfeMoSrcKBKZiWOf0VhFmXqa1zu9vgHupeGZQR2EMi5i9II5nHWoshBn4RoySuIB62Nd2fzs8eH/zZ+EIwhY6PwcM34wXJvd5tB+vqjmstFoK50DeeHWHDlHoRQ/Zz98xgZ+/rp81eYLtXaiUZhTr9Ho4hxsvBogFAlD5mFGD24saSLPhmBeHwV3XUScSqwoYhA0E5ruK80yNlo+wQcLz0yGOw8aeLVzYWXIwjntuUgCYdLJGdJymXUdUDIZljVuHJmXA9LVI6OJE7vT7gZSI/WAgsbrphoZ43ZDQXiy79NIaMq1nHXWrsECrJdh+cWySpBMimESaWCgHn5/j07yujUZqHPcxZvp45MjtC2BsFNdG0ukWcDqK9mtqX1BP5z0epZ2wdg4DLT7CYX7Nlwf7O3jVjMrWLu0YPnrs2fjDmP0v2ul+hkmjOjiTpjxSVRIIwagLuVyjFjfesqY9vHYLqG74+zolodMocb8L3VZe33dyV1554CXuAUks38E0lI1NNmUZUwYFHl1sG10jjeO4DSiRQiN+y5z7zbwqI1A9jNJv5s0+Obghc3x6OSaiQEO63otk1lZScFtC9dCN3awLaGi+MOwR77k3mzw4kN/6IrODXfAdltvcQjQ04SAan+d6dFpNIOQh8Y5Czjdau5Elzkafn/FEuyl37eSCsrzaGjltikECDVGJA6qvL6eoGHPHO3xOYwOkXMzYEi955xlm+SGmcE5SDLGfkF+ZYLkbdeQFyH4UaS434XXAGmKZSVEJBjzdcbqzC40W/uguV/1sNAVWbayidJuP/g7KymgZIpYPO9ZroYby3FbFpnqebZQuItGUxDlCqxNsfjNdGoeKKzn1pGohvfARRs42S+Sj3HufCqKSvZp3IgmHYVEcLpd7gJJ/dLzYTo2dT7UwFNit62gy0doLqctiqEK7evfUDwUtSQgrF1zpldkImGPznMeAJfcJgqUOcgxpzrr/0+r6XR2CEP8EPFoH0L8Sn7pBBSyjfxX9WVgAEJkpuYLicLXkvgu1pArUi5D5lVF4g8lK1hBINjezoOAVPXAfNDTEfxaJBJLCszehzii5NeopLts1XbD3fM/LiQqhYC5BxDILlkaTBVuN2cizpej4MOelE1x/0DkV2kq340Y+Xq1w2FvcrxfYfC72OreaIspT1Xh09fnbSjPXDG0g7K7avQOZ5Kzq14Sgn7PHqMeCAKjVeVINvMrriUBsRCu6NRX9A/WVUz9hIIO4BPvqvC4oY6PA/kM05YhixGYeGGz+l5F+wS76/68J9N05AFANyjUod9KibrOtsgYpOX5KjB7jKpuZ/eubcvQfiaB5XBqBnJBtFgZJCUUwGi6bZvcSEjsARD7x3gAFMRiK8XqN+nInLanCEHd0cgnSNVTDZwtnDA16nELueksSjoNHMuktumpp27lZR59Yt4EBXfrXFV89DkEekFHnA84A87TvTWY84hc5y1/6Jaotc/gNCfuij+ivKwCz8ZNbSZdfibZlM6JrTCQsBglEgs7S+xZ7f6UhtbjlEnPiyxBN/Go4a7GF7f6GWD7rP+q3XFzBTOAamN+myi6nCrbBonORpMy7P/ledIhJygtqCosruapPdHgcXdH+YVb7cISMnDR70w9GPt5mr7FCsQqpNNzhJiqgrL/QfC/UcReneRqAPktJH6fmM5Hy+5Gp4EDAGqHG+/JvPfoBGeK4VonUY6+xZtJ8a82FgOumYEQsaY7ncORXpS0qHpE7aobbgGg0d5YTb6UApTglanX1i+EUMVAEt0dAsJRSr9gJtmyVKugEZ9hvVY2yDGaMEaQjaAY53dtO99EnoafbBc1c6mpq7FN7UCHZCsz4URuegParpwqq86L+rpORglYEfMBM5qL072FsDxjdpqBtimxwn99m0Sz2M79QuabgQkgOv57VUvLFBaDj2qihH8tSA5u2JOJptSIcB3dpo/+9Z/5HYm31dV88LIfLKp5QZo647J4Wbg/uXnYzN9vsbiZA0/9fvVKx816vjItEzNbLATEVX6/eOakCxymmCN+eIIPxeYopxddGIvXUObVJ+XggSmGoUbvrb8h7ng0fm1ljQ1zahEyQoaBGfQ1nz7q6Lf32VTYunWbBdJY0K+muGZY4t0ZRBO83lb0GtVSFZCK2ZivWwAlrpW+i8YqskItyQWi3lbsxVM/Kl/sD1WvBww/4KD2jI7l8gVqSB5ryPphDAd/LzbzkyDV0QRmz6ok0+PVPwieLBuc4douqsPgYX9K3meacMyrjXHcDe2N9lFIWEe/rpajJ+4bjFVMIiwCWoH8XyPHutoGaIsXcf7vRRKx7QS43hlRw3Wx/EnAWAYPsPJEVNaOTKd3m4U0LM/zxckRYa1lrLG8jgbb3iMPQrz8mPbjq+G0dOhdUHrcmhMTCu0R/eGc2jaI2zxnTsJFOfmgkEp+bUg9RbYNOVrr/rJ8KWkIr/zn1VxEnFrMBYacC3WjKm9Z01OB4A49vPnBZuUf5k3bWsB6hbU3FkN6xnwGIf8ea6CDNFn6sxl5sKpzQ0bd6SeFq3ugsaXvRjxtW2m8UVRNvLWjhso6Jq6zMioIlsJ3vqLQyxbwVSSK3aN3LCPZMYl2Bm/Fh9doI1vXD+0wbFI1za0bVwknVon2720zC8TY6GIlQ8C6I5bliqF8+NLE45RBA231qm9Wiof8ndt9wqeQxneY0tMVXe1xFdx5gNLV6Go++WRvm8/UnpLiqm2Meaot0pB4qlLt2fIunxZX0RhPsc4oiwKYRdTPcj0P8tMcFU1piYBFECgdefqpZ/YdsTR5cmA0/0zKTw4AXERY7PpvnWJje7ClU7rTwSp9RDPfmpAgyERc/lehJuaBmA2lC6u7upol4m8B0mLAWr4gaRpH1jDM/856ip93jVy9HvM+ibMCPNYQz87c7jZEDdhcB1HeOzjQZrCGgXZXNBTJQwdFeaB9HsUtIw0lMciNKMFQp/8O+zhY4+WKg11r5J4wgnqqgI2oRviyEZ3j6BDlhUWm4Q6DjISXdYp3tw+2Z6k3umnTqoqDKK/Gam9HVf8IqjgqLtcVJqzfJXgY0CGmlouXX7FS2gblq8AeljgDEHt63RPyps+4prJfijc+o+n6Mn59hZriQthOrNm0PqtaZ1pQaOWq06JY5e1Y6d+tCIt7/R5mj8xNBMyPAZZblBMHYwbVQFWWC+gcr5G5sW4ygQ/XsalI7sAyLQSFc0dQlXXP1GXGJxhqiTBIULUcu2N3yvyjK2sFIE7XKC6SEzr+KrOwRHMjBHFfyxqY/BAq7dqWVIiEJ/gFyWq8Xcv6yFvhJ9lsCvkp+rj1nJFLZvOoI+GhhJKlBgTqiEktCT/ZY/dEwdRZJ5sH6EzsE6dXHfuaJJyCwto3SSd+U0/omAq5mmxcPcdyW8LucLayCz/fbwJH88wn+dHm23vOokXrnRs71pzMcWWF8NkiLuAfSw/jcEP9+wdBwqb9Npbq05LsBcTfd1K9ZVWYGSlRphE+9cMroBPBIChUkRdt3xdvz2TYoUfsExJ6yvtra7nBlHw920goJyWLr05m6wRf/dueotGFaiR5TWKGyF2mFol7sz+odqBjSX7RvMnm3hCCCesdDvCS/taeVivMEsrY0dxBtmpyHDSleinH8+pmm1i4I5vD/UixjoqwKmBKhHEFMrISUrgVd4PkkVOnpv/ovA1WfQU1HzI0IHE3hi7JN20knBxBGQcFo3YHBdT+5E2prg2HhXt1iwElKTf19v/1g4uFTRnI3RK2gwiDOHVlKuPRw5W7OV09DJ0e4NfNWdxKBb/G7odtP+vhQbh0qajKLS70WOkfiB2tYHq4QV6bu2Nj2Bj7D08YaOo2g0XBm5/awHAyCh3dGwMK8p0qfEak18LMKIecgOkYSrGcpgX+jpWe21DW/5C6Zz/ojpmhWy2kFfDMmAYnM5yo/DiUlXfZlQ2vzH2F/XMarW+jH+KWpmB/zpwuKN82suXDe4FP3BOo9K5UAlMAf1pgAUEPbQe+OSdGRULYQidaM9P+QXgswuLZKg7r2KztCm0pwaqks/TSN3SkEFexJ87HDWfbYrZVJa0WTBO846x8KDGh/s4ox1I1TzAb15UDw+DMH74In7eMHyOVAXMzY9R9jciAyl/IKF47a4AaZmHFZemJ4cpXG5IcykwgtlmNJ6hJwfO7ipiKET57sUE7UQl+TmMTg/MTxJIDPspoPqgGSWC7GxfkjgljL6JgXGX89bU7/KJ1/VfFLQrQn5f7FoEVRp4TMBlW6J/uAm7QLkhacrlPzGUwkuG5EYZ4FFFnryEnzGXCPfZsAaRcw6DcBUa4eYhfjiulml4rOwqA3f7G8nuVssIHsBw6265uGJZr8p7XbP14N7VmjKfHXW5w7eo9aqH/qgCA++k+sx1ZLfYtQJ6bHtV/vc9mfoWoKbyxn3x6qJX8t5FKZ3UdluX+9ZM5qbmIXDP1COaqs26PsJ08Igixy5Vf2aJJjPNyZl/ZXWMxQRnqAymTAgt+K7KQxipfoUNKC8kz6kWnEsAATCiPqWFZRCke2yjxhooQRdoVCaG8gVAq54Z/Wj3H7ZEu3KG8C1pHgDBDIYMWH1AuSxzTh2lsD9vh7c2Lo054moupHECNJxQya+BXTWfRQ7VGs5B4TTfzvyAhCTEHotxO9+XLPMGgutjGfm3RLiVVvqjT52LLXfApycP6H7/M3aSqY/82nqnTr9M+NYuOwhWBSx2QdLJ0zK0euvnFdsKfZN+bdFxIEdIWpxdgc/Plo6wIQrH0RS17LdYVtMNgq5PH3V2eUlCerQ9tuQCOkeHipdD6AQd1Z0yqbVmwEti+BEXvpKotxF/5J3ZnsUTa0cyGP+B72p73bq9vKUqz5jrbH32kp/WqmYpmHTcz+XhVSHoMbeKgVooTFs9a1ZiJx3QMRFmwlbkj3FDB5G8Nv3tEkX3psb7zcaFLxf8yR1BdORJkn7+3LkHHUGddF4I0AKAA8OrOFvV+36sont8vvzNav4Y/n63GxO8APj/huSH/6fiP7gRLEui2uQtxxDgTGv5/yxLKLn4Mz9o1sh5WerRtSKyQ0HhaXdag0dOxuoQPEPQH6lrbZYZZQus82WppQbuIExZW40U1t/bzzw/6m7kNb1JPebrvmRWHBfofqlIy0eLtJ+6fspWhnTMOGcBSbYTQotMsW0MwBjPs6tePFIh92m5JSQWO2jS4t4PTql92+4ecsg+8/2caQX0zoPLOgbN7G4UyuFtSR4TDMoUQJYx/o+nnO1Y9QykiHTPRCPIanNLDaG8P2dtmNCDnVY0YCv7YHdJ3Lq8U7KsP1u/XRbN6RsVziGibKb8mzMo7T1ySyUUc04p1Oxj7NEpzOwAmOmeAS7X9aEF3hugDfZEdXWCvQbnr1GcsgIave06NZS7/TsucwBuvaA0V8hVpS1Vwq9cUq+UvEoSeL5rv+4k73RUbX2AQLg7xt97IpKGqW32Y5T15AiqqZJVnCiQ7PT/GAMh4fdtsTU9jvhI2DHY+9xj651/Wyejd0jCR0VwG7Z6gMIDqvQ4D7uN9zW9vkdY/7PfdI2y4zZ1KEKAdsXk8eErtnBQfOpjj8kn32cr7KR4E1p0dq3U7T6PeEvOC+QrOAYJhS7VlSsBVO9I2tDIsmTMgHfTlXhq4ESiz3wOUSAmLVAYNMtM1gIi+C5KxckA/n/XAclCOk1M3ccKLLxFaghblYT9/060xUc6UxNlM4DH6HFLPOy6siAmXwC029PQdJbQ41pYNd581JOqn8FBMVZixPomnjIf6lUdF3RiCaCxvnVyWu+es5ZnvSqce5bGJVz14/T2CC3GJmlK/ILwz3tkLbBCxq4AB2bCCHWHN8BK/4cMTJXIOwI7Zss83yyQSIGvvIVMyrDgYHJkvR35hzBIlpuPQW68iVvrmqAy1JmwSLTcn7oWY/Z8+wMW433AsEhLqdi7CyqYxsN2j7lnd6vq9sVUSag9BioJ6OBpRkIIm6rerQd6rXqY5CiyiBRk8IBjA30PTnHzyjLr3HZPytGRF/mNcVKxSMqeH/iaeSW+j750ldFQyTeLbIk3PcetcNlDPtcilTnhaCaSA/39A/TncTiUN8FtvGoQ5HG8hpxvaAAzxRXhtNGx5Pj9SwsjDaq+SQwcJZEsdE3gaUhKp8UlHio0haTpr9mpoumzN2MpWp/CdRvPGeX28wAl7EfsJiBcPhsdgo/YR43Xk8Zy5Ub6wse2XS/0rl1TXItpfMRaYyip3Dcm8RKm4g2N64djN14xAQSR+3B1N7xtysxhhSlbS/vV78Hjt83XsuZyUwELEyvACdVsCb9oWZw+TNtlMggTS5x+bc2LDBnp8g/GgKJb35AVZiAzBngqTd7YYLHBVTknTQKqyo4DZHmRHd4/m+87VK0ZvMBEt/UMIRAZdbPlyIFz/+JJ7t1zxio27JKXj0RgYoCAhJHJXLqQP+1yKALgdgvk8tqbdBvCunt18y4HWit60pwLU7HSHx/xvnGRZile6ZGZ+kQDmUK7iLNCKPpUX/losEIfqI/tDPCFG95SS3hmBvyjpNIe0HJ6zqmjPp5dlCHhYUoaq9DcdTMOTYp2+m/i+GExNPif2iIohsKmGQUGgTVQkidFCd+NhjrJ7bq9ySZCPJ14I4bNaRXLGqxs/JTM0NXWq6TZCwSQazFK4dXOp8+crAKnRvb7gjU7hZ0PWNRa45ScS6YFlocizQTAqKTPzN0vLuE1hkJI5JGCaxeRczWvL7RHtr/B6sgYMRE/zDjFAo3afJ3xQNSmbg6Rr/Sc+uisBz6j298vFanZmDxTYyOu722TExkC6SEQYC9ZfocRQ85cDkjcwl817Op6GQ5ex0xZovWc3NPyooj6ga7LbQX/YDzsVxbn7wfOQKPWloXPsQ1OM6gkkd7hcRfFq85XNN4YSc6rGq9DjlKGsMcTl7IWQ20rukBPOS9+QtbPC3IyLdLco3erwmDS312o2E1Bycnwq2JP60lyFOcx7YQAaKIvCLHunQc2imytNBHJt+RCPXMIjKqGpCdq/sQkJclDtckpRQRzBaHHvwIXlBAWMoQS/y7iElqXgfdhIvJDJtvleZtgVK+LbmtXRvddeY8KKFBiKhrk0clFIOyG6qigSWSPFvmxlV2tYlpPWaZFyro5/mFiVMQDrVVanm2cHZWx4Er+cTOxo/QKem5x+YedvUU14EN41tJksZiCkdcaZHUrjkARlFjyjT70Ow+ZiIcW6VV5+Xw/c2lkL+q4MmQ0bzrBKw1NyLgkvzmB3SRpQNINtfpVLL4SiK9L3uHeVyjOhc6amH4R+h89dn8MMH3yCIAtotooeoUeO0hps1xlPswzyptcH/RlJpdc2tpzRedhQRbSABPsM9/qY/jYmRPHmCj4avCzt0NQbssR/qENJZ1pwWfrgz38sOiuVPLgZl7fChktD69xkktQ5YVRG5KrYmx4KyPrKSbJNqqF7FRHYs8OjSfK6dQXu9p626soPDpjoczdIyfMu5G/szo53pZZ17jAaEoEok5TB6XNqK+4dzjRr927pvi7s5PExo8TqeyfVdNwh8NbRU/VJ9AxnQIEJYieq5AGcmYvjxqLd+lZajwA1eCnHgTSD+KQ66d9NETZUy0k98r1ZbvzMFqphqrZzCLayxFVdwvcwaVQtcdJmlLw2FyEdKn3dtR2tdTGgXyAyJilIKLpJSyaEkD1/mr5XalSoOe/L/g/V1KDko+HuR2ACFiTlghovNzWF3cwbNurIT62HgrqsEVdXlU/XjiWm6niMqqhqy8T1wV+eLOX6hYpzpWXU4Z+rGqwqrcG02qStr7QPJue+Aqef8Nbaz3h2jYQ1rWX7CwUy3fNoyRpjJqmgq3lH92i9h7ojK6NR/epTTYaiZBum1T40Brv99zScv+r5/EDJP0PbdLY+EfM7mqENZPFNgWyM5IxCsBd+T/28j1wyLL7JdLbL0Dr4uLtiUjMzDC3Wbgv7mhB7QV31UMLjHFtmm9phf9Ir0+XeURhRSrkxk5pZk3dqQf5NbMrugBQbKfbcY1ZQ/jbjn9CmeumnFijYTpKCGOKzKs2j7DWC5W7MBCt9CYU9eid62kRtXC82PFNAocZIDwfWY5NIeynRjyWpnDGfCTZB6NCiOr98N5Nrxg7bwKTXd8CmQKHrMy4SloSmJBING9tNcfpstq/RyYSfd8hUDWx6GU9X7Mnvk3RloatH7UuIyqO5M8PmvYZ8jVyfbPBUreY/hozdE/HCJ4vSKSzE20ler6JlrTNOPk/tH14WHiTYOJjKZXVnvFDt5mIkrPo3S+bm+k5Fb9gPLRag9T0OpQpSw+HtIYhHAyijq5KUpVDqfAiIQuzpfX2/hyEMeMmE0nbGN8j5VuHd/dKN7YUHzxqTYQ/yHoyrsvFCQaXTUqmiGkc77XtDP58vcu2KbkxdAVMjMXE76PtoRg2x6gWd7MQJxbUDTCLQF58AzpJj+CtezBPRsi3NoscFzlmk5yL97h7l2IqzeQU5ApDF/kcaoi+FiZEa98Gb6uinv6CIdt6g+F3XS4kBLX+c+lkQMoJfO+L49IDo1MURog4oN2rsVbmNoLZEGklJQGJyUQ34vo8Cc4uT6Qo9g9tGuOzvGrVmjodJaNiq1qXPaIEzZ8DKlsLEnGUqFyN7JIx7+RS2FdsTIMAR/s5QO6+iQAO1jPqo4bg9F5mqPGHHweg58rBoCqHMDkB/JbkdpHXbGc4yMJh39rlR1/a2VQ94Z5z7Xi5ENqDB+HY9ULxzHpTrfsSJSI/eM1Qb/wVjyiMUkOvXSZL1YH/S+1XDY0cgsarOzEHCZDoAPp4gOYZyXa0eOIZlT5sopO1S34Jj6CuFfY6uk0+f2gYuXWbRlLl84vxnTV9v8zu99sc/GJdpAUU9dEBjyDTD/3XlHEWwqk1WF7kgegux34NgoVU72cJm+oA/nmrwGUFzp96llKu0zz/WY6/WDuebk9f/1ccJAbJLiACHEMSq//9WLm+/I8y5ftHMYqWTiibyEoxJ9ShLEkIG9C46zO3ZESyHTQk3n3ELGJ2mC9EK87hzXWX1be6+2fiE+fpaMK47pDN703KWf7dzvF1ey6T76+8YEgrhs5MrLKKDSykJKLD+/Tw6sKZBf1NKVxuYqqaUNQSz7md7BXxb7G7IY7XnRog1tw0GPjP36A+OI257Td++aos1bv6fX9zkdgPw0PL9Xf5/dnwiXuf/NTTgdETaMb2EWwlbBGxHZxmVaWFGW0RgYgwQxi2XokhX5lZHi6oE0e1mW0BKgNvesdTAzKaFpSw2vykRtsJeOXG5iZRi/igkGi9zvdApwl7JFi9btJEfdG0Tshvdkyrm+ua34SGCZ9aohgaHeieHL8QIIpDqDV8fVP8U06r/Xi9bFMyM4Q4Fx3gaJbX5LAzUKtBioZMX+LrumjzCoW709J+0PAEfI4ZA3QpU+rNJgHB7yfeKvC0E0oBSPaZyFJxImLyo5Xfcnh+ShWv8ehI0KLAUOF04CsvffRNeWsd1v5UjhYDS/Q0EryP4WSbhu6KHeE9pgjKCbBhQPT6o9l6hHaOIiIh2ODuK2pbkq0RJXpleQLoVhdEZoYckIa6dOTs6kL3b10w01Khz8a5UbFZZimQPg95oYZAfED5DAvmzKQM/5RCfZJZKqeH9nXbeTlZZc7BMoskQoZbiUgp1zMq1yK7wNM/6+/S328T9/jUSph9h03bIErV9Zo2KE9KTonYZRqz0MZ4GlrbrQ1IEgTT/UlbB6FFgcozo1/oXVVuCh786pxGlV2LkmQMsgP1oKohhDw5apoBFnZwFFvc49sJBiztC00wOFp7iZjEzOiaUvZL/9V3peZ2bUTTTdge+ymnv2uJB+V9a5xARvGvCaoSNfz+w6Dr04wirpW0aYGOWl+xaKIfg5SLDLXO/sKld0l3wSLQd9QPr3g+k/5S+OA71RV0Di/ZVGbSbLKEcXHkWQIFh95oVOVc2JK9/fh5oD519Sd2fZW75FC+1q6+i8+OghI17fk/N6Mhbj/xa/h3GSWnl00nf0B3HcxcmDJOgGyjJ4gGCOk1FNFSwkMAlND7IHgRcg2b+8lWYhKUUfAc4CmGTSWSFE0qhhjPdVLSRAyG1nMHvaTNXJu/buUfBdnFwfKZCw/RSum2kM9+OVtiI8bwBJYN/KcglucVEt7BQrLTZKiRzz+MARb4WfmVfjZHApPVF6Hiy9Dx+T+KO2G2KwbPa7wqOfOY6rucoH2zjvwI5hzEnMx3OYntE2pBKugQIbTqc9QubJMrU5RkFtewSCcTeg+cPrCF+XokqgK/UhS+HQOkaExKawliDcFXw+MqCMr8+YW2ZoHDueCiaj9pYF/LsRvCXZDRuafZuaizbsJK1S15b9orq8WpENmPBeFtXHhcjeJXuH0UuTc+wAxvb6y6kXMdyYR+P/v5+ltwexnCvPlA8YIpFA6tNIv/753u6yK0/WeRhf38FKcUKF4bNMKZik9UER9nVMzJxxByfBOgaOE2GvN9vRWtIBNWxV9oqmtHroqKLyAJDQY1DzmmH9HkSi+ZAgTfV+QDe1JNO2p8JWKKYnR6d2fpAXegyQk4+O+6jdyNuNWXdJJemYaolARSkvEQVfkwK4vc9PZI+xAlTHOmQDAiMZfevLJiQpWyBthbUSJkP7j98AtzMMSXPaliOiloaPnLeDDkHxRqniy7h+iKWTG3n3rAKj4GuvbbOBoUq+YuyFmKSIGr7jmGqJtZlzmLBX8vQnrOCc6dh4zVZ5mSSmrjsiu0wHyruaKTpsHxcMhr9jDxbXhzHKWnBgC2jSyEZ8WO6i3kIO7FrrJc+q1Ui0CBhW14ttfs1xAb2gwunm2YqEQ7la7blCkF+N9sXL0hctTzo82tKZGlbVdhgPd5KeSYwR/GfO/xnaITlQvAlYOFB4caLC7leM5Sg4q6aFGDE1pTWdoatAzPM4mB0gCw15g3pMHO9yqBJRqmUs3Zs4n8673q1GMAqwsjyJiFWCGfaSRFhBnjoaT5R+GpR/qV6tMCf3UnAjmC+XvtTkRGTodmrlJtmvf0za9+CIs842dEyEpNVy6P/E/WjW6+58qCisiwz2zoUxpGUc3xDoPYu4Y/Gm0Dw2Iwh00h1QfqY4f8t6W0tNYDjwitkaq4MUWoc+WjaMQA8gC7ei+CX/zznNpO21lB0O3n5otO5U5VRIBrol12tUt7APhHgLnH6SYIq2D3EylSn1dSfji/GPhVymVoCJOvv5rO7HHlW4pD7dXyPwhC1edt9h/zUhqiYmxrKx9BSXRgJvncE39XBcuRvVwurMoDfkIQPC6w5Mm0ZKuO2YqEE87cuL/E2p/m4Z37rb4oqk/PjyuvN4iF3aNx/J+wXEBl/uVAqueZ3vlapvdolZP9HPNBySHAmRRsgSf72tvNUdnHxQzAVG1LcIvCn2pvFzPJ2gnjrs9841s/6EoaPovEkX0thA3KSXxrfhxaSdNtm+TVKwAknP41XMsA9hCtGWDWSI3Ud5kk7j1BLixQLo7kmbYwkX5pE6k6NPaFoJDLFrOSDDo3zxOFuoFmMqIJujjvZlHPqD4iLgf1qX4L76OxH4b5r55Dv1amV49Lwj/K2i5S1NnI68FRGAzyIrWW/u1Fp+mDvdGqfu0ZuS5TeOg5cscBv4tBod321mAYl714Sw2u6CWqNuPjOKuBAF1fOvKK4qZingcrrezM7bTUAMnh/BurqY8LkpiMBYk8g4Bd93pC3ZyfU4RApwfCxyRTVnY3pXzg2Jb07+JIzketvJ9KmaVYHaT3P8JwvP1spLDLFZ/OWtVLii4Hui6B2S+Xt3E/Vo3xJ7csLyUYSmy8HYiIRqZlQo5fNdI2UgXuMMoCkrO3MtEbvUOme8yY28NW7aTKURMNffwHENndyDbMw4YnnGkVsugORtpdyA2ANSCjHQS54F64cf5zlid5BegkI4UmEaGPUpW6hqj1E6nfOSmdgsr8hAgpK852F3kW8Yy5o43cKW1pGxnTndBe8LzWhVeDprQX+HTgPDRMPdKmk11rAoJGtDbXIeoVYV+o9ci1PZcO4y4mpAFHRTwQKM7y2LQSpdX0EXgnerUsSLDL1uJNh+ZoIwsRsIIgwGXa564hInhsQirCznJ3Ie/sd8LHsC+a4NCivv22ABzFwMXGwc/mll00NJcH86u5BE/H/jwZAhHgJ3PAMZtAkf3ry8TRKl+K5ZNwC4aW4vC17OkJu6w/R16FPw+nII+SUQfYVqCrOycWWaRcgyPXeFk7T1ydA+DcC919L1RJUYkHWxip+C3wISO2CFeBQgZWUOcFrt0ufAxXXl5mMCnmKvnYjY+zhPbKxhusgcAVdmjc3HdJS1OKSzryuAxGCBezliQnUUKSVk23FSjiNDNWt5/uRPv6j6AbK4SJRr9Fqwuc99QEdIAAvN6cDqASwqAGOYVpP1piuRvk98bzuhxo2uDBeIVWjCV7vLGEJjhCCV2AHA3t2WDwM7hmjLIjxqVgFeRzCbCRJRq633kCPwI3ojJhDW3QjqnmqbhJPsF+hxx/2bC9pCil7RafW/M/oolPjmmhwLzZ1JHUl4DnlwrbFQS6N5xiBZ76E+cdOgnJzLN0jYh3uD8iHPXNxXy8qIPmWh9qdiZIvz7cyNsgnvhsWXp5ez5iSv6hZyfTg2rAWcy1B6EoOL6GB2hIiPLd+sIMMXwsezO4gFzlCGMguwK7imHR5//Uuat0NulDSb6ieXlS+qviM+kTvc5PziU/NS/i3S5tSF66UpL2/Byru/yJlrAka/5CpFuz9czzUyYfBzRzGj13HrcFfWWE3+Y5bFrXHHxjPT+bkwQx8eNIJNU9UlL3Na+4j/uBk1+NEe7oRJmXp3pwNATKly8GaURgS40Z8T0deupODd7LGjsZ7Otpo+YaMqoqFZJyJxM9Dg5wbeyn+OAzpv4NiNeBuqGb2eAc2ZZpQzfzppU/Io/oJtA9Mia+J+Ky35p1SJCV0T80yjJyyEjIvh0UvEa+rFt2DLnPg3fpzTqlYowPWJx/r1kfh9lBAKhOSuVR1+oUAvx1c9dAwQWx4dPV4dkCddSxvAMn0Oav1NeSCw9G7Ifl3DJJWOfFtlbOv4gCLIICFKNDx1zA4JfZVGl9vFQY8B3fES3S3efgZ7TtVw0Ki2CILJc35RR+D9kht8y9+vhr8Q6UDVX4XjgEIcc7+OvnlJzHBhL5fDiHFj7UqkKhR2Ofk6ycMfRlTlt6ZmFcDE29fAF3dS5Idop2iIgkysUyb2Dui/h91fzOpKQupuSUa4RT0CvabredjRwLzQuCvRHHfx9EOM+P2qNMzPlXVQI0RmYBvwrWKoeKIBZtWEyRWH2xeZELgyTbS77/tmrmbPHUCtQ+aIVS44nEXAf6PeKGMtuwK3vPJ9R5yqbss0ZfO19YDowY4uK0VWk+jNenzLqDjd5WUWnX8WriN3prA1BLXsZOTa6l0DBih9T4UgLe47qJsBTLT1oyKsrz9+eRZg7GqaXxfv5qyS8GJPko3JlvIoNWK7No/YxISnZFiJy2QJmnA0oYaJcjxdFzLKJAboow31qtcwEegoq0U+sjg+gy3PwPjoX7cwcVaAWTlG/o5R1cfdTp6JVExqUENpYrqM1wYcNUtsGIO8X9umLJVT1OiH1feBaVInkZeJv8guRs08UzS+h/U64uv3GqlSdW+iS6zENkvqrEwFwQlTV1ib78yOcczriRzfoLpXWWwAe9Aov48ZZ8PyrcX3Xlj84XS6wPhFukmrS3utqenS+QzKDbGiWbKzIyYVEKozgQxC+OiEF1nTrIBZJo/aSRp7bC/BMpfWXcWlwk3P2ySzCBnsiQx9iS+2AQBgMY+aOzpI45pcTWtQe9KWU/2cb3B8JoRin4AFfwq88bT7/f7406q0sZ6Q5aOKOExONYxVyeW/l/mUXFaiBizoiz770Wxqt3QPRC1eycaumrhlq1OFM1DJEZ4jK1XUM+Uq+sdRlkNsLEaP2DnNtB6Zs9dAdeX563nWN8WxgJGXF9LjijrEAGvMgbLpxoZi1xU3tOaq8PFx3klwpymbTCfMNnP8VGp2lRx9QHp0KLLiiopPEOGAYg1CwaYVKmyqpJFeLkF2LJOy9sstmGARc/thlMvGmWqLVngx5EJ9/OnhFa7BuMIIYoKSqKo4QGLFtYOmXzl1bOhRItcoJ+3JYSoYw8lJLZ61Olx/qbSjWo7gkt+WbL2zCQ74CZXZ/6Wu37Q07L6p9ftD7SliPQ9Y+9eLo7rjCsYzDKAncfCWbYM5VeR9V1oihsVJ6aRY6YJRyv2EWQLfmkZtAhUYGC4GmEvJMjkusqH7PKQNfAZfyVEcAt2UYywfc1S2hAfJWvS9vlF44MhYLjzhswo2dVXwPy8JpKVEPTZFjEP782lRlxZ8rzVG2GhzdbFgGgFWyjMhUXfZef8Axs8S0nh8i3gOe35+pFU2Ls0Iry2IBNeloMCFLuFCfDZyJSRxOT4mR4H9+zyhBtIAaCZhHV8wHoiSMR3VGufHKVmL26I05fZ5Z5HfoLbxt+bFyk+op3JQopkGCTQJ9Pn+1PmzzHMM0zBdDMxwSkGiroXUP16ujs6zx+pav6VOU+Sdz9Er9ejcFGuGEnUk0gXTOUNpuV0sP7hmsazRdGUCq0yMPxmqY46bfnAgFZZzCO/jz89r08V40YppY9k6Cu6YaDmKhEN6a6qYcRQf0PBjnoYRsxQCP8+RFcOHx5G0SN0fJvFf7mxUJVJj3k54HllPlEvTsZTG+ybUM6sYE+xLHvekGy8SCjbSTlqOlz5mauaRn1WJwDvLWO9XWY/3YNvhnU79qqwezIFOJtQbp2GTKLgQupNt11AgQk+hn4qOVxk3h+86QwoO/H4LPUoEvfXCFmTba0tZDCIZSz0Ihh61d6W44HWeuxnBHSSG1rTNOVIXjxw2/U7+sqQOYidAGeS6rkZ6ZoqV93TnO82agL0dRedhmK+tU59gAiilm+qanmBZcndlMHTKyHST2QK9vJmiNLSeghkiaRPDPXddUuFv3OxWAs+60DeXEcQ0w6m+nGfIRtLWqsR2RUYy4P44gjGPHxbRZI6hpF+xOamh8pk8dTo2z5CQwpAlOpBMPBXmu25ruuhCemziTspdpWSSHAzrkduKImnDKkmaRETXl6/iGBgThI//XVYMP5RGwUjq2HDpNZy/chWQPmv7Y849U7yIv8yyj4Kp0i+dP1xHgDwef+6HZTyL0u9LOWv+7Jjm1CuLaG465GLGuffzW14vxks7Izh9uLD/hHEGUEEJvXAl3mr3/D/yUPenb8gpli4mjhJAKCE2ccdFhHegH39IYOiwTZda8m3zsafxZqq+2C37e1aQvQYmxE67AtZ+947lV/bKtlH97vUYh8FOwCkDe4ePvdzia5vf0qsAJjrYZzkx279fzeHsE1tFyzYRWFAkTqeeEIyqZSIJl/Rfg0oaAqX7gZzM8HeYbLN67LSxsEiKp/BN1KBLMpZhDs+5eG5aUKIVceKeq9WtZaVLcSTEwN7JHdmJ4iAGKfQMMHk/rES3e306+JG5Z08cHVks63jC0ZGfl6rpNXn/7lkXtGxj/xrR709t6uZlX/CpQrEK78oq5PNhayCKbbAaDwaPgZyNNbrHmacq8MNzBEq0ehh/dinPBS6P6CxHLqBNgVsp6TEKd7pF3TKx8Dd/3ii52dqQ9bQwcM8GjubfOBuhrKGjZogneAlT94mjZkmXArQYm45WmxCrfQf6RNoEvNDD7d65AhM1QyGbBjZwnc7/3xQHrA2bCW9/zct038kNBOsRU3ivgFLQt7SXaiDJOsB2scoCUakvu8OPCYhgYvQuA9LsX1E7ZS8IUuph1zlDRQe/EfDGOld517wgwsNxqHoIXxH/Dpqaf9j2fN8YY2JVrWsWrnaR0qkS9VHyK3UBIHYAc9VgsjnVF+21IcMFb6QMFpGomK0ieK7+/7HwMH1iWDcVJDOyyLPKdqak1HQvljU0LUcIVxXgsy0brgk9JmUCJ3k56xMAcAH0yIB+DzrWnz1KMX/07/pGBxXWJtUDVHu72yp/hT9gLXwSs2662ofD0azSbdlIO7KDsPljoyLPf4QpJhYCZVteJJU5WQGu63O756/+R+pGLL4V9h42OfmWlhVVA7qK5vbdqsnCBSnIT9Lwhvbd2ozFoxf+y3aqqRYFWICtHDIQrAmrfkJ2f2H/14Yz77MRbrqEJWpXHQVUwgf8D+MdxcBCK5d/HYgKFhX3ElJ+n1nZsW+h9YN8Glr4VImLI429Z8B2zfT6B4+f82DqgCRqtlVQ0Wcg+XZRvULu/UqdrcI013lInSt2CNBjgKHpiNrIhBAlCcvrisUn2Ea6nILuBz3vfcnxqJDGHA5xLV1Q17CUP+yOhLOvZnhCyjT9HxOeZ6zKAi4kvGRK+KWO+UwF91HhpZfUZRlvWP+mp7P5T84fEG4+zjit9zQU5aUaEF+NdV4aZ3KEzl2DWCusedTh7DcpXvRLvttvQCCSGSfSnO8RPkJpVmmDc3I2pvA8D4ScRItwwTMQfEjUkQN5kq9gqKnC9cgSblbbSTGuUdmH6AgI55tWQZFyBVns0lp6e2XypYo+u2IxfbtIxb2xHs0ftgv6xSoL3s+zq1G5fEsAQ0si991tTXVBQMu506pLG8WOI+mdNDwz39X9d0Bxh1FQZgO2D7wnxbbqNsNtgV9pCRJwoD1BcgimhD1kDLQ31/bwXBCCs3B49VQAX1na3cT5+RPUvYsdvRXhBUkbp+TcwHL8VBUyzQioxv4cr2IOOwouDEz0cC3RAkhbu8bnHYi7O5z4YMp0YAZaQoS6F/zU7Siv6IbXKOFMbxjhqJD725Bnq2MOhlBqbpS6ioxK9q9ye0l/G1TlXIYF2ug3VopDm/2JmIUYncZt+jYnktNT6mrkHvk1J0nduk5wCJidIK4wkia0a6m5Tu2MT+Ay1w39rOT13eqWwtzqT5tnHk3IXtIizw9iCMRVrNdVSMSEa3H+eiotY+SGyptSyZbU3f7UNvAXNfhli0HD93iYoDymo9DSBYAK2e6PFy1N67yhQRg3hS2qrQUObrEsIZ3oyNLQVOYr4sJ3EnCkfokTQCXuUuWV2bf/dyIT8j1AEyi2LsrjKINhZ31YWrICbxh+qxuofbY6Fuli2THqNi97xBFsPaKIUB9kTiHn0K7teJZ8YHEAmxS0r2wSR3geDoOq9Cf6VyOBGFvgJPVlh/TKDXRdHVHuzyanyiFQtjKZe7F8MCsJZPuc9m2nd/UO5VeNWhoXKSY7vH4ssD2fphan71b75YQIz6iQ52hSu4sh+J3IAFN8o5Z+1yXFDkYOm0HXQWv1XjYRuR40zZUtzVaPpwKPvRrAhjd3lTZKF1QY8edZknlIEqEwBDm7kVgmlPjyJY9kUDsd/4QGLSRzdPayUxYZOnUenqSzaweUtEBqfcLL54edr5V5BYhA2ihdDyo34gUVmmAnkMfv6mGbmuG5pQKLGE/OhiAHQrZ40hDOAbPxh9dQ+rVp4rZXHeVw4lkrjToaQA8JihwYrWWoMIdILQchX4oLh1qAd0xSULlxmBJuO4WK4MHfywOpO3UiYI7XsE5hVE6NYh93iEyaNUR6cPbhNxiwVfVcJf/MlQkDiwCNR9DecxUHX7f7cY1oc4yLu2VkUQPw+HAj/K1LwiQy8bSpXo3C30YTBO8cdp/0bSn9uk3DMBWW4Kn4CR5AQAEy3Mu6yVGrp790d2wGsA7aVQ2XZinPh/Cws55HAL9VPbDQtYudR+0L4gA+F547XsKUB/RNXd60LTv82xxZJpHxeioBh/21IOR7JtOds2jIewKtWqG+0Ar1szL4KKeyvFeatalBo2/OOHtpRp+d8h9WwpC408W3GUo7gc7T/r5h0Ziugz78mM1dNdzFFzFpFPCKz+I8ckWcof/34P9Em/Je/ZGnvTTyIaopZm+get2YOYx/Y9L4kd9RY52Rx9hLoTve99gZ8d0YUwtHojLl1/ej2gIyWARaywvpcfTyVVL4ozBnotaqmFDZyRUrFsfj9gEm/idyVJPXzLhzt1s0CGaKFcCYbWlqx+l8tLJI5tG7bqH8adZda6L3PL+QxjLN0Ugff2NNdJ1VzeD4VfKO7R1T80Fr1KVOKg59b4xStQQ08Y7J9+eJjFX+ZzTEBAUBFZeXIclhf533YnRzcrKjb8v5367vJwMtewt6Vy+VciBa8PFcpnBE/SB1p49Nlqu6bbj6E/sq/kSvxumJjoOA71CezPdMlTC30RLpUdXULfeghEU3Xg2rzXh3LIVyq+Ad8KrAZXqXnRaeBrmVvf/0wKfpAwjo6NORmh2KWOZoI97eKJBHHYbjcRWJ54jmRhIV8TNoHYA/wQz/hVd4NyfpIXsuLNkcaOTNjmGftSXMEEfaXnJjLtf2q/97bbxXiXypDJwuzCxwB4snPdKNEHaZbWGhCcKs6RHh/6yhYNpr7JAEQJrLidZUB/d6q1KrPFzlx3/WEPxeoF5U3/7C/lcpM35PRAnKqU2hJ2o4lWpdx80PCVXtVvphZZek+6ZlGtXfzAUWbn2HLuw/4wABxv5Ya2YGBcUudOv2gxigkiQaaO4isaGhKucSb+V+qoGRafD6tCTfa0klOh8N/XpIjV/kye5XXYL+IuT5wsgQQZT1Wt23sgMqlTevxfCckWF3W1SxEyoulozMMuWXP0LRz7diU6zH3As1s6rSI4cZVac5gqU6DTAppMBtg3pb/br+o4YKwOZepsk7AxYDynpN+mynhiZCOCfFPEn+yi+74dspBhEWrvGt7C5iQBqxws9MF720JGv2STCWazicydGRvEqPpKf39mzh2CUrREBjz2yIKSDaKd2fYNWoP7cc1yr1iQA0NM197fxrBLXCjvKkheqcF0Z9p2Y5RrWecTQY7bcl1KIexxxBFfSPDlIxDa6M/ndIVNfPzUouLI0xy4WylEDPopGbKkEYn5ql+os0j2bIEyOt0afV1+Yjv1t4LjaQ+XF1gd+zXD2mWamTwfu8kVyriIujjPkzJ2jv/vUNFEQTYWCSyi5LXwcZx39k2RMsCZ7hmbqziTbqt4AGg6dYvg3VJcAX0RmkYnmoqsI36y1yQgqnhOKo9YZI9BfdXFSCvla9G5PijNj3Zfn5kjqgIbBiw2jazdxnkfxCDMVcnESeh+YtBFWY7qLSqpmCHUmSOahja1XpQhRintmWe+UK6Xbk+FSRKkBYZFgV1XpJsX+S2EKkpaq6xyt7LH8kgsWGBnJu9tft3MY6BL2xoev0gaxmNjwu0lREdu6QmpnjWryOLK4PXcHrdwEOvWjGrCyqw4sq3EF5zOwL9NTThWsGTi/l+kF6D6L5CBN5gO9PhyBnepPolTHwE81iL4C4+BZTuO36b5w3AnqtyDE56cTj2yzqUAjrQR0sg+4QvSkcGTTrT+XnoM5q6sgFt2AtglhdWNIAccdPWGvv8gGIrKORO1AxFW75CTdc+aifblx0JhNqot8WUgJIuDbJrZr3Ymq6Zfa/q2SWnkV1eSkF5meTs7uSPKc7uAu3evGkGJSqLpglAojEueXyifKloazbJSqqYVAjw7kDuhe7g0MmVauqzAbMuDiPwkH8WoVuoC4GSEfAHOzxhzh5JbMU7faytAqMiz1z7JbrPfZVR0CUAiSga8Pd+E3DWI+YdDnuzHZq89Uz/H8Fog1C8NoiXaXLcg0ycHQkYU9dgrd8Vya5jESgVt7wspbafTHB0OAAPSpQH7wZY1/Uh3Tlw7iMXyTogUqJVNSSIGMP56EHxFaK0q/MVGDge6e6NnFkH9PAGg4qr7/YJDBeT01sT1sRNxU+Kj98Al7I7KVqO3dHwKI14hao9F6tT2NRvl6MbVJyewkt3zpbLpyMJix/1bLFizXYw6klEeEc34iIjx9eXSYV2SqSXSQcbmirdDm/ce78h7LN3I3aAvjZ0eFK/SmiEE5ko73BmlSxCZ86g/9M764iRLPNbj+9XOKaNNWWEr/LwQ8ngBiJ1iP2G5H+5Yki+u4PwHHSUoFc06PzfWyAgxHvelWrS2ZdT1nbxUopjTw5khqBRcy28pS1z2D8+5UBob102ApdHqilf8Tq/MQXZLxm9PM2WifsoiBRHwNaYAjo8ttC89EY8EVzTTeWzdKmlFYFs9wtV4HUSTJJE2FJgfMhe4nYyqn1SXefdISD1j2VBjKYtst/LGZIW2JFO69VFShRROOE/uatGgC1pauZ2lYBkuexYSEYKkyig2IcPfvmgiOi1qM/uO8djsc4amJYV52eFLBOH1xPQDYApOIAZm180thjV/Ama1Z9yOCrBbhSUjDlNZoPYNaRlso/8kDhxT9ji030lTqrMVn8GAvj4yzEzf+S+Y0f+B2H/hHil0DnTcBS8i5XB04w8tjyzljnGyENZaqL9OzfQ+nFZOCj3i6wGFdGT8UwfbT+/E8Y32sfZUXh3VwtFKRAXeDIu3FaYjB3VEE05dnrmdHjOeDv0b072rcXKDmUDi7jgRVodCeIRGnRKfzAMEX/X9a5mvMu9Zmm67jU8vVsP/IIRyXeT+ka/6uDaO6xyra9QBAVTaiGnYBHDW3/7vKSK+/VzLqzGHXbbz+kgcmU/5Gy8Qzu1KOI5WATECQXJnyFP55wosBdbZwWIfK+rYJ5o//cZq22h53jIy2n/MRAatvm06dPtofRzDA/rn4KeaPt7LtnCs+VpTmYXAXYi2S77m6CjkbJmVJe/anua/cGl5a0B+gT3VJtoL+eCfVkRkgO2GETTIBmW+rn3j6KAawPv90UT9qnsFGqAavrg3WlE1fu7yes/Sjy44OaJzMC5xVVNRxgsYzUfbdpllg2zAV+L8W9q8j8Zr39skzLfqGWzYg2ExhqXcclu3uW5z3jWI6DewWz+prk4vK8aU9svX309r/kok2K55DXLh2UZbMnSFaIzEq38uYotXYW9apnTJGkizkXEqZt727BX0/BlEjfOF9rVrekbf28j670wwAXzKMVGrM82w6KGlK2gTjEBzMOLIwyarwf1Gdl2lNLvbwCAoDw/kYjkbOMlHQV8vKKv/ZdoNrMOHlPbpQBIuBfSDtt81PGOCf5lUWZGZXnqAMzmcuiyEvNaNYB2hdnXPhZKikbXgD50F9+k50IUvECCgdod5nBBWvL/xsnxw1Bcjmoo7ZeJfga1IyqOlZs2c/4eAD/hAwOdZzf4EJdufegpjQoMjqJGGVnLnfs71mOhVPlw9z46sNMLBl9KEvO0Ixxfc8gHDwkVIhcfgtsuFU+ClYGXZnOt5vRyThzKUm/CzyC3Ph9anOjzdnrCnLMRwEn6I5DoIlOljIfRoPZbq8pD5mUYLeIxYYPexRRhwYXGbXaR+Hdk3vtZCEBHSfcAzAod6IhZssmKx9Mpt4+nino8ipFm+zzwEsqoTGkYMN+QQJy1FMQzpkw7SsxmMCmxYdx9L99jK2LZXPTJULw9WewERCQDNeMuxiD6oA+rqtydfD//Iv2rSmfw0Km86Qv77Pq/nJiI+If+58oKcWua294RR6gdMTxl5Snf7Ws7wxaVmy/qKa2FCYcL7Jg6STGK4DSvhbwDqniT3AbOL5/E8mbiZPpylIPG6mYf5yqfXJj3jYJL2Fmsl9vWm5frJYUE72hKrOFt8a/RNjPG9YhpjRwxl7bZCDe53bqc2AWFj8euPWirK7Jlqjc3UTPNb0OaQvEJgp/F0A0fLa9uARoOyldB6NGO61PdavlodkV3IDIZXNI9/087SDm4wVAqFc1I/mEs1gYpJ0NE4ndQZfA07UttNlODFy7MCIhtZ1nVRE4M5n1dad3ayWUINKc/M3gTPKksoLYSRW3bEil3F7Vdt0u9w7SdMtHbZ4ETzWbbln148V+eW95lgc7T6diX3CUnIOraN+6JdjRRp9KHZHZY5U3GKhSu1tcUhBuePJVSVzVHR2pM9/Up0du8QKP74A+COzB56Fu4a/xs5f8eUO2GnwJLoAFNLVj/wc5xZXHIVBf6XOPCXNYlRUEqYWAKcUUukbl/TOq0dQ2YL7XmGuUJZNrcXHFRtzEOeA8nlFGSRXlSIAdER3xSq7/wlIhubYmK+Uk2lmQfNAsDziwb7LFscnKASUxSfBSv72pRrYErm75O0wHMm5mBJZoMuMCdNumKDzTyF1bOWSTFaN+8q3HLppjzKyXnSxAoqNsr6s7ga0r1HZMA4ntRh+bjX8S/offTnO1e/Hzmu5y/QypeOHG46lI/kM+RWmxl1nQ2DO1q3PVG1meFh9HOwd7zKr1qp9kq6rj4ZsYfgDM3hr4XHaop8UYD1uPQA66wrNT6oQ3G3BmM4iiM+/EiPcXW5Y9KOAdRqOoXUPRi/iEce99fNh3cAraibuvvau90+IKtSmzH0febXxxSVSZQu8cxdm2mqIS9O2HOe7fOhnr1AQyWRJ7rzmkyUf3k8P3ILsWR7ASMDXzoGR3ESqFvb29dX343nAvDnEjeF+S7577rG2rNfL33PgtND4ZTzUUL9pGipipMGvA9HBmJ6vQh6Zpyc/HIHCcf2zjmYWPpmp3U15ZKIx7qX507AcURlF4xzBkPrIp0zlmgwq/MbvbjE9C8g5cBNWe9OyJRzcr3riYfIgke3z9QZarlaznOfv3OIqZGTBL5kA+u2KRuksEI09sLksUcvQfkHP6ne6gTL6XfZU/Ak97rqz67Vl/Ge/xutcR8JQOT3hloF5ScC/0PsaoIFAYKsGtSEDVc9afX/bdqoVyRkDCUdRPq4uft5Bx8tCeg/xb6yu7LeT2sr3gRS7UWy7cEZwwrWqm5a/R6BJbWAgniWTz67A2Fs8QZf0OVFTdoqjL3dhEulJ91G33K3TT6e6ENvPp6/nWCuI3/i5YcEi51jPXqICeUMY5lrM6fkZttKye9leeVP0vw7Le1YPSkXJH5QPpWXdJobbToC13cEVQQU2EqA+UrJojG0ljo1pQIu1xSesV61Ts2Zpepvq4BvIoZqfhUoj+el7zTOqT8+9fieOhNhQe0NBUxu0rUoV1soMF5wpgiPK+j96qBYm1uTofAdTapnjl8LRLs9/xGuhf3gdZy8BwcA2/xpC8I1R8OkGZxb3bvEaUmdTITVID2GWoDWPrivkS/Vm5NJPbTAteObZ0YCPHr6+Fk18nsFaBzDVNYLbRMvkDkdTcpEJF9U39miv5/Umvi6pohTJE3FFqqHzf28RICvq//Pym2FPrtfsegNeD9EzdjJ/6ASKMQiCwDjK+oDKM4Ju8g+ZvA6mtYBQoX26A+YB2hPZcsC+Sw7kjTPxye4cZwWHkrmp0FyBO1zx8M3FCWfyMFm/fNuHvjEy56zj6+wrCBG2/w6APpGOIx2aMgLFnNnGtFbV9n2xkl04Hy3HA2zymjo7GKjuBSEXAG7MY0c8/tzw0K2nOJu2IpAQfq7y5lK5Ybzx9+0KnbAtbnmkE3RsUn7E2d4Q9DZWkUpl/lpU7Z/aNcudoVNYPifnTGIp76K6M+XnFeYtfvf16e3vNSaNbUzK5jzM1lsS12Ud5Ks5Z+D+WFbU0PV9WjwelMZKRWcdj2nFaqRzkErbsHX4l9iB8MJg/LBlNaz4TtY4WDPU4ypiO8apoH46dm+LpI008Mxq0LveusDSrXErV7v+MZZeGcmWQF7/zZkpCobZJMr8hdlDyfv5bE/uCSXdqYhQOjUJsSp4Q4zCYRAPohtZufUGQ1aJ+8qvcaAK9mihz91kQLS8ccdYCDZMD9nPaKUcjOpdD4hoGIAc58FXKge9Z0JJSxc/fvgQZmCdV4iMksSPiINYAVc+7yFi1fledb8rfrzwEFTsRFH6OCL9Sn9vqgHZetzJpHl/D8spCJ4ZZC+wyCZ3PYEG6blLbpG3j4h2qb1l1UxF03js8od5yRisU5IJgPIOb4hUz95t77LuzxAknJNfjExPCTyaM9RWfoXr8jVshIsZLkbG7D6kfKdAtXPKgdehiJrg++n+6Bu+q4DU1VAPauqlLTSzBEMeJnksG3N21kEiRMNFVzoSTdEtJwyQPxCcbuLIbrbwoix1mrwUKaYx68frLfF9hkttre1/pcMBoYeQdK120XuW/Z0izGXN0xIB0jCcV84XE8yVSrXLvf4wyZZAFAFFuNvuQJKX0Wuj26IfMPXMyJ44mMb1w1GZEXc3stezmILA2NM0lLKNp2G7fKAQX3TId4+FbXm+n9Yg5VWpbFQeNaAcFi+M+zV+tLI23EHzDjDaitvwzfU8hABTNW3p7QKstMUU5J1mANLw0jr6SEHA9sILMPiwzCSsP/BrCO6THW4+d+4vJP/Zl1qncWoNU7lu2okriGQzai2OXH6KA9qeQxS0ZJV5wk6Spg8CH04KvMlaU6nhoINdDWvMJo5nlowVJKv9Q+/eHSAdulKWZejQ+aeml4IF8vAE6EH3a1rI60tvGY46ZIVcUnXeJCKvRCTBGkaSQ7bhF7jD7L1yZ4chaFORMwzlbCeQeVAyndGzCSnOM7i1T/FQrK3QAxAmXcvqzpAZ10Y7O1AXWWN0W3BStlPY256QMHWYuc3jsa6jV+MeAzr6pQIH12BYAITsJvL+wAB2ZfD1ivGdAQduHoPMh7B3IqRz+KB6a5seus+ZvWwc3yYiqekaFlUwB5xCvolrDhI7wTvZ5opoAh8qCEjRGunBnyc05gPkk4hDDrc8GLjlHjW8OYtD1yINvKWk1OZ/+LNGmDQThIAw0dcnNdvUCsJIzm2CvkmDkyP5rhakxPx+406WHXKgbJ7fb89HO+p/BAst1hMI+BTlMUd9sY5THfXFx5vrwtrfzgLVSwylxq5udkxt4zlc7x0ETKzdpAeyW+qB/pnGT0ytgduV3NQ/K//6KqIHVItaQd6Y0iHBfu/xLi9Ihd0c1waokKZovfl+Y/vG88UZWotiM0m0TXuf1Kd2wE3ZoCkFBwPCIARUILoyx9udIbUzvQfxA8tsr9Ad3sY5/snl2UKa6/dQqWtBSBwXXYH5Sq6Du/tWQOVgwCvOYM7a8VjrIjR6rJ26LoJRfpjVvRingFRhIX0LZ+bz+cpMaLcRQvfljCEszx0uASnR+XGnKe9TZKb0FGohKiAUVbSSdt3FWZgQbeidfvwnAgtIeajVIiwTaOPd1NpVHuO7Czm9ScqZrKqGmkiu/7X2ZmuoImQKdxcbGl6dnQMWtG/1BzbTNN4/8aQ/Sl6443f1bUwXG9ou9tKh3eGAo84FMwSiWyeAbph6s0myBrgbZh7Zkg146TxLq/C7sILLxxSC37zeqRvdC96M7fj9ECXN5nYuUjSaWz0kBSWVkELzEg4LtlMepoa0SyUdjo66ZC9RHA3EBztrBFLuX9EcWyd1I2Vy1RsSV3hLNwGGOaWAZTBgzknvpW+lYsJqVbt9nl5sGSfbA=="/>
  <p:tag name="MEKKOXMLTAGS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sQGbZh6JTXlJsvjRdsJ69evslQMfy1ZtjV8VakvpttFLpl/3iuXMA2X5swWxR8qrjVF/wlRcd1scns67R77q+E6m/uHQG/F7b7cJJ7DAYjlNpHnJL8bMh4prJ2OkYVZ2QeLj39ibszmzNjuz139p81qiteYh9/KNOvt+oM52zYPLGCoNMMocFdmQN2YpbYODueL/X/Mne2HbxsHTdBXgT6jWWp+xkWJOCymubC/Bs7017iX87NgrBaaEB03+R9S7GHH3f0jqDpa7HtOFhUKeI3zNmP4ufu4jqETvMUqtcCV4xZcWCfgu5iu/uF59LHPyAdySkpOSHtgKzhVg9NAe941/aQvcZlTjUn6LbPvpoQzGY0N4eF1nu90/o2xR4md2Ait4S98gGLnGbrQIl8Ao9oStlaornAipnDjwSZ04x6F5b4RKF12NU6+HOo5sMnSJBemkGAB9y1CwE106Xw7PaJlUCf84OaG2t34bNUeakzYngTIjHB4am1vr/W05pDvtEmU4JbIBN1uZ6PFE6LPxKC1+WiCNjc16TI3Ft3DTYmVmS83LzzcFl64v0H3qDrCqcbruyBbmxbrcyS7ASCM/264V/lZ2GUoOdxTCW/YOEYgbeIZ/zBuU4ZJKIavbO5mUPp5Mw8kiNJOLUaelJDxyUKHku452WFUCbcV3ocgTmPY5Ld2XBkD1aQKzdut7EZSBBvWG1lfoKFP9GIo9P+V3MXm3IzqM+GBnCsPsTs9WOkNmEsLaQmjXbP8nZap3bGY4WZGc9vN6qI9P+D9sAN4acyS3kYLbJupiJXmZ50I38bHlNxNnL0T2fMIeHelBbE+FioeLa44N/lphKdX1u9GFsNlsK8e/p6TIM9/ZeeauOhvzUofRrVkolLCuoYndlSKQMVQNLmNqBI8NbeKAkGspctt7myektSJi76D8vC61146ic0uPgWwjpgxPWTeOU/oPU/Yi/go+XQw2xTBT+1HwODcfMNLRnN64QN/urCh1mi+FQJbatNXMbsP6jncljZ2p7Wjvfh9bEovUhC0DJcZnZoV9xL04fWpzqglyrv+jrlBH6rAtRpqi9ZmTGMTYZMvzcJiqNdTU7c21+34gBFPwoGr7u2RXOJ0YTjVfqw4gw6xFPQsw0AIaSMR1snEohIwrZeTF/4Rv3oFKS0YjemGfnCSTPMUau3YpI/ZQd2SRCb5m8LavE5e1gZdrbb9oQ9L4tb4g24KLRKEkqn5FMDfwpv772+RFGK9XRvXa9Le/d9AY65NF99Cam14Fl7Z3Qtzo9roL0DCubWQ3g2/5qgr73qWr0ks2ulPMGLyEd1Vf+oXgHiyfJSKZgVQ6xIyKr3BkzHls8kGqGhYfsLhuUQjm0Kd01FqhVMFXxizoDlEcXgmXajXFf3wQiuhc82cJYU5Cf1xhJly6AwVg2Uam9HGzXr7KPsN0OD/qm1ZOI41Ni+frjK++kv3LkM0J/x/OfbPnAW6jPKBTd9j10PAh633DdGGRKE1nL77up5M3OR0DEeXLeiF19okq27Yp4Ij/HDPU7Uk6XpaUZN4V15C3T+WN67IPtOVMSydKaYGhRVnWbJ/ixwJTX9Vj80U+TXn/J+h4OaEoTe/mDyvPKZE3s45gXRkcI2T5Pstu2QZQeNbY5YAKNXd437uW0N9zzaEWDmiNhGCq6Xjom0i+K9AI1LYLdTQ2G8VrCvi3lD4jT+M1vNae9zcbkTBmbeyT1HauGFthZdqNTDx5rZ0s++GdDba+RusMkTO4jnVsTNcesRPtbU0kFjNwPEp46xeemIu7+10Ai+i7XVcU3/H970FZQFAy4KZwt5OlI6SiJ/D+Gl2iYDiolwVJM3aLN2oO/Gu+UfC2X7CVJgHrT8xJsr5NfIM/0uRom96OtCIv5Vxsuzce8lmGmYXHcioh/4mQdMYSEWtUDQfL3RN3IT6OdIwqXunxVQLH9t5X1sH3WUrl4272xUo40erqhR0aunwnKMw3CVOwon/+vbwKpQH5hL9Jmd3f+ly7qibImMBfK7fw91lmu0H/3CrnG/EK9Iau6/2GT5PISvZTYQaZAE48KswYANY2LFDhTQy8xv2VX4tywr26iGYSHqKL/aRVpZvg4AxW97KrzLclJnGHSpUeoZ+Xm0talzhEy9VakzMXmBPrwI802f9qTeUpCuuxLDTm/Y0rVmGcSziB0QVbbpX2+S9JiWHXRPCuEWsDl1vOfeqs0VFKpKdejrH9sdNnHlVXWbq2J78+Yxe575Xkzldup3rb4WfE0/wZQoxGtnSgymuJHL6RSQRN3jkDd3dcLm9UWakRoRVd2IMPsN3YwK6XRwcSulxVeQVLgRo7CZKcaD8gRj1s1O+SxRMMQSmC1IXoa/cs6EtnpZq7WoBgTMc8SpEyKFpFVSx7ixsrpTNaWGhMf74dx8ZiA93/K74wzSt7sFAcHXmdwboS+uv+octu6++axqJUcUyT18YIofZc13JthvLFev2gDvV2VpmLw5y0bYTmVkMDUwcej2ehxkXKDCp1axGlfjjPiWrRUh6K+bP6wn4mOVP9MFf1jIuXJDRyB10PsV62J9w1/NbbtLxSfF9pGqyIdT318sX7izwML8Gv8ouXI5rsu6IM2HEDC9gDjc3lgGyeraJdSbNinrtS8gZwO5EDdoi23bWP41XP4ase25tHW8oewelMOwy1Hj5NozdIwWFUr6kJx0RDcFFpqnlcKWuTAj217OePPRrCgew+1erK1hECiUEBXiblWtwEpYYhTkwbFJkUnTjHeqGHnmK/w8TrVTjM4d5V2g+eUnp0LzCf14vz117gzpYM++lsCxUDsQUqeI+R/QXhsIYS0nT3VSw/GI5wcD3CH1TNLuIluekNfUy+Je/l+tELkacPT4EGjp80sqsU9ZZ9vvKdIXxJfmgUEpPEBx39UUjLhMzhHF4lKJ8G7sfqvJje6sbYjpHMEJbpgAK4HronLUM0PfX7bpzroT+lyGnI9/uauPMu5DTFBNhvZxAxYm0Mly1eJL1kr2g2TySyfm0BQf7ROmKfRvdTqyETVjoOr2xCrfkzcnS3UOfaa7CNOeLcXTUIvuFHRMvD1qbdyt7br915dGAuIZUCW+a/FP+QnYM6psmka4T1a0XEgIQSuTxYs1lyj1smJcbkHwM9jraPQvwsQ9jSyLD68CrEpJVumBiJuVigX7SlXlFXlJ5DVNrNCyVdLoxkF5pEEuHq1AYxbuZVLSui9cJtcvwRW2spxaV9ZRfuU2ujobYxJZjD5qmqszdA9Gl54SRRQsXYHDMAJlcEArwDovpBsz4mTkJMkg+Tjw8UTbsJWgDm40B4C5KRhgewLYTG71exTs6pqqGNZVtbs/7Vo06P3wmwKhccFinlcFixG1L6M1eS1lAohTh+TKd0RbS9ODWPk+pvZnzLnO1keQAPV9hWtf6mE4jjqHJTRqw+RFyE4auLiSrCcea82JEXYqPwhLgeoF4LuzlGr/B0LAKBRENsZQgolexlmHQD7/+tf+mOwDV+HP+GiRYUHcE7+YsuGkL3AOab6nXwiVNMkpWu0XclnUg7QrWEuqp24pt5vEM9ytSOqGLOUyjJ6KSHvDWcxkteUHhD351HiLHtQKik3vqI13G8fXJ3C5rmGZh87uE0ybs0e0b2mEl4xXkVZ0QiomF2GL2NiEMKBFmnmq/1qIkmSA+XkvZD1NMNbbTYk6UUQ7scJDXhC6yEBkBg2OpFiJNz0QHlgOhhTSPJJPbd298+F9k5x+RzGW6xyKw7Ne3djq0w+zuGpWdy2Na8lTY6VxM1TPbrV4SlU+/PwWaF2oyJmqA9GOIw8rpVYVVDUpvLyTDyc+euZj67/22/ekhHoK/Ymu8KGLVAQ6U48rvi3PTogI1ZpoaRSf7U5l2Hw1WxI35b4GuN9vaHk/m4GQXvCrlOJzhr9g35ZK2MdTFbUCQlhBdE2Kev+Pmy60nLvRT+1dHwGVeIW2Sz+z1VwZOBIfgID0qTsJMYVHDvjIqj4NlhYILKRWmCEI7GU6cBf3DlvCtvtypz4lM+Ck/Wsj5HROFjVLz21rroldY8BzXAA6O4Ig2tiH9SeNAGkRRFxXJ2Cv/kPsogbBevaAiI1OsOcLvuyK0CoObvZynTLvQipU9zfV6sGgqajJ6SsZtnMdkCmOLazTDCR/fnanTJqmDfPOErWWEJ35v+NI1aOgSETsN27M+U4kFLcLyZz2koXRkExdKylrkTN9//skrSPmxRLQKOasq3iya7ZlNhJiF96wTo8nnF4ocwXZxK/6jFfk89EWCK9z5NTK5am3s+FB/5D3efeCQg1jM1wNosOrXbh1AOiKH5NswrmBGh3cnN8CXfSPKdUgfUCmIbWlelqxOUe1Kn4qPH9Ok61jVpNUcOxSzPVL61oFu/64/Z9btQef6fXMgg4CUGm5NaQurezc7IzlwU8Q3gmANzvom6lbYfF6Z5AlvNnm9eccHTRsdiYGCR20elD6+rSoXpMsk1cnqdQpc1ZYdVbplIapwBTycOeFoVeVWqpT6W+30OjXqNvx5cztwG4KzYaKBaq8DY+pZLciMLmVtNTwdeiX7JSF6sgsxTaJ0I3503zSe7M5Ikmu1amBbfEpRSvPmZ722fMWSt3u281PXqfMtLI4VWUhCbpGteUnUOkWIJahOfQtN/bRvsArDxOllmbY4F38XHYSB2gX/LMeQVcqdUzTy+Hr4nAMVu80LpnbViC4tt+7/+UsZnRpgbEqg3KPQIq+SFQiHFtg1cYxQh53c2lW9Ij1pF8hBLIFJqFhBYn+9e8YcKN3FXyEM8dqdmS7nm4vXZk9tV4A5nHox5ddX3xVM50v0esOwV/w6QNQUVxyayRmGF4bgM63SA8jZvKM5caqIuvsTzek/nPY2bxq7xMEYIsOIk6dupJYe/K+jVZSoCF5ZfkAvziFYbxb31FBDw7RNLAFoy3Yoj2ZUZVSCHkQotiRTKbQh/ATHdBzjkBPAc0q4JrRytaU57Nkm4hMVSawU6OOTYvZWCCG0TK75UiZvl9p1OBk3ei5cYuvYwQ7WuavefMvIA8hweqQlBpbg2aYo0bOaJfoZjK5D2coyr7aec+yfIQ5TfZW4AeOGG40deXHkXWNRsDQ1pu7ZtWPx43MaZ83jwNQdBE+6jBQdpXdqavTzqwYcSeyf16kDDsTnTColyFek5uOTjdukJTxsGmGc8W12LJ3Szij/A8577cfzD7MmHuC6uznouEWcBbH62p1WC2UlT2mWjwQzTy6c10mLKNJ1BCyhTUkuHPv7rSdMQsqAy0W1Z6HWh2KImVgufDOCgn4CncJViw1wY+Guc7gAFfkNPrQFEcqi8Nmbgru0oYadBjU7BK4gZ31NjAO6U4h0SjXelvElyPXiDjaVUaRZRaqySvk1Mvk86zNmNeF8ti/cPEDMfHdG+75CCMNl08+RxMLA7bQnt9iKZdN7g7ZFHrg0U+/4UQ6IFL2+7CpcB/M4YXcTQcOz5Non0ZhXZKS85/gnkqccARfOEi0C7jsE5L3H4TUN1vNsRkmryzBweP0DYqcYLXK39MsTGDg7DyNwBaTDAHc/CyW9eSZuqlYjO96TjSI920yQjjuXZN+V9THSMZ2zYh8BnBMeAzu43N16fz9CBLW/QGpO87qlTJGNlfdZ9+aAeTLyWyI8JfbSHUMXS9Bx4au8ZiWR+90aRcwCO7pqY8z3rlxgKQubS6IL2SVPhdlubrM+7WKzun8VjbZAA1MW6vaFcV/6BIMqpK8Jyjj1GxxS+vjmIspz6Q1HsB04bNfGFT0JocZAeH/OHdsmz90NfcY6PN88KCOIAA83484LJX+icsImz+Q2y0TMRRKlvJI07dsalvcY4bKE2CUHMF8oWLfQVi6vjvTyF1ExdUpvDf7ETKZqU4mHAhxlgbnfMsSvqdnbAVsT+ArxyP7lXj+QMoRYM2Lh86R+mB7dUdMw1qKCSA7CKob7cU+QNct4VqfEHUtl7WimmOdE02U4+/uCQ/VxAYivMUGqpnB64Ct+PNQxhbHQSjUi/Za9sH7qsWQ78D61gDZQegd4yx3NRKsXUGRhA4H2rc/aNV9BylOI2Q22ZaSmki3lIJ9lJ7xvYB5icFgJBefrlawQ/V/EodCG1BT6dfhePT81vbOmniQgRiGKteYV42tWsQb5+MiXXzIGvZm5MHpmem/vEQlmqOtNgzmhhl+/8p25tbQZLvgCb5e6MvP4czZLsuC5hUaBfp5Riijs5XWHp3gx+LKJc33ZdUTbI9VifXEBeTf8XzAqXpdobUmnOshOGpqoLwVUv9Dm4Pl/9kWwGc3lSBLcmeUAk+eXSNgCJ5dZv51XAoY5Si1+Vo0fLZRdcg+YRGa8HhK0QDVDV6OBpzpME0pm+ePQnt2GLTz4+YEm2jBOce9BfYDtkm4FmD/hI7ldW8zTuwHCOmCbftyG2GoBC6CrFI/AzGqSkxi7iwRsSSIFcuxRoPsaE6tc7ONjweCR03ceycZX6AfOvtzyomhFPCB89Ccw5MixavrxT/+ypGbNXLhcFX8z5+AiFwM12M0qOV6c3vikI//5o67O1B3BCin5KektGoFiMSRAlcrICtxQuK1YEofrBzhOu0B6SypoVI3adqdbar7ja5uCd2KJOWE5BZcZ+5PmcRilldxTtd/SmT7jRvDPVaiLTmFW7XNiQbBslXHKqMFn7/oYvDrnzWTTOHTU3nXcs/83G79tmWyeoQ/Cxsiuoc6/XUzHiYsZjHob41GtxT5cfWVAEzyNl1iw9fk2dl9ySJDnr+s+fuPYepg1P6gMurgw8PK7SABuQ1BjNA8VzYbWKtD7sM8yKv1D56TS3+jOrMorPCZaQukb6udn9NS0okanQuyVwW3IQ4HfH34Ku9Ho0X1/Zn5efmlZft6o0i11yz7CZnRSSWZ1vuB6Ko0YF3vG2yl2xzI2m/+K4s01jgHoHIjCGHvDD9YsvZozgW2OR1y8kz4fA5XY8zEeERducm/Ip4XXwxACj0/vVLJNnX6gJMaA/6nbgiKuHDIKJIMMHMse3H+EAZv5kmTkEdAsEtidqtusHHHbTmtT6mLJ4RZchzipIczPCpLkDuourPuOHhWRwyw2RIKIYyPJtmM/8Nd+Vr55zOpX6UE14ZrRKXkShs87r4WbndlF2N5a+xFeqKxkk7epHluotFByuqpNq3PaGB+EWChOzYhx7rrmKHRAormxTJvQ2CYjXxFDRGk0U4qiw5KQkM5YN1L3qdLKDMC50+vP6+UW4w/3FvGdwR+5D/c0rPCL2st3UT+oh75bxFkqYaC+iHAls19CpouNDhqkfJ1GPuzfdYrF7plhAbvcVMf5J1A74pXdl0xwXFXDjynLDuIE9BbI1esV9Jd7OXfFIsSo/DQsLliOskwpdtoZ+zVfvO/XDYpLDEAf9nO/73t2cdGwZ+zDXZkwNWpsu2Ou31FlO4K9AKhtuoWgGfP+NQnU3X2Ur+20f9z9KwIQAYDXKabwg6UqH4ML9gVRn1xI7Yi5Awvqof/iKTGzEN78OfBEZVuKIgytwxQH1MkY+ng2mFcMKgx0GVJ6+5pK8vY855VF2kuNxjhIrewtWrn7zXr8ttiNOynoxsotOTOGju3Z1IL0ZoViZ2a71lNyCq93KM7LABUq11Ua2rpksWHyYgvMbCy11T6EqVcsBaDCLGwa7OAkKUyvA4y2RuvKczoaYgJdJVdBS2gGOX52O9mCqHUuhjUp5mM49jOXS/uBspUNeATZxczCsAOqyokQ+WSU6DTSqtaXHvRaX7CBgbfecQTSWhubRT3dQLki8dGXtzHEvdi+32nRM3RD+8rgkSIRae7wfgdjgJ/johTW2FpDD9E53RcW7v42OkgqLmXAXZLzSAVUnlyCCUVP0LGYfSjAHoJ9W8XTBHNrfVh1HLWtEMkwINUoSMNM2B2pyJt5afB5VgXDkEExrqQf+dNMWlG/2g1pFdnOmWmdImzTXm27Sn0XT9h9onFFLKVLV98DrRyvlKd2YCSp3yOg9+xMAVLaXikvaehXGFeEwWpGyFaQSdqMyQLYNQgky0Pg2/CZb/LElPaIGk/unQu9PYsuzUZH+v1SCVhk1Wqfwrp+IW5uD8V4pQ1p5Bizg+trBEsZH0pnMC0tVI/YZHGjXW6hS+H1zMMPktcLqj97Yj24iMyVLI3RJ4L4Dn9NUp5YBH6SUBJSkAio9jqpkMsBEwu9nfpU1uCiLdxat7IXrHwwtjO7XMVGM5Qh3FsIWUeFY+5J3me8WhLfLpYFXpIUuqabapM4kKV/TaGgrZMiS8ABxZ5euKwZRkOVOTE+FftIvQ7NBTPRegNpF8g38olrL8gdUK9XJBplg0XCq7SgQFVTfe9qZ1gh8NqQ2DAZtA2RM3MI2mVaBGuw49dR2lIlKnXbj1eVUfFn38MijbdjMtdutQpcgzXCBRzbdwy7CjHHPqlEwWPGD9FB5Y6vsrwHFdXxjNeA8+XXUebdpxvK+YIqxAyqG3ZnYAatUaluqbRvjCGxyoplH0z5bW9hvFAjdutHh00hfj65fm1dyr0hf1NeuzUuMiltMhTdZfj0eN2AX50+QAQatXhRYKMCvo2TNaEKkjp68JQUOBcxr4qUtrrNjnk6UAxGBk0rBPoi8wU7g1FgPwMt7qRvbLQWS0Xxxzv1uqTI5QCWixTQhXvKe6rlIotVJohXI4bR/EYRgcGVisksQROQMkhlTfv2No3fJ3q0nOzMdTOzap0a/M1KHVvkdoatTreq+XOcW9J4nttko6rWCi92fnFA6Jznc0+XV4XZPym/HX4eEERlShsiKfa9rGfKQ926n46GEOGyfYkR7ZfWNuZmULR9I5Ze2ntx/QrEX6zF6rgmfYwz+B9oj6pUY9o7Hs3cKmE3AbNED7zl6Q6/NnNkobwu3XiFKs7K/g+o5QnUZwYp7a47fSa4kkuiFGW61r3+TPRqwETMeBLXWOlr0mCcksF0OPFxV/EW27JHpSV+Xg6/JTUzeOjLlayDewLzRW/163BgIZfFNZRmgedRr7ECXwgtfsNQU/gj4CAncWP/atNVova0dLygWkd+1Oz3ovFtNyiYZt5QETV7eqUjRbz/3vqLB00MkGYpoHZm/AD38B74cguO8D4vA80g8L8u4igmUK21o4NPLuwJ/LSjqKKaX3gq2qnh3B1ohJlZROHbWKQLmwzmkfrFia//lmq1sjnOXmFJXop3IOrLs3Wvxd/1kchnTID8lQPwJOHuzCt2Zy8hGvOSYx34rbYZSjLaihY7mnzZVB4/VN+5FHWxTH7J2AUEM7sl665JJYHCFVcUR1lbtu8/zTCfKBzmrkE3Tlxm3ovkIIQEihfaUrqyGDnN0NrQc/gBrHQF40wNPJpO4Jr402R4vpK6OQUPEGIA8n1ZyPYGpwNNqqhFXjTh76ihoZsu7vyxGllSVPiBfWkqnL3DGuFiU/o6OSyHJ/UN27xBV+SdN/GRTiYRSNs0OxIu9rMwpi2ZgqlHgILKnU8KtojCBkzDDFYRoSgh3KmbL5GLZUJb5itbq5B3CeCjkvWoFi+RpKUJeLfQwQeTM4LF80THbHihlthw1SdW86a5Ztvk9DjlkHUdSSukFDzg/wWlXk3+GWkg/IHeR/gcdSYBVyULHgUe9Dh9PtapCGBbCaqdvwx0XghYrnDWhuuTBP7QRfnZ9yn8219ULgqBNNkt8oLp0r9Tw6NeuR37HGtoDbd98xAEfxOdGz3gXwSKdqMmBEYErrX4XKCS+VOeOhEbj1BKqqDVSJ/hg0AEktrZjFnZ7/30wfv7rupawHxN3x3mYCT8J1L5sBIGdz/nYNuWqq0r5bArNcGUi5s517YBRpwu6J+wgvl0uiAHSoHfbFybn1jgwC4JJ/b+HRWVODZWLKG9bG8cPLzXhYNY3lHX8KxTN16CbiWgu1VJBkbLm4JOrZkqiSGGxXsentJIQd4EZO5pvZktGcICkeXtPG6C8k2T7kqWpyD6/CqgL2GhI9PtsmN/DrFPunteSMJvoNXKwDzAZAE6KYDb2ShP35t3mK4GTslyMBim3QmGFnN/mRwLWXEWpvEp5ogxxsS8/tdVqwtVo/xE4p3oPnJajAiUZeh1OKHsxLmZEVYd5U7QdChKKVzyelMPierhOMXnLXk1c8uh2ktbJzXJdA5fEAbG3fhqt/3l1jy8+hpsiwCwr1YohpmJiMeIGCwayByxBx6NdDRqDhiFakyUgJf2zRE57IrfFvE+2+imG3VYWacTy17xh/v7fCseu/DADFF+VGpIaX4f83nW4zaB73ahQPznKy38IZkduRAlFLPX2L9hu9R1xVb9SeZGDgr9vlDerSfBLE/JAz90fDR3Zz4m6/zLM5SrDOsIj8A4m0tuIWvkSTuuDXcaacDmdjTpCejXVV37tVPqfrmJn5YgBUErWVYmyYb6WYEwMXDnlFENzHhBbOz8EwdkxQTNbtFi18g8AYXOdiffodJJ9uWN9XhoJUbooGM56zmpkr6P+loGFMJ8YGWot3bYRoYwGkoNRyHgN++5faMEPVG4YX6TvEtHv3n6drM8y7E9FKghsG7KVzB/DMVi9xavKyYCRJJwhAU1jxXFFTsUQEW7do3ZzH1kd3xBdnId8oCWZm/Gn85jkSAllHuTlpzUJ4e30pfwZMojlgWEI7rk6vXIrnpQFqHUmYvHAynitSaR1vIBO19AO7nimWbhTJtfpFr8bnF5HjcYHgUUs3dsiaJ0JyFk5PXQ61bmR01szx5IJhVR7/w3k9t9SKo7zsLMibNXwHH5lRWkL4L9Kce8KGw8i8idSMyMKF+1VqUodgbFQwXthDDdyEOHB8SRD8j7bFH8TjGaBauUPwiu6nYJXxWe2xUEFtZW2c5UFpd4J0v7x8LQwwFXtngLa5m9/CS87+0GnoVS1JoS8kaSlQTigJFS/t6dJ+eyJEpFEKrzaR+gLv1dbsVe1xQtZ2lWjOseZkWRdsGJOJAURt7/USZS2FVUrdOuAAW9lcLG+1qVXrRGK/wzm7tpA1Zz1h+FoOXcCpjp65b7ONpGtD0pbsEIK5hBNeoHxS0h9HNVIA/vtG4P9LyKZKD9TwPplpbidoEa0W095O/kOq+9kiWCpXvrsvGGsU8ruxlJkMsMx53Gk/Kyov4+iIurrVOEp057PXwOwugwObFyOpA7w/E2yiQ08zR1C0IvDGUW0UXmugDe0OZYGXovzxsdwt94OeiXkvvCOT5bY0wfCQlkRcpkBk3KaV1PaPnihpSvKvvuumUbBe+PZcSripcGnOrZ1uGBaXoV1X4CnMdqgFD86fKYYgL4tLW7tYSx07EeJp1scHPZoTOq0rIrIuSrddNjBBkbm/n/Dl2L+HVuQdvtebkMUTCrJz3eBh7BY2CBWJ+b/pWZGlA7eS0BAyv5tzFMo5eAffeNNXFMOTgYfEn9E0eI4UUUtAiQNf7aUqiJ4TVCtXw/EXhRn4ChRfdRDhHsUTwVacKbKuahM05jEBubDsE4+x/NrRPkb6DN/aAMMhvg9IKoDzesUOMyPzjA5Ni2Q4+AWgtNqA0Wkmh01UZOJrkMR949Yd120HfaaAbi8rNYnRl/7a5XUY4nDn1tbkVDEMD8z1ZJH5qmyVygPZ5KDLo81aXM9MUsBy6d+Djbg0dwabK718OcILvoXesViGMqmP0o6Jt45Sb2CRwosyPHTroWLOWORq1TMMVU3imM1AhFtrFUq4XDIRbItGlSTCRmIukqr74Y690xpEmdqorUQMT53ZgxQ+l7S9eF2cksT2FrN1Ht8YdM/TNzocLqvPZ5bIfXH+KTLPwsmh3qgc7gKpcRKT1gV0PQ1BAQ10NtAUC1b5tQoDBum3gPfoFzJNdjpkO0ifIyqTtJSrDlyVz7UTeLk9RwBoxMGsWjm01//2Vr/KSwHvG/33CZl6OjV9ukoJNua5+TjW+EikXDncfeFcIS0xTBZCl9yo717MKAqte039DAUB1qDuRTpL3APYzBu22FBIF9IiOTWH88SsmA8n6UdT4AUTn/Z7nKpvDeSE+IZVAv/Ln9hmngwFV4ZtdPzVtSep61sDPs5n1fH/gX+Akx6WtkBIYwKOYAKiVj6cPx5ZPIDwuZo4Sm1MkA+siIilwWIIvdI0+psC3jStttdG75Vg2FxsXXCN2KRB/urHWEaqAVcU8j+VHckGMucvhyJG0wIWguEzMe21GDSu+fH6t8FBpLHzdRPN7Rgl6ds3Ioz26R0mZsa9kpJw9peLsY28o1v3qVOrdGay8dPQnLCB02ZmifJSxAdk8OckBoZHUVBTUySLrnLBB2cOO+l0DGha1PBxyFWC7gRCw/KQYc3fWX+u8NYVqQXWK0XIdVhFODT15+uvijAW/mPMDBAzNhPpOLwVilc59FeUEXCVoCBiBCKoRf3UO+G9RtzJkVpjZzdvu7tT98AGHTnj5dfACxdEV1TvsK6kNY9jhMbz4o7JzxkXuHYqCGe4oizActdlvyANUTBiceloli1TWndeP/MdaiKC7EZAANYuCmZEPgN/rm7fHruC41TUkxG+ek4fEaKroBKyvn5uKnUayicxrm0OTTrXykeTvsKa3CT0CwEscx1mgliKk8Fans/OjM/B+YR9tDPXXccUs6OiEaf1nG+PRRIubGiU/sA+sMG5AzXr7KdTndfNls+YjzmOEWGv3TryM8yj8Z+C9rTn2PCb+XBXqQl8Rex5ggMKDYprW59dbI2cll7VGzAthQHz+mj3G7axlALddM9uCN3xe3gxC4h9L2uX/AwzQunNvsCYvZxImak0pp8p1ik2gI/UIrLb4cwsOLeM3cXNztPmYllKGkIHdKrVDt2mbV2YiVP5/dXfYQTTW/YU4ajKz+k5YtyrLpez/DP7mq2GP6NmF+QjoKOSCnY71CvKo5ZdOqMT1hdoE+cqY6Jd4KIrWHqEJ41CEz3F6X6+Dc2WkIvajMHg5BP4GOPmQV0ZMAXgKjw80c3wAMpccmUyJVBpWmBKe/QrBJzqnLTWqXPFcQyaKrXO1wMLNb2uFoNoZDsPaU893j41+Zx2O6ewUoPLdsJaU9/C6wrs9IHNX+VzBt+VDkkf+0NhmW1/s1BUUeMK/CJlv4Vv7Wb4aGjpLc3uTcd7zyVpKp8AfhpDMqJrxQdEiDxn8juzemKVY3TPS6JXAAW5fAU3cVRDqsrnTgmLdCG183E0HsQrnV0o85skhPnYJ8zjTkgViq1Grz0o5WVTdnIDI7IeQ7/Py6plBtNb7HmYx89R2jNrgNvbpzAcGXrLarmMr82znEIAa2PGh4oiKXM5qrQ5a4s80xT7yT6bo5T8pCnHE3xP0ZTGGqrYcW/Ss5c36rJFj+Et27s7EEU6jltWGZLJnNB0ryF02sTHPDlAhcuHsqhJKrcVt/ExccByPM11RLAAkVw3rc46ISP7nATdZ73l/I36BB+XzoR0olGz7jvGfIEHGECqjCAjvoEpoAOANf3tZzpPW3H1XZeprtjoAIX/0ushSdjUxmCO8cZl2WpVDgSOGUxO98Pc6DXG7bLbe0Qv4CayMo7VlA5RZR1gE3Ewi9J1w2IK0AcGM6FlS34vtWkZklMhgZiA4XzXJM8CWhOLcAxsGP102RzUhImkGe1Y0kjzOhqn+JPCMMa2/93WOzhnRCsegeT8mFuzjsB5wHKQ0YobJOPtK1v4cJ7tcCa5oQZs/7nDUX8oQrY7wsPuD610A8lRiUo8fjX5HxusXfG8gHs52+vxKRldOwNJCcaoLLux7ArHdwKKu89CvpaeMuSnEpE23gFe+w3Zmdn87Y0pTq1g2O0yXu6riT+1EDrt/R9qDOypralY+cUWMq40jriLtWImDFI/iBwhkSe55aZy2ALTEx+7LHlAfqo2aiYJvLRoGJtLUGMIFaYWz+SC3mKIArITwTlvAzPopkwKRAi4ehWGWpbtpmmsa00DKbzV5lvnE95sysHC26+hdeXzVYWbb9JeKjvGZELp/uHg92FeWpS1RdJDQEKELf7HfXqRqZTuGUzmOWqZlN1+VIZ119vHAe+sYFQRGrTgRGICJ1O8GTpHele8xFebgaKElqjvBp6vARt/3zJV/FXjZlco9Fjw4LEHA2dA3v6QhdU7IHvDJPjuo+ruZGbyC4YGGOpQcNvLIbgVhwX5ZFL6qpytPcxO7G9jpZOJ8dY+X7b8zPNMJK1IE8AatnBJK7k/x76vkhhVam2nHgIhVQPgQ9/nTkBCE1aKCeEwqI4wuDinXcDw3rTpJjB6CFdY/h50gRKbCnIhJrT6j4eauW4AouK5kDycVt/yfJ7OmWW9tkON4qdfZrtgy/pjZILmZe5S9S47qbnaFPG1bBg93b9bIaDeHNSW07KGRXSCVw3UM3JUx1uhPOLoXFEVZ6SC8+qFi4a5DGYzuaq8dnpUHopfIBXzeU8lftKBcfZnGeUiG//+eSx7AXterL0MHmrLHYEIG9JtcfIelt9XaliEt3cXsOCrkhXN37dp3AwCTFKKOmzxdwilp3Lqg4CCOzVCxOi/ivtu1+islb/y+uZ5gz8QtoSNqQEpSQ24KbIIVSAcnPWBUtJy+lGlSlvlMw2/Tf/Snbl9VQMm/QHi8kfSRVDInT3IjlJ3UfJll6mQwJ2iFYwD1IrSlZak3LjRaGJHZ0iORvyqxU86OLj//oTp/POcsiGw/K0KCHXefYvWYRZn4eENRi1Rhu9BAQweXx0gEywHkXXjmiMlB06FkuMvJayj25yAx8rJvI2I72+LN7P+IA88kZ9ZsrU6FQeKBz+a+7yiXBVGYEYzxnUMH+BQZ4OrDME174RLqVl1Z76PUEymV56JGGV8rtph8bQYQ/7MhuULz0f8wRjwZeTEqbv/T2sMJN5zjA7UYsRxvBCad+0ff/2AmWpOB2IfO51xVSlqGkKLtlbmkn7zwhbWW4ORpKSshU7O+21jnqfY+v3gH7RI47VDQx1yFILQDUwRJUZuzTw0jb+x4EKP0HOaYne8/Zy6qYK3aKv4kTbIbHbjZEf8q8/7vsjXFQDHzv0OFTnQcwu8cdssq1rRhIFGDSAJmJcSJidfTYDYo7ZFvcmv1znK/8NkUP9xB0J2MUAhX3u0q8BGNXxHAirp/ZjrE3eiOIWXeFKuT9GIjpYz7WxOg8q4dd+QprUd7hYOsQC6ZmOvT8YZX6i+n4xwg3YavAWFavXmHNkyGk0AlP7tUT7epiknVzgQRlyilCfYghL0ND1G+7+YAhqgWGgkk2lPG67x8v1bIZHjfJE2m8IxlAqDN9Nlax6/UNQ7odxHAo5gN/F3Cy6QVn7AvwcEFO28HTuBrL5KNvOPfoZWrvHa7wMt5rUdN58FoIL4rrtpw/UkDZdJYGgYHrFF2Wx5qG2xUZLvqZesE12vxDUN/vBV4koE8OYnCSWyl7pX+DUZC6UgPAR955BUyyfpFNO0Za2Kbg3pT9P97kEorTlIhOiTQBbx0G7FJdWLTurHPB+m4XyEGIqFKX3eIjMLlfYFTUSPuVWMZKQljrLjaMG3a8mpsoETe50omwSDXgg/9q4rM1EwhJ9BtSbnv2kT1H0HIgCH4GBewcQZMWvjmgiQukBsYJzl2AbVU8TKBnEEG9NuGYO/cuqTgzzAQ2LCyYyGTlgYkKRViWCwzCRXEsEK4mLF1GBj3ZMt3TOp6zsMsfDicgEC4hWzuXKAf4qv320lQyyBhsn1EATzTq6Pqhw2251e1opCQcaoYSjE8oTR7pp3uCu4h3v8zjf/CL2kfpRV3mSY3NKQNW/WxQKHNRRHJSA1CV6Z15IB+vRZzUlOLrmneqV0RZOHBky9ClJ1Gw5HwAHmen5D1Eh/ZGwejeu354OWjIeIE1UxmGRAW6IiZa1b8EGdKBHl/9ZZ0rgJsYpTdzPkz79rZsI+289DVlCKVmuaoGICUYhuQEQcnm8yxR4oJsTHJrJamJgah1DA+9zxZ/BT/FoM6hrdzWTSbZKEgnI/3QFC5U85uAL6J/pC+qBK1pLuMU6uejG++Vk+N+dzcwKIAlfGzVTV915CrKK78fvnK3+P++JMrSoG+VJ0Zp3rWLQrcYcEtvlje9YB5WB8zx6kL43S3lDhdYLhwdIBaJOZpxGeAJcHfW7FIkRxLLeIbVCoK/eP8FHj9h7q77phRxKGNzA1oJ2Q9Z5K2wMYKDnU3+3li+DQsqMa3NmfsJFFAmxqtKJUQNW5Y6EQtcpXUwXKsTUSEV3Mg4UeqcNurwvxAv4S3mjMvkIvCqmKiaAl/3jJVVMNeKgwnWapX+/xAqNdo+MD2O1/qCSA4rg1JjTDSKqHi1PY7H2DUfQaTERcxqUewZX4Y1YTUHgtwm8mEtLfrmfA7tMHs/MkJx5Vl4Z1HNxWlf3kBiUSsqgMFDzXVO4W9tkm8fvQfjM7arJfcUiXp1Uf3Jl8tx+Rr0DOVg8EHBnVGGK18n0rPaCBpDBjmIrqblvCJ5HWd7aT6Y2QN2yGOURSqdZ4o48H6Drh0Z1SbVsOFwSGAeyx+WJQVSK9Pt8W5hvsvdvQ1uZFpZ2ZOo467R75ZuzgOSMtsKeIMdmngVGvgA58OsPFTBCR+ct1d+Hxmn87Rh+xQhnPUiWfElu8bSc37OmKwWGd2NLjVWJXHj1If9Nj1eS4Wq33SMM4h5geai8KJkS0iw9TKcotBoEtqF67ArSTvon9SF1dtR1UT4IuqwJd/w/EQvdk845x7CY4Rn9S2GKKZd30h1KM0erMQP33xGXmzsis1Gullp012cjJ4NSiocwe62hdnyHdoK60FSDVUHtWMKc2E48U+ReUmvpL5gRKTYye3IfvNpMmHVEIpKImftbN5CD2fZneDvuapob2Ei9T62X0wtdZq2Ha3pCRzdR4kNC38AVgKGNkR3cMHHCTSXLG6R1GZdIaKITW1wvAXx5DcN3h1FeRyWQ13jIbZIiWGam1jsq/0/JVAXnca/tOq0euZPxcaXKzSUWqUHnhDndtYNsSjq7wPsLtl9KQe84yfXvXL3ph70z/pZy2jZsliZkXvFk1dM/eQ3r/VWIa432T6xZOOTUTnAchT/p17D8DWKpRwnCX+1M4S6XlvT1hdTL+34KcV3/4WFdVjtFVoqgXoj+pftvrQ97Lbz53axpABpMnv0tllDiLqmj5bbPG/+B/yZoKUoKZae6nFFloCkS+Ieqb4XlIztT6uopfN7KPWi+qxuY4TGWCPlvIVyMfYjFU+K3++G9QHf6p9kz59xPo45BjXdO77jw5q3x1cgJwBmXJxNsvdJWusjJxAxYO5+ZWFxf9XXR0bDY/GtvpqM42+ABdhltigDcPKKdeEp+TR4wmHggXbuk50+wo7YxYF3T5DlJ3XrBwQBFwOF1RKV+SyyQ/y5rtqPTXpJwi39B1bZP63kyGSjQgn5WCAu/qQkcYEkpscgXaP/TX7zijqdok7nJDAUsBknjrJGi3Ncy+xXhj6RBLEExRbqp1Yyk6XElIbqwE/vLVY99wFoUeGTjRuuGYP44HlnDMNtoH3BGzlx9YVvVw3N/LuzQ0xYYi5gZxo0qHc3kDrPvkWJLzs+i4pEVA13s9Nrcnb8/QaVCb+jOrDZoYDEezNutRAJVArV5mCH04fcjGwmeRRGkhaFnQTq5OC/nJJX/K0GsRqoCGgZgr9vwkAPotF//fdxU0obRxLyQhUEszAa2/Fex5Zmh9IWKpwaZV+9sAT5vK0nJoQbh/cYiQqx/KBOEGk/5iZ+jTqrnaD/VbfBqkupX+fLrPquBE3r0ah6bYez45r7LSMZUTt6VWAZLnE+kxYPEDJ+4v69c5894p6uTyR8YLKZ7XQfkgnd/mryCMXcT1eeF1PKELJxXP2ZDuI20IEGLF91vo7dQGH11JDVOx0J9dJcHWpmHud7EdaX7uv/XoL9p3XvufI95z5iSCPLmLrJqdM7IOjePLStiM0SZXBpUhCWuWrxiOq16M6jKX57lF7ZQUYWjKWw1UvZytW5P3nKH9MIb6qkg2oNc6NOWW50+EMMOzizAgu1zwbHtzZjVoaIGnxEP9QE+Ik2E4qByvrWlsdZW6x+ii+3UEypENmiuA5ZyMqK5wXbFcleS9WVsWDSxfstKkaySriNyvN8Kfeq9ptkCSpW74pCHamMURKRj/E9Y3vl6lDK0pCg4PauToBlSozSHoKj9ggmVNvRwy7ehEC1SI/nDKoNhrPR1Rw/wXxF4ChxocGDD+1B6EkMcJvbFa0El7i+LCqImLOv4oyTx/lrYbddHhFhtmXXcpSv5LhcEB9U9YZQWhsnBLXU8fm1jAn1hwg2tCmwgl2JtzF2FAv+ss2YzeuRuMMchT62pQgF0sSgYEAatNhEcqsZm0MFbBH3NM/X/Yo9xX/GG5E/JBOTHOdfftImgY6QBCOsYW45ydA8PQR/aXC4B7rCnity87S41giZ7zDBpBr8tS+SaaeKQfHYc06lAn2RHlpRmQ+GBUM9R2MJMxHX+B3MgSZYkez4gROD0Kq+RnAzK4NowafIej//DMVqhN82vRDZlJ0A8NnEO+rgWPAJY75FpcDj88Bs6xmA7qSLB5a9kMf5xnjF5U8FKTfoSm/QxAhNpHwEvYPYguEKbHS+mgbLcD9WwbIgSRMqOFLZwsFGyyxnwkh+QNNRZJYprGz4OF2zzQT86XPQuxYICKzAYwLEaVQnO8HVYZGXTjIUdvDp0vmEk79SLFCUiMV5w5Q+gayrdeQ3jSMc4uiV6Izkkqk3oEAWxjEJkN0Kck1fG2OG8S3Oy/8yI/Wrs3Pg0jbcJKbFPCl6DyP7SNFa6SFkIh1EKcRHpz6dPnmTMFDVK5ZqyGMem+xz5880Lilri7H623b8U7RAZGozRvx/lcNuM/zbt21Qz48+tz1+qICVz27LO7+VvO5a3VEYD4PlCrCPKnUsH6t5uQxCP0KrRUP6kZcp5yZ0gpkSEpRxIQE5LHr4CLzbM3p4jGeuMK5+BHJe3nwHhHCKh++joByup4rBkyu1xJLGnwB6d6jhSdfD+CGP2W58DZbCG0uuT4WduqXmECgtzCl/E4wC7x1DCtc7oi9kf6X4bA8NUplxUdtmZQaFSSCBucmayiY888K0g0yw3qt1P7ORZukZOoW8ugfCpRHZXrOWTTcBVsZagkkT4+tH5c91tReAmrNgPCYHbTWMIBR8U0Ww+PmRnsThhpLc4kQesa+JXQ8zM/aLshsGhI6GUAefwNuunBpRnISxYyrcJnIWf3suwkaZcX9gbuGPD8nBQOCLGRG8jE+2XXigvsASVzdeQcgF/lEaS6OcL7/cSNh010orgw/3GU7w+beLU1S51p3QseNPXNW5CwdFTI1UHwzo2bw92vwLtvWubzY9IlkSnR7bs7v+08BUXXoMtql7e0vOnxtbRY6ZaR8OPJosamUl2gZGF5SlbxAODs/eV8Ehg8IcwGHebciN4hK9IU4tSvw94dzC0XXAqf83/Akte1xnx0r7lNtpWbmYiZmxXQ642tsOE+aYUepAg6bjckPktklDrG+/LosVTiDjronQ1QCXBOCLiQwDLJNlLs8kxItGnjiBQCoUlf97IUUgxMw4J6vFMJhJ0E6E27Z/oVC1IiBfVqaOh8HMEs/OZYwR2tR0LeIAh+iKtxPKsWVUMLN8nIzgQNf8JhLNWdQJV9iYWHmws3sytirTo3V6NYQrklsSYGX8xGgQT54AtDlBvB5mEmdqH4S2y9UrMc4ZcmTsQR+xAZcG0o4EJ3vmg0hskovAbme4gssfqsBsMaNiQRIFTgTSpqkzyr5zVg9b6RrEe4CmgvdS92GReeJ+T6T2e55L1w0QpRvdK6ylJ7bmiZSdaDyDceuUwWeb8Qdelhbb2vyi2lwf5IFCBUHraVP8i0Se2oE11vsXLTvq03m+mueuxnJJN9CbKC5nWRh0elfbRfXtf7UM/wzIOh2pLEX0CDJ4+f2lcZrALfN4pKda2rexPjHohs+uvFwjtL5TgFCXih9W8r6nUVbEr4Hd+Ymut6vF3VmEMOYXrKFNTcr/KZQAqHArbtg5Flk9+NuFNoJEblcFggfF/dEFrXKLnhdWzy2snL7xhPQ41S0BPI088P/TE9uCcuTSJvMtzuT4RSS8TOgPmuN5XcVjR02StFymkb/I3G/GyYXn/KcfIkAOsyubXZfRSHj40YYBBTMRshH2niFS1Bj0+t+oakRVzJlBL17DWfOfFRPilNSt/8vb/bnXW4jhcu3DWcV9l1HiRn/ACHm3esWxxNdirULLb02n3FN7xFVU/4tDol6vANfFdWT/0kFBYuo8u0dH4q/HVv8D5tmIS3RIcrtvaq5yfo9xVAwZEGzPz/9UNtVDv1G1ujH/JXCFBLi42BWePzo/YZaXnfj1ktHTdpGVf75340Vz6Rknb1/PBh6ltH5CM/vSoifN4rUnuvzbaS9R58KQmPmfEnhOsLXw/q/KRv+VSNoTZAkAhjFoioLyn1pR8e88G+dErvv8tlsVPlQzSBs1+gF065aLfKB+T0dLKYOE3saBqpiBwdrpynMyswFCvnyu3J6xHWc5nxvJfmzUDvSpChqCCOAXegWP5QcfFLs7qpe+ylTTfV9+bnn7fNiTLhdrOsvKGI0Vwk8NRt+EUXT8JB2Zo0PtZtQoGOlGMWezYkcm24Y8RxEe4u76GglDbLZcHuwIQ5xd73x3W4UAWCllnv2g0zHHk+hIpyBSvKol1hTWtKHu0zQ4lTXgAePMcr3xtr+2MUYWic4nzc08fYc6b9IXqvFhA9pI/kWZkbBeKcnlgjeQSMhax5icDAmZaPHPewz8AKWs6teppQew/MQmR/1or4f/mvHcZIo78aS9XUjQkOExmJNHx7RQi8Dg0vBhmWHa4XVJW21iJsDMQlQ2a8p08wj7WuCNSzNo3qoWe++ZaW952YjNSvKdNZgSMji4aBLvyV3o+A+HFyYmcVU4FPN3eOUkqOr/by3lT89JCzkEOjfaMCU3FVO3Pi3WUODoU442PiziFvjKWAZjWV7OS6WpGv/KYxYr3NAX1FxxzDjW39K8GniKSVx4mNfPrw1GTzk5Cvw5dI3TXU2vclqNO7pvQJZGO5G09FBwNxQeUD5Kds5Lz9YYnKwGgTQ69RjaMeeEfUwCCNlmD1MoBsE6AJIVaGlyhBdTP+rAtkpM+IjYuFtgbD88obtdzh196m1AHHtOQn8G48dv9zlKPahzF53LNOH7F1WPXudF68ror+t7142L/kXED19zqW50P4Ydfe16VOeWVnIiqfr+REIxbKPHdwxjsUWey5NbpLPhbEVTFfluiplS16eNlKzTX8TRjmJDv03hv0yQaLoY8TFTCy7roqz0ew3EogsSeAVgurxZpDLzsJ4jb+K6WQ7+GA+lgz8/an/lb4BQUHAvj4DrnweQlqtvG6elON+r6ozkHCX8dXlzdV51AuzhqXJhwkmUxOS/72+Mg8X72QCwBPrPUSJkyRy5sCZU8+wM1fU+Q8h6LW09n90tWu+Dn1UAac6M0P3Owf1WAMhLLnwP4ugOx1WN/sixOZmx4BNJjsP3MKXpYWlxiVY8hL0gMXbFIGmate+5C/CUTnudt4qmCz3DeWYx96rig7jfPQgty4KPQxcm9k2fg0KMHyGQsabx/Agt5944wbGhh1DUgieEtN1hzSv7Q7QwZBYP/ZfW5zC8ZmizQdi4bpxIb1wcXGl0LIvxhCOX9fJ0h7Hqn4GO6Mv5rwXBNTG2DlfYZ/7EqdqXsyHUASzxzmMmDPL1EEsBwx0wGwno3LT8yFaI1quevMY5hqhuvoGYV5G3mEnQDCgPLNObzfK2BypoNzgpsVf9svC4FRnEpVlI2dqhtzBLEmAq9xntuCCg5jOFjbntaagDNwconYGg1lwCAKwWqqH676qBR/9VTh8ytBAgekp7N0R1XXi5dXpmuScdpG1khiaqNbrH1kvvMX9KBzwbtcp48FvvD+9pu/G0hsCbTuMncxzd9MKC/O9DSHvFVdo8shb0uXDVVwMZeTOLbxGqYNrr75lvlxdHxthVxMnlOdEHUVR232txsl5kLS5exN4gsmoo7QROAFxrmjBspbJpKsqVJJrMyeb4sq2UEt4Ki1tvO+nnOUhOJQkDtxcX+o85Qg2JkKJAJMzgHNyuK6kn3pqSiKsqrn2yuCi/u2QqcLb/ibHeA/lkQkO7RiBVHJ0LZ+m9qwDLeHXA2rhCVcArRiFFszBlKtkKno21mjH6SIMpRkLuEwhZrgSNV09FwzOVwUL6AECoG3aBjZmeHrqKMRC0fNLb4xZyMaWfYXDILEZ0pspjQvTmXRw/QE+H+BiTrH+QKz0UAcSsxTiHU26aY3e98auhWE2jpxR57ur5gANEeXJ5jzqWVpqgIbPPoYyIBUe1Iefbjn77juBmjAoH0wcXKz2eK1bp+8LQEZkR5Decgc9ORMZbVZYmbsTLuE2NaXmG1TKIyQ+3kKIpzQ5kKs2YDDjYPcDjNleMvK77ID2XECpxn3zX7eV+fbV2ljskmFMJJv2Yi56o7/J5pfBSNk5uaY+ejPxkF3kkAGV0q+IP6UfnyM3rcz84KOx1EIOxA/7zayOm+L4CuODsIhiAFx8sVBjPQMclUTOl+HXG0pzUhA8/biQ265ydrPhc8LZdvIqmVjQ8EUMwb9/ZnvLIjjQ3oqsA1fl5+cr/nyNCinbWZM4vJVa9dlnOWtYnCOsAgfC6Xk9z6EzMjVejE5Ex33NgDAvybmZBXPKI2rzeKsHwUoTYkYMnC5p5MN5zRVbPZVehyCYauEAeB7cPXNL7/wIr4XKTsyUls/neAUkh8AHRhMNo1IrQ2UBQ/92mSYYSHYZyA2Enj7bWbm0ebQn7NDAG9amGsDbC9krzEQ2y/tNgeucQIJWCuvpvr2XSbeAyCSVhS2rhm8Y1eegaevhTdJPkOLqz3PJBp5SciSjvsCd0Aj36DqNrzevITAwA/SZMBYhM7m6G4E7H5nxSfrlzr7+sZswM1VDdVM6tpgivcxKJKnPPsGm4X6RvVrLEBiXu+0aUlTm+A5aY2ZID44IJnV25tbAUjHrKkOrmfZ0NlbhED/1roA0VrDaqfMK/JUCHD7NSrwMKuqxgS950zM3O1fIM5roSBeGNQ/yRuK48isVHxwu04gynKa+IoMALdEv8xPWvob65WJSsvakoRuQRvlMQiAuvcUfulraos9ZdOaFSHfYcJUyL5+DweXe/6cTCqubi0wpFihtG2epgHJNLMfqRR07rXsGAYGid+QhXoY0r5VYVinhAbqcIP3l0ejS0VZ7Atw1JCsD9XPVfwos63MGdNq7ZxgxpIP3hUDuRdxn0IlRplzCz8QKFSufaFTkWArj1d0wc2Jm+K5rvtUQ10VFJEkFQx1AE9ZMXh4PsYTMj64SjPEiypdlKQuxjFxpru0xVcV7OnpN67r/ytSnsoKrCdc3rDKUnCiwWtg+GYxkqkj4H/uFGGMmL1NtMZqGhIAtatGbqnp1AC3Uj0vXcpYP3gX/XT+4hqWpThOo5HRw4wLQAbc1faMMbOf5sWlk2gCwCJ8AfpBB/W5RU6Uq3WceI9WAiUg0o9bHRoi5LEtJm9gOdvG73GZULyNf884F1gdQjjmSbXQQbngleMTOLxp+om7FWwtcY7Qhx1h2p6imtUQK5qDJfXB/TrBR5KnWyzqpNHjUM7Gz5x1DrP8X11wg9F7/GoPeBWz1YjSaP0qDIlZrCuEgalERiWFltEHP3wphJWDhxL9UeyD1T5o+Kc9B88E8gbKzJ91m6EiJCtcNrqUxOItGkP8rRwTW19zOLc6UuuH7+elHoKJFTKViQ9aN7CZunubj/W3zlRSZyCYQaUqh/p1vdKQLImFwfLXp5nMcWk/MqPZCcnDH7TsJmeg1BYIq8O3Us8kDuKzKWu6ZpaC/NsZhDBsGZF2SRVLKRbFzGYF404VUG9UK9FvBUXhjVpWxsl9A2vwUPVTs/zVx/5fVupoLf/ELUktn2FdI44Vk5J8/WObn9WbsP9ihc94ORrZq33UJxVOisS8iG4JjG+V6V2yQSWFdE7yjFdbVdpqGkwdfxB+dc/3bX2SxTvkhnZFX/O6hDBl/+duhV8/l/I1j+uWZmO2YWFoNKX10kJKqMbk3xZz/rGS8iDSOUMM213U3z0dCSEk9cu505glP4YkE17U4VrU9KksSOHNFHbZTodtQ107gyFXGGVKAIKicrDjh5HCUKFAo8YVW9bTE3jgfZRscOUF6vfdXHTk4K05I6ftAfV7DndPdJrWrQrq+ejpRkCjqUprxtasK42UBLjY9njF/JGaILmu0fyvRe5kPbrXwBPiXY3/eV+n/2L21GU7rBRcH48/2DC2CGi1RKaJ4GIrOqE6qSaYO4nwmrDOfueD2mVEsBPiNKG4P8+C98SwU52LJyHT7t6RN/SX0x5+A5PMa/AK3UNJasWaNcNYQI8oU9JglxoP3u+N0mAFfKIK9lr3FXoa6Yk//WkEER0gE9QQzBMoOBPlbS1EIXy2Pk+yh9utILA3qoizCbSbuPgLOvoxI+PqasFXwUV+z97au/XcwKO6V3og/25hoDtB0CPqDLJ7Df+fW/JKS6pci3Ocz38xuUH8GzPwTdbqAVvl4pJ8GzQrTd8Pfm/2gU+PrsjxLMik3kLakVrHV9pvqfv6H33HNYHTKT7Snxhab2k5ZFdePx01tDmI1e22JoQaB5F5h9JlOd62rwdSXUtehfH1eL8NxCA5EPVpwG4OsS1Ng+RIRFPuRBMYkgr21gWrmQ2+/mxfoSJNY8FIsd4yX0IcCbRbzBTst0l6MQG65nmUcfA6/9kDKwMKRbBkVyJKSGBQkhatuHdwatMeEYqiYE/hfZiwKZ/uOaX4yhkXk5x0FCM9C/Iey0sqnBXgVUMYpfSr3o+bWG406DpHjVsPmFYw2kSjvauqzRw/nxXrmp1lLbptJeFiYOUPKqddS3Wq6xKzEzPopRZiLTsRgIHjMvi9ZfbdWbZua/krWW2Y4syWUgevMc9Rx3qzv/F4Eaa3mp5eQhFBzLe9Tc+bBAxiSReQhaOKrk2d3tmDfGW9Me2Yp/ErihVOtqvjtUwtX0iSAr2I4QxanFkHLk2UjNr5Ud1ADht1jbN9z1uxV7EqP1fmLi/hBXO2XXEvXlenceuXGX4ibyI6QJclHmhyZbFcMeSBBu70314tnpxdAgbqe5TavxJJyZU8IZ/zHIAfCULUCnE/hQiD9gFBLmBpoodgPBJHgQMSNXFje3YwYloRdhgbFMXnhzpocdcm7pOo9XQrnHgscNNS5+J24U30eJd7XpHGFGqqgzyjFnlNR6CKC4g1TX4s6XAlt8VSL9r06laj2yRHBuQmqbf0EvjKpdvHClDwFtZSB5ILbbMCdBfx0dCE7pz+VCsr8DNZckUbmVm1L/k/MkKnbTAPdf46tWkypwWLLFfSca/jo+uxF1kS57yLulMDBZDCRowlchPVBjx+AusrDcdxqwu31De2adQsSYe6zCLy8XYdN6HfUUgO41s/Oa6L/HsqghK4pskRUzX7y1BcgHUUlPa6zJatTq051el8XvVdo1jM//6U7INE7kCWVqDcDYF3AUaERpmC4HlRKCF64iDfAU6KPgxEHwbOd7Z8tvzPNWJe4vnCurH8M4dycb3J81zY9dOlW0b/stLPuld41cs16b5q/O4hPpGqzsTXVWBHANY2EHHgmN1w4187PJb0dnOCpH61bmlN3miPoIwFBi/BDCc2B/svobD07AWtb5tfHnM+7uK9WvORrT6rvA0GIsK+fMnQe3TgE7lxwmAdRgYualwNfBQRSv7mZy4nNAy/ljRDQw9CiMrYqnE/76ISXdi6dAvcLjBgPprWnvLVx/eQqXY39a6yBYeu4opS6Qlhu65jPjEZJUBeJbHpSOte6DANrVs988NUz8pKQW30EYqvggKHRF2kLC8ZcZycUYW1FshfUV8y/eBkbbzVSqbAVlmxvGCRd3Si59FUdu3LTrGwSQuya1TkR/dFTlDsbsny3KWPfiC2ehGql2TpdXCMnvZ1II/TALt1ylsKguDPTdrz9h7GikkkKxUdKPlaWHXN3CDiIeFxiFzZpAVjRajG1CNrgHeCtkmwHrY3c8HT/nx4ZbNwVzLSiuDvkpNQSxUIbqLIGeNpjuADLI6IMlGD8Bd9wiPZmRnw5weG45N5gOc1IN9QWCWNS2wJ8EYMA4V9jkWmICro7aKxPP3U1j6LNbY2oEi+wGzR0I2LwA1a7tQlGiEmq3oCYV1IuHSOBgd5Hqd+j5q6N4IKL8t4qhFHK2TUyL+IKJiwhAesxFkgqz/y0UDN3RVWhHLPgNF0WNhjYzo0rSAHgsiLWwu+K4DIp9dMUc9FcC9IEqXqRmRZkPVkiFZX+QQSSyvKBox87isGl3B1HMYZkfHqnSV8lSqsgXcNi3Q4VXagtPYmuiESCgiZhGXu1zvscXvuapjg+dJu76m0Z0UVNnG/cC5BNGUGxignvJIB3hrWKam6adqBWB3MsCqVEYioqvYf8O3N+X8dL6m+Di3zzlvxAMwIxvPpJQigUf4Vl4T/FY1NOJDBJzM7Q42KMhL6dsEePptwMfCmnmSQ9DWPahcAvcA+3zUaab4TZ2PYi3ooQ05odjBC6OzMPaTP7HzuxdTrCBcL1OWrpCo5/1qpf9e/CE72nkt9TQhK7x9lSl2ei1vv4uO7fBVd3F8lemDuLkWLLstoGsM2WYvzBwkkqFB19AZ11zcV5VAMKBe15izw+n3hYkMutLF4z+Lh8CYxLyPDKVDIvwEw0nXX8h06KNq/2BzMIEXoAX5gJ0QUnnwcahmlIe89ZckIbqWDfLXcj6VQFSGYe0erAuOQBrRetzybjsJSLVdrtvY0cNSmB93kD6uq/nPzt7zc1310jZ2GknO77St3ypKxG8ktBHvjr0W7FbPTXm/eOYO61ecdrr2SjXT4tqEPHt+reqGWLwGEQgmWs+bkrLeCSkRU56raqLFAVGUDjedIvx7wuwrHcojxWbj8n7aAXXyeo1nb+dLvNqfG4NVRQXWuPgALyOH38bxdL1VwLZUodwkfpl/lrfcO+orFzbq0gt2ZeTv3mKrVigH8BZ4tq8u+tVVPlpb5p6yt579C/mmWsJkHQg/eM0YOS91BpTyRStNxmT6nzt+PtIJ+MkiuRPTbameiGHVEVZD5hY+5UsTeEdkclaws38Xm+oBub6Uc175tWtbMudAlUOPZVpOGG8ZWFwpNnAf6zUJyK2xXjWZSt76NwwWrCBh+Ao30ioHD175pozuF3V+0IQoqZqBHs/gTsCNEUnkiKEFJARllWJtm+hwo73tKgbh9J8aSfglhSGiUSbkEVAPYUN5iMMs1uIfrGrPSGCAVcPrOm1TA+pwBlE4PGQo6mrcfMsBq9GDytiHFvkprCw3crIMsMHGMp4RQDXXUCIGgnYmeHCM+dbQT8WruMyzqhJStKDwOnMdtNNZ3eu5HvHSts9+kiAt7X1btOU8TRnk9RM5vF44w2EDBHqAp1xZZEQes0OGSdd1L8zGA12p/a7Lq6ZucbcOR5Nq4j4VBY7InW5Hob7NRbiRMKds/ulVeCItcO6woak7AZOxE1snOvT6QZ7h7WTR+7z5dvQEjAEpV7zTHfOSkfrntFPdB96Fl34Z3/40bMTovbJF8ndMCvl6fNR9fdBHXDpFuNqnBErPdHjek0M+CCPXkjD7JfGi4/5U32U89ZpRVEPfrVKEbp2w3YLPofVySyvhZiJ4y7G3LAn3bR9pZ93udkPL+EtpEI83ztr+trQjsmiZcJXnVPlrrEK2rGfxRQ6b3HEYlSE7k674QSBp/yKn9ZbDkL6F4hjBBoZ57GAfCQkbRV8zzH3rYi++G5U7UeZDwQAZPdQip4b+CwLxEzdGqMKMz68+M+J6KM2u2yFXNTJlV7FebpFnR9aFr7Ml0EMF0bk9mkTiPa9Mk0w/Z0y5OPZwrISGDkYJkxIWknnWeZVxOfnulb+Wg9XYEIviiWk/qCbw8r6kG8HEdgj5tM1exwF+NRtQ97ZHS9d79YZIF/qZsj24hM7jU4jn5lx9LEc1jNR5MajPJj8t6ADfIQFmGk+lY0OzTQLBJZvoFEk671iBGe6Cl26zDUt4XLS3hsjVAXAWIKRAlgLe1VOuIVatxtdgTOhvZLHa2LRu2/V15Y6xDRMhHdHx2FFE3lEzdXgRQTCe8I38/rX3Dv/VnfTFg8MbWl28MNoP0tWU+eizWaBDwN9SPk4YhV4DW1Pju8briy+QuRzbByTpZ/Y8Rgeiufoo5giHtzBoEAZgddB1tkA8SjERHOCybqUJZwCmDRjRKUS6iVjXB1Te3T/I7p1Rs7L3dmLhSHvnLOqrjTvsGDEvmZMvYsRjiSu/jNQOWZz/gwNmcIMZCVVpwdvKNZDrS39vpaGmhnzyGlivm5aH2UXCMvi1Cmq0eT6kKjDvZ1WEhBAF1PBVhi1RIeXrm5gIutTNLy3/KoUttNeqf8rQ2huqOUynm4HFX+lCYmU1CgFIeO97y74f16Y5tFj7JhaO5S10tRccVDGaDvxfkJrnIa8AIZGspZ8Ipnr9NF1V/j44weWpFZ6A+Kd3fK5QgbLBSkbs94i9j9utJXQj37mcpvTUtnF3BlZkS0pY0Pa+Q1Sr/1yshazAAAGn12jfAr3b52ASRh/Mli9eL3IljyNxidKcg7YwJKR0EqeYbfwqjmkM395PEmaWanFK4ts976z3onbeg9mVdTrNmRx6zcFPgBjlFuaAeTmGRtOZtrwhm09L7YOwGg/qjJIlBS7zBmAHk2D4tO0JgKGUSlPS7uLlYFoV5mDHU0XtNavfVBpo4U9rR1n3U4WhyCuf86kGfCJOstnTRxTat1oNTjRK1aU5zIURA0KOhbC7explNJZ17qaR0R7MxEOIf5KPXRe0cgxqjxUQV5bBO54Qstv1ngFTqAslOBsQHtzznzM1YT6LWsA7Az8cQKXdCClKpzF14F8OiiHCEADsi/g179jwrDV0EcyAOaeRFuo0qnXDGhfGso1SBnQp8ADtgHx18mR8kTc8469perayegC9GlPO9UYyikWb9g6Y5ha5/MetOY1vb6JTTqxMT5W8Nl0j+M2hBdK+LxsLh6WkNnU6bxc6Z8/SWbdazaekutGsnv5vO2y5lVeuRmELO5c6m0jkNeWz84Bnw6eRXSsUYZRI6cGXm0HEGVmWayU+JyLNt5I0neRJUxl4fnUlwUdrc+MaE/CrvXdhKIbNSrYOBmS2ldEasOdR7O0c4TqwfDbPHjr/z1bdDJS3lYJ9uMjNci37YfymJ5EEzMw61+DLGl2LcWnHHDuT1dGmU9U/IT8aGWHllvhC0CaC92ccUm2VA0L2CflbFVPSCxGXpI/br4hERmXI3XyWLYbbI2FXAHo8OAbn9g2+yA+Q1gB1fcpaN9iCkfXIq8abxA9OEXfmH5YLIcVZW+K1EkCv2dbHTcKvSWhB6WUjB/ucif3IJclgLs6/GaNUQFqTtYONrW37dxvkThhBAQeu8JdWFneY/Yq2Bkdq/KU/b6PSjaQnCwJB4oMe5GvNBtZ3LDsf77y9ArLgAW3YwlvAAePtl8C2WsUWj5dPgBNOgtBnLD7B55Z1OzV33EJFakWMl38E/fm435D8C+8Lbk5HQQ5PT8dsNH8jz1+LVGKKbYyElGnHOQ5Zwr0eCwV4u8AtrVKuRlS+PYW/5Ubit4QWZvg6LHN6VlfpXI5sTQN5FkNL5OtwinXJZjIJECtYRdn+GyvEjlkZJRRr7s2Pgw2koBbCo6krkRsmDTvwDgTU5p3knh773h+oZcB0MRNUrnfP6JIklWTq+2l/hgZ4QIgUiqfNyygUEu/Ou9KKudDvSUfiUg7RzA/sTnfyUDoWinKJSqB6Tl1/Y8qW7iLHZ37ShONf6rpxstUDvgBdOYsI/FKP9mW8C7RzERHYfuKhqLWrftQo1vWkFsZ4aMSmHp2QMxorg04rl9ZEUgWTSMqYduZklGict59YZcJpZUd9hGFKkSqyddzgG0ASZnIBTrgO+MCeBaMlCLLKrffRUsznuznmYK9WYXD5A7A6FctgfpIKd/HHT1iU0reUXfNAXskUUhvy/FPBE9IyzvZWVBWt8pTlZ+9xg7lYL1hx8TKXA2I++T2T2YmlMLbGhBIU2JTwVvPhGgqleccAmEVJn1Vo4q5xt+y8mX9oevhkzUQeYKBil6naAxFf4SzOFpxuwZHgAgacGpy6khRDTh5UOWwQcYsQRyYbtDnpu6HYAcvfTkzkWjp5PksoSnKoSDFNsx90Ksborw/MUPfvx4rbucM4bE73/S1B/YW4eeYV9Nu6L2fgXG3CT6lbxinwe84PYQTFZZd5uY/v1EYCg3VwchvuX9gXDUY+Nx0SwpV5+eYwjrnMHiuco5fxkQtmrO+GPJVXvzXpVMaw2UPNG+scGba6NuZT70pommw4wpX6hJ1FjW5Nyos8EbiCuhXKdf8gxiGMq4ufJE5nbNbxPZPhSCWIH11pBITmDkmzJ7YDN3O7GE0/3KIsVZFjr9pHqk//VqmkFWeNWebYcDw0V99DQeQGotDB4k9FnVIu0HGvy5UMQb0Fvdz20My6xca0J483VtVoFtafoZKs77kfRz/EehKNhS7ZqS9GX7+V2y/mYv4ntSNX1UY3Ma6FdIAqwY/KmyuuS0GWpgtgsjNNjUvmrTjrnnuA2m2H/H1J8xHQJtC9z6t/okKbsOeFdEHI6kYLidb6sPEKN0KcmJQXhfW7ku6TbmFKjBIT6sYzfen4s78z2JBlXhDK2f2sLYiafuozopahTyO7JJQb5GR8N8a2mtOPbglQWkWIP5r+Gxw8FhUpT15psl6bs/ZPeoa7Qns0D6FRw+Wikmj3L3g5Rzqyosik/9UNBEOqBelFOTKtdCaIQfpSg1p25IF6D35E4uXbzaOKfcTx4YK1RIoHrzWzXUGv6lAkp8rMM8TMX/yIh7T/D6NVMRtMPyqLQGvb8nXV4NeAB5b6i7xSQVboqjILRZRv4aQzQMbcuBrGXclSzx9KQmrO/qmC2PGJUKE5oPhMc6ZU6O1vPJTifnELs4WzbsE+oMuB6rpLJJqDRw3ikiNKZn3rNs3fE6HVqT486w1mcYt9gM9DXvaZBuYZFuLpUf/ILrehgHauW4wqpALnrVafMN4c0Z/i91ovBCk03n13x8U/wV7Uh7+k6ccVu6h5s9agAu3HePtoZjBCiGKmxxI3dCCobCLwbPhaApiTrqYuyXX46mfo1hVfi+OmqPqpKTjSFhkBRw2ZYhLBh0DVNYthg/Ikt0LCm3B7PmoQFMJ4w2MmIBOaYdSvLkIKjJedNbrD1o45m/SYJnQ9hmJdnufSxJw9WHOwcYV4N5QSmP3JTDVXepOkp0wfoW+JQGmDa0Xl7aLFK+BNxzsrSDfPC6csJVBCYt6P2aDEPNHSHPuGbSyIooKreswiVg6tMdKXdNTIo0+nCknZ6Qabn6PBrXY1kq//SZL0DJhrD3vy6VQ70wAw/iYi0ETRZ6CcSgYvu6Vlznj+a++nCgMBYbYEbzUBqx7X/eGdmpdlTHMyeIggU15BLGBX31UzNELwBQV9SowozLJ4ZEWS8yABtvWb4riqLmmAxasSVMZ9QsvRtwpvdpl7n+aeKzl5HsiCe5Xt02qKP0ej7Cs6i79hQmtUdh3KeZpp472yaZ9+cbVA6qspun+5nIrQX1lid/4ArTh8YvA+BPaUfn2fVoZYIwF9sN0LRrEw96Y+phMYXWU9NvW5U9MOooc0Vwb44kZoF49lpIc+GrAhk/vjPQg6c9tVS5ubHF+ovIneGjs0qVP7xpUhf2VDTgNazUwYzXZpYNdgj2apiRau8xLdzCO7iht30UzJuqzeo8rbuNE0xESMcIzAWEua2jfpJTIe7GohROe4nLkME8zKAqzg9KbrSx9yqlSeMQzBEmY73GcUyHNf/QPEIV8ndKkSgtj7dyzlLwu4ExYNd09uKh3w63exW6BzntHoHh2ftgjLDdTcFTqodtZe/UAdnao9hzAmB1MHHUlYsFA4egHXf2Qdb++FEl0kVzrAAU6OKZqNnnRhCLO6VapLORRgLSRGu+8E8OmjQtfnWVCLZWEb52pd3eQbEQNtBRrGyA++EiCtPGrykTbpQeN47gaHpzjF+sCACHA18gzR5mY+HgeRA3CtShIwmLYULYmZe+CG3k8yHSzNxQhARA6aMMh7bU/slSHLrA3fnS7sN2PKJrp2jzaNBCdz0rsxwfMTe+6j9ghVcAdG5cvrJB4ESgbYTUaW9Yaj6m112w2EWDJ4rRESuApnGMpm8gBXk1mINJ2D+i4OGD9Vp0iu1G66k2B6nlq5RqCIQ4NAo7bhQ25pLk/idKDrwXLoD6Ue8L6NGIo1E+d2+OUFBYrCilI6zDqqgmFqakxqFwAu7U19p78BkVBPgmp39da9BDn+wAEaaF8XJd+Wl/QOpdBNnwqfK3StM3SZkUw73HJiBOab7kzF2QKHZvEe3dHfhgKpwWXWyKY+Kn9U1VEULnCrEZaa5UM1aJMH1GoX5+NX/PcfRSuWs6N9A7Pg8kOuNJGG20bKLDS1B6SDz3NrFokAW9vq4K32lzh9cfvOQD6oSZ/R5ERZ8s4UPRfmmLDURA2tIVT6WoEQzL/iQanlDrpGdXEf7LeralFs0n5gFU/+0dn4JD5UiT9g1pe+FcZxFyK/MdvaANqVQ7lIeL6exZdKO0BGbIjO387K6N5y94cC7pN6/uyT02pEvoOA7ZhoJ6F6qsA0L8qp8RIf/JHECIFABLw8x8K3sSZLVy3EC4+XC9GJHS1o6xxzTzi/BNZS9vSu9F0ccddqIOtr1v14gUH+9x7lftDvMFw44vo8PTQ5cWRTLGm3aP6aPy8lZ2CIQqEGX6QAoz9KxTEV1GYDXzGdTiNTmPyXKJnY11OZTehTS05mUQoFDrR6dCLS4ZITc3EUzi5XWZQI+0vbQjBxINJSGYD9FwbrTC5EbYkKoLpWybyoQNEfav9yf/rcorIwU2PKAECiRKnglwSU+m5YeXqIKb57OycX1pOX0sGSmCr5Rx4CRBJiCL2Fo2Jvdl7Dc+VK7hjzpYDxDqGje9m3kagx3yaHLX4cPk5wdA6pm8h3e7P+qIQplpRzG4yEqeTkl4fuXxfh9UkSA8TRW3X7ETy++QWd3oRK4CZHMUaI/HwGK81th05Dc7OlpLyOXxj9yA4MayJQBYzk997nmtl4kw++0zgBA/1XMW2KKCuZsvz3v7u+5d4jSSHaJwgLQdVvxl/2xP/aJhPfNUwzI8PiCu3vGAQzS2OKU6QP8GE14+vSdOj8LEpBIrGUd0zymldn8FuwE+fJNotavKm0I5bLFlmKEdGW0hvQ1oaT9y8EyAOlTXcan9p9YSL7sJyqm6bl+82pGN+FY8v63MGflXeqWt9FKfH9tFsAddVfzuED0oElH1iJAkYRdjRrGmLC3xwyN+DdVa7T3D9P2rAO2dmJHDZtkjKu9jthXq/mh1hDTRWdVTu47G8Y+CZTX0k7jn/W+P1OwClykFZCexS2HryNJbD00i/UnZQIMfH61b/yiXBClY10Yqzg8IIhSudUwVhCfa9WSisFsCa2Hgcf1zCAv0TW7KIyga1T3WxzcxhKglAfzoMf7InMh6me35N1IMjfGSAEKcwiGr3QtwAocgpbtA2pFzMNDznzzVdui4qDkvkN7fbJF8AoKqwYHPFeCvjWWV84WM/5C1yBoG1NE5JoKm/TuG/3aSUTtn3+ttnO3toGgo9RkuEHqxKnneRg6GT9g2UZhf8WsiIXzsix34vj9cH8szLlcuy4G1S7psZNsKEGhEtL+sbByOJe2bD2JLs9wI+KCSGkf2EdpGw8DxE+nnCvHFxmJVVabVyxGZCdvsId45UVPX91nO2qrVYLfvcrcIWyYhP6+Q9TJZBW9mY1kBLbo9vnk/Rf+I1e/6vx3KV6LwtDhPUBS5qIKan98Avgktletmjx4K49bfiExESW5sl49LTsBQxtNba7a6fhOq7KIVxV7JklfHYy0eVidkLWnqZ/9inX+X62WMg3oyyZYtKc+fer9mhfP72iHTV3Me7YDJdvT450fE52q0LNSP7LhFkeuQ89tsB+2IoteGrUmAEPcBunZkmqquzdKXbgn+RP3oapadrkHbE/fMhUGRZNwn+Jco6aixm0GSwimQARrvEMoyFnbiIZXlEgfn7zOCP8QYF039ECopRrDy8tynw5T8vMxwxTbxcq/XTTf98qnhdUIwOe3LtekBB/WR8ygUS8JkJk86iyFhklxZGwDLQPhDOL1LxGCPsn5uISyUcU21Z2BOdgAr4gapifkMtOQWBGhNxi65l0vJu5uOcv4+OdMdO/vcjAeGM4gxDXqDERcqAjiuOunQyxdCgOELBD/q8IGyfxJozygCSMMKMuIU/DxGW1SMj+AKc1z8oNbyK1letGya8Zsz1hNvnv1+Zt3Ju/0P2imrn9BLb2H7+LvTFQH3HA875yvvL18ff9jUWBBPCG9EyF7liqFCCecTFli8dxwL0dK9ZknPbBMk5/qGu+AkzQny7OGN1z+MbSJzMRpURemtL3xM3X3Y6GY8UKeJ1c7O6zcSP2vkmsituTGHK7E6XKfq2QWVbF9U8kQtXAlF5Bz3L8b9ZszcHj3xCXMqciMCNiP/eSOh5DrwkgBkUzIH/pR4Qm05EPNz7YYyt1wkNT2lEmRQ6wswVo4YBLA66AxR9xfWvwAH6DXrqI0wOCQvttAVXZ9AG1PfPDOwPxeI8HLuCUR7pvesO3J6tNPVe6g3u0RywmiJwA49NcOd3CvmrUFnCDgBYBLXvFgbWB4kYd8bfeFRo3O2SbuL6UuZBOEZyf7ejomEA71dw0akS/pBN0xI8RUG1ljmeOapNrRDOAT+h/L+6OI386wG7vFcGDFiVSKcAcFmfn++dYvNP9Nz6gXbOcLht8yYrZNPKrvNZZj3M107qUicmo12ucQe72Y43CE/pv7jed8g6tGdMNEgYRiCKTh01UfV/dgvXkgUUozrih4QnObAVzDzQRJB9OpoiGx/nY3xUk6FKZ1cMHLTS9nfI+GWEYlC2qsNRk8RI9ZSjU9we+jww13jXaLaAjZC3W96YC9g7pJ8q9Hj0ybHRLvN4TeaOdevks7aQK+oyDmijBAD88oOy9FWdcopj5GZHn+Ma24XyYoRv1JZQ26WHAUt6VxYe5i9m25Ci/yjkYViwhjsJGe2tQVqffFMVD/uBBHjblyrIoXqGwQgaxMxfXF9aVI2/1MFBwhVh9FauR8kt1P/L8HuzA27xWtROSAXU63849cemN+s/suIk8FZU1l5LqysT5Gi0sMIM3u2FnThTv5pAbNDbrkfeDhbZndWABg6f3lov4gtM1cg7mC5GzCG3N3lWIwfVgxX66TSdElSCtbBGtdp/9ABVfaD2HiBax0P19vq/evju6wymn563IlDp0a/7uLjyrtGWqQc1nk3MQE5765t498Sp6MS51pN0GoYQfe0MFQ1ys05xOzTv6QkPyZQJMn+ElyX/RaZ9kErmIGCs+CqbeaPXbO5UB1qTpD0hNl8ifrU0sXQvKd3fkwRR5byPlWZtpB9WzB4XWWiRgdbzZ1u6op9UAgXhLOcDmUwTbZlicXdoSf+L+iO47z4+J6nFvc3UCz4YHbEj3iPUXbmXp0NUHCIns/iL0DSAxKieNLg4YghmLld47bwcZz2CRRvtaWYF7DBCaf/WV78Ty6cQ8QZ7QB/JPrlojlne2IxuAKf1dqQxkkbfyy2fh2kNFGgBbL8QkUqpjDDrM7uGiM6PDruhXQX7VbdRwrw2XG2OAad2wc5q2Ns5yGME1NsxL40pLKvlTK1moBc8GHb6gScTHOeAU7ZW0wWpdeCpyMuWmpDkf21VR+x/aVPdXl8MOXDFx3Ker4z8CWDzvTcjRg7ic7tHSAqKAh1APgo2qKYcnMh0LR7hiU8RlfF37PT0vfffwn5j+EFz33VyklasqzmthioNGp36jKL8ZyadZJP8GO+LtklsRsWslgTcHX8VeYUG6/4d6+GoJCZIt6cqYKQ+KkvKdn+VfTdLgZtVcuw7KK4btjROPxs+FB9p5k5ezqjGt5GDTuUOG9h0kwSVKAkatd6LCvWkR6X18tzJvv1/adfKMLqsxVoD2hjORZszpQe5uJJZKQAR0ucDWm6Vumym2S/3K2oRQ1AYBDtnEmOf1GI3h/TPU7JHLxUbIbqzeSwGbADtpYKw1tUwFaRTdaOsw3HCgypl68st+vTdGckihbbZSz4jdwwyeiPatkGEKJ6DydHpBbZSwLgs0DjMc1ioa4lXv5RAUb8fNlg6r4EnE/rUaESmDXagaJiFQYxJW6hZ2nMrv31NFuYKohxtX8Vv562t/UlVHZQtBZw6KmvEDvWMv06p+DdubaLxw+pEfT5CpoDvCfFXckwW1UZ9hW4OlpFluAFrL7CG50ud03OC8oC+wM2VXAjQt+cLWamHZ5yFQNNLzrCzgW2X+UZmXF7ObInyh0GzL7aMR7KrZLnOZPNKyampXY9vQa7pPp/SJMWwQt+rv0EaOKdU2mnGZcnDOGiZa5eJz8yzcr2ZO2OuQ5N6WLRDxgCwNv7j3jtnFb0ozc1J4gE7hTjsela5HJi+MpKHobwphsdt0VBd4tmyG9SNPioWgN1cIVskIJOfYWL83Hl+NROKV0dNS6aI8M2GQmrM+GdstR/SEOIoRSfYz+51VopwYeQtsiaXq/zRUvBMlgXCuIg5Jw6vkatWMCAxJeQwWgQfKv51GMek/NIBiDv2/ygGYYVRWFz7q4muMhPO+GoRfBItBp/lUWVjxkOyp1utbyFPofIE0q10pj9uP/Yzdrb97ymvQyYPs0Zy2nkQsOt2AaTSuNKcTFWPVPOxxpsvLlGlMqu90EhG4Fwf3B3uK07TTLTjJ/4kiu+uiJs0uw3/8I6T/KSdMwtltPLD1wXHUzU1xFM0GaQ2fEg4JpRXknEB/ymF4amflxQXNvjYz7vhql3L/OtczFd8MR/zlswJx+GiburZETmfrh/qWsNUqU3iDw8R3QAtc8heiILyvSPGFa/YYLgSCRH1GZqOVmOcx/2TICC6up2zkGUamLo5BSLw1dvjjDtHtPChgr2nO0m6jl5hFBp+UmuTpAYYWSLuvvPc5kq1MJxZm9mGPXrpIiw8WIQf9EvdXtG9UIlIHprbV6qHXGOUkGLlMRk7bvaOjrIaeX7IWE5Vai01Zq7q1P30Wj89xem2KdpQs9l5VM+ZXSRqsava6by+2BuCb0nLUuqJFqXyOqO727LKpqMmwisdOxnaEtRKASO7qtn7359sEXoVROzlVRNdjjEjGUCyCyKD111ujqqJ7dG6dzMonCEdG6e54LDmzl0/Yrn63zgw5KcTKyTUyM2BFRYRCgbC+Oiu75ef7X2FGOAKG89gtC+DLXR0sf9eZSZjoLjsBO0zcn2vc108pmBJucA32bWEWi/UveEqJ1u1p47O8VX5GtbG4X3IQSy+A+qo8Wr1A37jwGe8medw4J71lEJEuxRxR5YRmDDALMYBn+KluIRGHz5iClUe1cW5NmEMXEL0ITtlWlTeB9ryQSX1nJMoR1w/VE/vBdbGS9+DQz29CE4DA/qFG51e5B2kxwU+UTh7+3Xj15CFZFJX0BmAFXkELjloxxk20KdwfiUnyDnIESzuoEanluzj7SadyhXyfBIUxSDTgCGikJouOFOwZfkcMNruF9DJEMGayh8WOke3n5O8i9gCc6T2Y+OQjPyUfQDJYaDwhwka87jk7WhqyZ51vpgMDTqGQ9iBfDClR0Spc8lK2677nZ/ShoMPZA4FLPatJheXtCrmhDhTiLb40iVkrLUTODjDkX6z79PKtzIWBnPn/fW8Ovbl0WsxAcwVo+xROgsAoZ1vbtOG0LmoUxxw6MMjV/akm4XB1GGNecLnbJGGtEaJeLbzKAYiEy86RBPRNfu/lETNKhLW1G6L3L2EDJ/qnz0nlgTeMFCBXeIq+GXhc5PqMLc7F11HmDKKovfIE/8dqgc1t/fEZvmP9M1VGcc5U8fwt+2DwXy0w5w94742yL5Xt6MIDpsSCFDVPAYLTzDbxzSfN3Zh0rPChVlt0vzYsUfX1TXOiOLQGBUk7qlCt4dZsMSC8tZKuiA6x4rCozZWERxkvxbyIkbY32TTnA/4Evk26Yn2KsfPYfapqJgRuvpg3t+l7KmV4H58AYsBjQAETtrQWga3BYnID/P/5BspxUX+PJhe6lrrR2dZPYxPpISJdfHRpY1iUAu2NiJJXCF1SId4k+RBQbHjdMkx6V/pftrSH+ZY0fM3lJ4sI6pHoje5TGzPZsq6mTpE5Q7pdKWKIB+Sg85CJhs2OjZb/kh4ZaQrKcjwWopEB0x5OXE1L8FWZyQfibPV6yuESpMwnapO3Xhg9IINv3vcnidZhTqfcNSx+SOe5Q9ADxGU460gSNuE+Pp8nZFzuKJmKWSU1T9lJ9qocG73VbfRs+JP78XX1ThxSX6/RrBifmfm/67uFpl9h0xphGsiOWJ5AoeHTsZDfMVAYyvdz42W+8Z9RrNkozEKdgp1Izi1R9XZXc1qcXO0w+VwFQ9LwWwy9GEwbSxh8lnjX0hl794s/kGyAnEM4KlNv0uvnTI0YesITeA6wzMwT5+50S29mzMsGs3iW0tBcfaQqiOutGuDYhpXzDodrZfRBiC7AHAER0E/qt/xX5qc/DXLWutw5sKEE2gwK3rQPwm1qLlWNr7gr4M7chDq+pzKG7BkfKUMq9ZepJDHKmOum/0AIUO6NABDF2blefo0v0fNG2ZaOFx6qTWlBwRKDd2DXXjRoT4m3lKumhUOzgCy/7C8yYWK/grNhwSHSjRhKPkzsdhJI3IrRKdmARmt6E5wSFt/9iosWLDW3EJzvc11sp/qSVdPICqAHyjrxpePdGJhBf5ACQQJOm7lMxyNoX4MfMMzb5giyN3FAiL/hfzQ25lhPyOv6uBLU5O2gLMQ7rgoItJCGB49KzjmlByr+Rv7yKAtQwU/9cg4k7kSJ3RASbeoqh2uTjNxZnizd/RGgRKkyNpt5U7kHVMPDj6V9k3YwqeByfXISjMcqt6Zwhgfw86h/DaBJ5HA88k4j59+lTZIjJnCOCylv4hCjFYQ9545zu3NEXEwUU+fbDUGrpt2gkXWKvJFJX1m1gTWOgqKgKoGuV/loJayXgGNDzbGp1YFdZSHwBKChbthNfGjw4kq732I8ZaMcHfG2wZWyifeRhszPZo0JJpKw73rPRNFNci0Rhs+et7R+xcmxuZvl5WmoMxLW7aii7rm1OkpcsaV66lcXZjvsvhfAJckPWfaqyOg0dzpbN2Z4aPa8GDZyPPY2mva0Gcrgz4RQO+t3GwxynMnILt6cZ95iqY02dfRiVk8RNCeVR0dwJA2TnixqQoBpV69j9KrFbLF6TiztfG4BIl4V4nB9uEYhI5o0eq3wQV/AGOfA2VHX+05m78F/7SPYxsJMtXkwZK4/nTAEXgaNEz+e0mrYttIB25v6tGWONRMovG/JwR5X4hXF5/h+8osvyFcJjo1wbt7CZTiaQEdb/IX7zYhh5Kga1ms6E0hPBcs6SvkNtJ4bwYmMOp7RfbafgG2MYrVVGdpQSafsB+bzcEcKcYtAtUR807QqJstTumu4ds3EdjI1vXnQ5KW9ZBf9gMXLlRTKF64BQeuOC48aNjkxbI1hBDfy1takzirHYKz2gxnlI5VA2ZEUqYkG7thhEUt9IOvtXcDXeMK4wbEXkig5VsE0+aL5fACkob6ikb//XchErjTffbvUZPmidpzInzXwnyM04fLmJ78gyNi8Nkxvx0jIEnXq5kalQOnDXupP2T7V4Oh+Ty4uQJOdgGek9BNaYyY0SAj/XS7x5f0RTR+EjwFNCzYUePdxlaVPNb/Yc/lTLr3Hgdmfc+E4ioElvZ8KZjFLfuAYDCtv9EQgu8+46bVoBGdlvxvfJYh8MGas5wpGPQ77Aurli9x0wc9lcCLJ3rsrSIoaXNz0aC1xTMRXuECyDgG/T9cJh4F0AAvi8+kaV9fxUEKuYTatqRr0P/6f/GiBvIpwcK+EBlDoAvwLxqF/YMj85gZdDA0jLTLL9AZxW4h9ntQxA7CaWUIM+UbqKihQMiwCgtWlz6xSIAHjqgRws/rx+ERt9PS9E4d87HA2vTRwlQupwQGHvrUPu1UhBsEFn/6e2XBBFUaDmkY7I0eAQZXHUi+H1sHs+qDoK3FOub8nhYMSvxzUqn7TRMkZA/ltlf67tedZmK6sl3cKivfoH31FYDlKWttwM931sF11sMgc9PYi0Xg+/1VC5o126bmbN4HS+DLGGFJzDzGx6zqU+d6uK2cafd1zUfKZJH8LlKIYgSa8xV9jwIs4AletAgrpceuUZgyoZe/VBJC0UFt/NA6k8OCf/hTOyp5b6GZ3pp4SbVB3JDms/zFo7ZHuSpBoGZpavu+feY9NssrX3l7cBRcK0Vl7wKx+Hfb6LSesr6lfTcVyRCN1V5F2f1I76+5J12iMPxE7+RKpUVfo4pVHq1nQNMT9lXW0YRAgUKVXF8ZbqdIXHiEEmcRV7YeP8J2YC09JyTbvnK90v5e7xdFxe2Ujkst5FXEowadtgygqHgZUlDsTxAfeOMvZ9/xiXBEcpUQA8Byp//wKGDSCW46du5LF2ZKbHRTbOdqn91nhld54w5PUDPrDCMbjIT73O6T3Mfcexh+B9zj86aILv50bZ5ILGND69Tn0CMHcuqQxcN4VRhSfFnuXVgqb6tsriB73TyTZnP2XUnSA1de26XoDfOg9QG0eHF/y6+XINgQagHv7xZeFZ8imBssRrGsb7xEDnq9IE3uz8aK5osZZbeD88YR3WSchF26A0AVTWfcRLcii6fy/LuDVq5SP0D690IGsy2Skg2VZP6hY9iYQc9RYUEnxLDWvhVXUhRgAadCIgeNgV76UWS0Jzn7EiUk+4dJ2foCJBCgxJD2m0pecmYsQa7I5zbR22uq38+81rLq9b7r0U5z8eVJXKX6XUQea7UO8rnKxcsEM2UFJnvcLylBDq/XQ0NbOhoxTIencOGbqNg/igXaOQInQkotHzD+tORo3sfcCfQiKBPrCDzX/rdbDLqtgxuYSLKm8l1PcEw3Bqn1xMOSJS3eX3sCPWqcVXXJcjBYsPGETukwmq/bfujYh3SxLBUaU5FZV88oks9BLjOgYBzgl5L3Mhtqzrn14r0wuEGChaXUQL20vKJ5VIo7g85kWE39Uxw/Iph2l9+syM0PR72PbE62+w0YGnhV/KZf0uUrIQaioS2hHm8DUe3n8REOGp3EPD3rUKz+b6DYIxo4yoiuOGIQSaFG1mzz5QT3ZZWOwScB63TYpoSkV6/2Rs7PCra8IoVwDbJx8Hx26KUdlF9+D6EbatTuIWvDYbJHk0/sPGmzo3gGAvExKwgZr7JkS7369NV6tDfrOBSSY4PiKnUOcRsINr4HfKdz/iWteZtdMU6CpZYImWuaROqWkxefHtwKsTRqrele18e6WLQmQib9rH/CXtuz+kjGvx9CoT36vwKcu6Che4l0FF4cmd3RSCDdotX9Aa7CRn6ca6Gkl67HysIfu8j6GmkCF/yBbLxosjc6uEs5ZeALNGVMxa/alG2aqp8AlCqwzHPaQp83ApoWvN65F3RXuVp45DYyyitqpo0JzTfxv+il1sxgNJ80053OVMgVEZfrjLyVuWrODAT6goEvUDi1lDjAtYAlrPaM2yrbcKQB/ZKygAlDXpr5N+GFkmdInn6GsBUj/yOiP5K5Peo0R+oxh2q15/q3EG6GXRjenqwzv2WJMTGRIhW2c32+GWc45ajGD2k6xHvA4cihKZ81xwJd7FULBgsZT0ssITpO5atp0/As0o7v6RNfamTvkaZNgWmzcN71+Xx8HA+DZcjl51VxYapku9eckaUUPn/Wtce1pFqGsj+HJNtLdIkbGukHKjHewQ1DSQ7Cf+Azv24ezxr3ilgoOuZuAWDuY1pYVPVR1ZmGzihKH7jiLUYFhiMjxb9KIwQRViTPoaklU9L6Zrp0l1NPNgosgcprpGYHLbbvyFBt2icc2wrxk5pG0HtmJ/REb8L7gKCexeLL/ToE0XZnXEahI8rGetyDjjj+oWly3AaHsDLLT9CV8i7Q+gKGjA2YsufSPJciBC3Dk6YXz5YQ9KNKf3tffxkbgozkv8Im9BW9oWij0G9/TAn3zfosyNlMqvdSibBSRlMVCnIb0RZouLNsJb+mxDP7jEZ39O1Zysctb9YGj0eTGwnhqlWpsZerJtNZoZG3YNOMuVJ+Mszm6C5s1Hg7nBBFJo5VU18C4HBfzhsbo2iIV2gbOa/z3a/ItcC94nN19C8+0IY+ucNFcT+JFWUzunWgUKMdzR+dyr1PUfuHxHzewaieWoJyIU8KYI6e2SH1mIdwwVuZks/OEDgifuh7U7ssog36DXmkdkbPaGBBuULL4QVSLjWNZxZCUV2BbRR7DHBklgf0ZRyrCkmSSuR5/D/ajgQfeP5H9F8XGoCLaeQOqR3dC6mJfSig2BxDKP7NI0/Jz5eFd3aCoqKypM5q5QeqNQgdG0pmY6eimYHIcQpTJFfKPS9PMMYYJeiNX0Wdu3me7Ut78N7C6Af5yE7pAAEZE5uWfUkox49+IZvySREg8YMU2asrN7OUOyoRLlLjolXRukVQynaY1cAGeYbSbHjhjmp0RP1PHzRnE10oBx1acPL5DcjvmXGWcp3yELGgpVa5qWYopv582HdYz0fAgXYTkMG1r2eFw4jpPjWAZJEt+Pnif+bzrRUc/zA3C+D5EzyZ1GtATbmsILI0mdwxE4M+fRfD87GXb0OrL9unm/gjIrK/qmb21KPVlPmAqm+SpQAPsu3ww/CsyuanXgZSnmfZqmAkdSMg91VtJRHBtxNj8LybI/VInnybJymAxmq8eVPTmfiE/YmE7/iY5yPCrebfWUAOgYb/zC5rPWMdm9KcgY/n1VqueTvRoMc3pUjslBYo7gIvgSEafN/AHVlMNUpwu7ZrEdezzKrW5844W8NZfLzy2ByGPffug+CMrB32N/IKyLtzHNOoB/3RrJx6DDYoO0iVSp6ls2/efyPbw0DWkoXnBPQpy2F/ZuIFJcBrScFCDQyfX68qKdyBRbmiuK58Zq04bgpn5a7sqPnXYQD3gzf50+nAb2gZtmPhE+16WWmKpLFxjo/04zFqWxwekzoJ6KeZqmFAaAMFobYb8V6LQf++mSCFH5eQs4N4dmw3mv2M9kAPXcrt+bNYRx/Q4bL6ohxfgj9aRIiXkzx6NZjSkJjhVZoawEpziMeScIUBjhbGrLmx5kmyyLlrDSyV3LaMkFklw8fvaGDvG9LJ2MWj0QtW/EX9xxOpjk0HqhZoYb2HNm5kD4mZ/ij+t3b9vDAaDVlP6p/WXS0FdSb+7/iC7L3HQjuGGXH+hsMN0+1K/CU+nm1e7Y77AqmnL79YC1+ATW57jNk3x9glnhuCsSpi/wgufLTw/9rpnSvw6vhJBbe/r3X7hZuTqBNfXMCMBRd9V04q8+YL/k5z3E93KEMzlZKefEvBpMlPd+JnIId1NGPryPtSBeOa6NuNrpIE+T/53YjFVBQL0s+70ZJ9lPMFLK79GYr0NL59CiiUXBHgtNGmVTcM2coVoSC/+c4s/1bEzrSpu5lwL194uENPFclR0c+C0D2A0FXVfNIpnuRBdWOAFlPZjKsRKTqixek4CtYFzKFufDB5NsTDFJ6Dky2kf7ZX7YY8fVgHRu/T+FqmzuU/iXr1xx5vgTu6V5fr3GLHazz9Yl3++IHFC4J3EiIaXk++oZ6tRcFjZrGDadakRzZTWFXh1GdI8hIcGI9VrJxIdbcxvFjm9Cm0tjit/tG3l2wqN9IiBK3iEhE6oiacg6r4hMEh3Hu3BLWvZ1ug/2hmnbfUjZDMjwthJqUqM36QNL9eWhY7eiTYmvnJj5z9wkcqs1k5YoBKdjwGOMMapEUiKYlz5EZoVxhXgPpUTtr64Gm6fCUHbHrwJoyaYSPuJpTrDRKXsFeyBr6jRaDo+iO9CDJ7x0LGpXsRzGFMNp+RBZTgHljToH2BXiC4MerxcJ05dQbXFW7lHyt/sJ+v5lhYAy5WtY6rGMt0DtpyJuH/ooQ67ifU7f5nNkYP/Oe6qGF1rsQ2G9VLP7w4isNLkEgxvDEp9igcgqlGU62NiyCFmr213niqUMQ5FXOJSBUtsmoR3wtKAqb8uZ8lsEpFnzAud1pZQRemioHxDBoiGx/ovGIjECyLzzZpAcc26XiwNv37Zcm8pScmiqN3Tiebf7R0EkVbgXjqN9zpUbh42ePuq6zXdY7oAtBScwUcEiqlVRclKnXS6Te2LkJQ+9d++WavDEqinIiAhgW9OJbUBAhHJjO2Z4M5uWo5VwlCf4NMI+fQ/NYfnVomVt2REmBNFE8vnfNKJjB3yoHwjiAlvEdEyw+K2rLC10daEMoBjlxjJmzCDYm3N02qTv8nSNO5uR1flpku0jJ4ArRl0hfwa2YUxjXF/GfonhCoO9aki/F1fWsJREuX6zgGkjBRElldLzONAU0JhPZUfz0Nn+qFMB08oW/+k9b++Fo/kmQd/xU0+F+wC2lkiy/WWY1Xf0OUVN86/OWlIiRZL/mU2gTRUqr4cB5szhFA64d6C7jzop1I03GCfevvo3I7nbSbZ4PcGDYmPUNmM7sxD6WoOz/0nmuiEfczhkXtqRnhiTcKsbINbwVNHPDNWB/rKFxtBFTGzNQ+eqEmtiWR7vjex1so0zuAScaNJW0/0ow1/P5IDrED6yexE4f/XdOdyTKb9PNv/IUkT+Y3UrJ1u5vjoBe5TClvOf1COm06x0YJ8eEGhpurjKXpByaa4gqFRRMLTA+LhW2I76qUOglL4+wsmi2W3nEQifQ++MuDgkI2hvTleD7kdGMQNTZ5bBZGGqXcC2WfWFd/AHYMCPskEjtiwCzXBCQGfaYb+O6Za5ThVMHxMlEuaUf+o/btHaj6qTtMvFlRhpzkmSMPDGdUzKD4FZbU8oezuF9mkUpQmaG2/6yR8zploRYhLUKH4koE2J1kJPK+mHe6aShMD4TAZwn4rp2cXyi9/wTVsvUFdI32JhgVZOYaVri9ehVihPCUHOcFJ9fr9LJ1B5kKBszEQBvsQ/wTX01c5AmTwYZHgMj1KUIAjbU+tHwrCx/kH9+pOh+ms8KV8lveCh4m6MwnytRqqG9c1AalFKgeWcFusovgfwHE9k8hSSc0YL1ie9bDV9ieZZA1qxb+9IovlnAhWOqSHFV6NfaGQqnIUCr3Am7YJeQakn0kNhZovF+WBP6NwjXIU3T4nqfzSF+c5ZvaS9rXQigKOGCOsMUdxyfc7iVgvxMZ4pfrR7FoLa4Fgiy5ymvTEA0sV92fO/JzmUQy1WOfEtGABGXOOdYHUPHBA3Wi4svaOCmpKYg4bGSFD/j4G6Qy9CA1in/N7xNR7YF9VSM0QuIsj+dxUMiBOYNjyrmdTkYmzOSfMEeYEXIJeZSYfdywzKXhlu6yAU4YoTUd0rjtIvp1CfHNPNicGYOO/485XdW66P50IYk7MMIvlxUP17zM7EOKgfRNt2H/K2ZvR7H8cogNEcITQ6MwSWlneJsSxD13Nl4P2Ib1vg7sOhBFralz5W8917IxEYGGWd3sGBljjKoNuLwFypVfLGY7rAUgpsb3fOeWzAe6ADnRD5sHktiwD07SkUatSHcbdR5nUYJ/w13pESE13BHTJE7hEAHrEIyJG4NrtMg/+ZawFubcB+dVC+xdB6RP5bjKi1NGTsGihU3QEGDhhOIDPwGBxxlAgQt1UR4Z9BNMaYe6kk5mMqHJq9z7yrVbFOu3sTzKS6vK2pkNWHPsMbsx3wNn/FN9d++gGtUHkDWJ4BJ5pbaUJaxZmlFu3Pn+BOwCfKbzpKEzGPM7p1hJwXMjpX3xqbtZ6EcSS3ol9wP57qyFPTnIcG0LQkqwjhr0cIugReFZ4Qey2F/nDPAED1+wt98e95GE5fd4zuqxnhXNhF40J9jn6pcHHLSBa60NtWXhL3lDmsbU2f9cihm6AT7Q7CzE5XNXbpmH/jsZ/NNiAv20jY/S6RIqYwoaEoNABF89pv9aAoTKz23sdMaWtJqS1C/Tw+Jl0+HfYWGyzHrQo7PpKDvxU46miQuuyrqmBl27CbFcY7mBJU9BlhiK1DrmEAkToJ6Mz1mFeK3pQcsf9IFiFFN5hbwA9hZS9hDTZHrfbpl1c8iYWAWuNPtk5ucaYm6bwYVdmhRv/fNynq2quBIHXbJ5gAEcHcQAXIKnDT1RAotCuNC55Dupyw6sMHzx1BZCl9G5EAi0/r/QfkJ4tlmVlBv0XYcx6RsKRGxE3+L/FD2Dr6CYYXk9efqqxHVbi27vR/MIdSXuhY6PNB4cdi3GbjgOtEEXPfj1IXEe2EC1HU364ucsjjmBFnC+TcHCjHIp287B+IU7szPfzWbLLlgSHdNwQOx867Ft5JS4LympP4zAy6UUjwE9S1yI7Et4f6BEoiYsrU6cCQIinq5FaWUecDxo/Vh6i7pr5s185lDYO3iywTVtSO/gz8/jXnRJ31WCYw4mfPCbuwwVD4rpMDuJHldjgukPD1bIjyK8h//yRYd0+qbvpPU7hoxRNAeT7LGDDqRIg9F0Yv7s8Ke0eBMBalgKw8hrhn079ksdSomFRylc9JrbIPbj1tmgDEldCZLWAgSm+sHnJTpzr9e0dlYsCt29+sskGwoFHS1+vHEwwW6V3Gae0n/BAaM8pg3YfAU/D4hJvmtHkVTBTQ4QUUPkt/zL8BBrFFWCFjwLY9K48jFBkVSEvR2z4ZGoSdlx8YBHddR6ySOwDuZuh/ieoiXOBI59BeyDEpNULcLuBn1TPUOHKCISHxABx8rKF6DXSauz0CdAxBW10UcxyRFKLXbn6yqmWuUbM68vn+GbCqwTbshqAkW1dsYeVuNAnVkOUWR7idddxAOCWFBRU/1fkMWILBWS+LiELH7x+ii39SCgVw8wwqIWPg+EEz/+0l0Q3j4FLYAQ4sHDuRk8A26Wvn+5i6n/7qjB+UVnRhk7ecV50PUYzM51/o+ihRcKyDnt4LYXzVFfSKAC0rxs1Nq6ZuwPJj8E3/FssAmq89ZfRwNJ2PpKX9899auH6twRY0RVsUxhDNFIgbZe0ayqJ6lhDpxd8r9LDdZgceJLHdtanynpIRAJCwh7rF8htvRWTdyHkp5efJNWupj7X4Z1F8wfDnozEPsVZe9nTJcqmbgdo/EvS4ydbWgRxQJEAf45dEKR5bzMpl2cy+tEIS7OzEb988YVqQU2kP9gPPFdfb5vh7gii+npri+Xy6inq+MBPVJVVMfsdsxYjjpxz4ZM5sHgSm32X+WMnVjezPuId4h7JV4rvN6LbxKLf+K8aya2vBg+zmbbWUeYYbztZTChF4s8/ObqyukAluToYWt1l86CsHCTUYIwdTsvRNSZCyyNpcgoFYNCvdNHsFNWObpmnisFNdxMqkuWpZTrwLmM4sIm7OxpLgBjf9Z1Vp//d0SeDa45O8U2aeS6df2RhEjUXxDM6/T3UnjfNvQ4+Oo0jw5PAh1gLo+q1MNM9W1dqlRCVUVLbQQz5Fo+DAJo5VyN+KZobMdfD/GLvxK9Guy0s7A/U9h+lob1FodlJ4vxnB0Wwn0kVggad+0mFLS6WEk9QAEhbUM5x4tqVxKPvZLnEMg0ZFxEo08VFVPI7WzoJR5OHwdbqjJW8OEbFjniIEIw6LEXBv4KOn+pkKC5FROcNEuAPKK8KhRKZkpdF6Euf/vQTbzi9JASJCXLyYmeB1pn+6i2fGHhE4UXbgceKNc90GX+501n9Fww7pKBxNh86m+Y8YKFbc5vhDnKxAlbYDtQsXorz7ogAdoUZvLGNKTLCDOPsyssqtOj1o4z7Mw8VIf3g8kXgasvnbgUo7TsKqshZNG/rRNA7ozn9xU1wuvwrbLj3WwuO2z4HNd2c4BrJzmD0w9FQaF6GCayRMjh9dMMdpj0rJb3FX0qcgeISBMNEr5JqKCZCPER43GPh6b/kNxh3snu7ewUpkn0L5XA8bFgpcFzeR9SPM8SjDfbX6nZyv5dE/uUeo0x8NJle3pi+0w6PHbC4FYEi4sXwKPqBAcNd0QPhNjoVeIHi5BIKLsHXLMu/D3gyY+q2bXJN22GvMzAP5vwuDlImAqZGxwgzR9cHijfRqDFpYjSfk6NQjuszpLGk7InNw0pszoulU41kl/HhfuAS0HZ5B6nk+2FepgLa0ltV5+stgYb1DwQAwHARmryEc7XvzV3c8dHOoWHEOX1dH3438B+eQ++Q+fjviUpBDhqOC9lzubXXDgLfT+wFl9wgM147KduSIUli3FnloP3iGTkVFLOc1euQZvcqF+oZPk3vVZomLCiB6MXVI7LmdvizqzsarNvHMTUHZSIWkC9Av9ehelti3LmLuglUjGZ/0i8mzszQW1UjuUcc+iq3G+00Ernb1D698Id0yfxDOyJJQn41Rs3GBJcFMFuZPOymG595NHpMF6ekypi5MuZRBT5GFchlF+E0E3UyT0IHm7tXfiGIMS+l2EcbGN2W66d7HtF7j8KShFVuh2cw8O3F/uUj2I5tnv5cuKPBZWjoDYjFZi9Mt5bX/5cOHM/v1lyEO9ihnfw4iwyi53Nf6XFinAGvvJZUPJlcYq9COZuzcldQ/2nTazs8D9EDjD0fMKhcLQ3RsfOeZeHV4uEVZZaKy7ZLg5ELd3hEujyRoqcSoE4gwpmyWoQ1UoydwJCfaEIiEqXY79HIwuhjEfskw3W79NPWi4Ska8/gnnFasgeVk/CO6Sev8bwkbzLiZuiFr0s/9BeWbTIqayItD7XbIfVEY5TUyDVFg7DxV1YUfNWppGh6fUXC7011QCyBITHIRSoSpnPu7/o8/7ypjUeu8nluqSJR2v0Kl5aGmn0+wP7yM7t3u5i2MdWqgFsuieyKtbePjL3SZZAd+uaLC6QxcG7o3Dq6Y5AMCl2NYy1bfaIYYKY2Z8Vg+YNyFsPx9P7TP2vufhotZiGBwXsN9mGmFIQdZehyXhDYN6puEsw1PQbbjQ8VBwS5ROARzptEyKoVOeRPQC2Pa/F+lQIlelK5x86v+J9y8HsWzm3DI2bZY2yd3m2pH/uAP+gQ0qnFJSTfvZTc0WxSY0t84JvtyGzaeDMNablpc4hXjYZosoBqvGWOugBbPakpk52i4SJPnVcMiyLAqaN3jhfRapK0JCJ7qZZRybsx/GFhaUfENFlrVfOxFmPDjf0iTfW8/5vzZmHayE7KebNwxvLPOHLdWXzP6txuTy4u5R18dEvbWkzOz25YD6U68gjgA4e/SVGivrQut84fZjtzTq8I9Ih6wdUq+tzDakB5mfrAR5ynZN9GeGff47s1oWPI74Cox6b0i7l22OixrlnzhgeKRD9OqaeBxai9Aro42DZV6rMOs4FDNkIPwsVM/anFdX68PdjmobPaQop8vSroAB4x9zwI1Zm3SDzkqmos5sjZMCA6uJHSpuz37bwaUnbtOK6iGQPE1PtnQGxXC5LZksypNUHZIqz4Xe9rdzPOAa0z0zJyg6xRyM90/TDblWOzH8XkQPEITtjc6rYT1YDp10oZnLzIkVhJIyJS0642DPoYrC/muTjO3/A94A5WmfXHslWvcTkf6gL02LcodhWVNKYoTafMqTo4eoDh59HbztdpSkj/loC6YKSgpQsDh52BTxGiC9PRHiFHS9fAo7l4e7EZRWQjho7UOthtVONTF6Y6gCRgxSL2+cZi6ufDMCa13vY0R1HFWsxTDLGS7Yzag6yG13iGumlZUWjhqlaFelCLWODVeVheJ7WuVXift9nHv+E3JV9vvgexFqyVk+0Py9KtZUDIyZUfPTKIVBLBuCzcArWLu9SFeKViazha/MV3NxzDOu2QPXrnXRtzkR2yiu/davh1S6dMbxaWFFukXkjZJ42Vh4pTcaVlJzjkm0na4h0oH0bbPFOYymOK4Z+Ew8DI1na4tkHEIPdzaswttXM7LKssig9Wt8c654t+RpveU3D1PjoBgX6epNHfNGkBAk0c2VqnPpERwQbHRNX3MurVsobO42erpHiD39wLKOsyuKQEmSj7qmsz08RaZA0YwfXGw6gABlxfeq+IIgVQ8ohrxRopvUqc1EHqBSTd7TC8hFhc3AidkG/J4RnCP5J3aewSL6gWnUpD1rrjvkMF8GY7Eayibx5+Z0VBglZjJ3jAshR8hwgmDuwptO8e/NODQaNZkMYoYun7vB65vOzUFXND4hIxq7kpYVIMZ/SrpiOfYUcUv432WlRn1lQVnEsoJLOFYR5DiCI8yc1cTmQyI3aPlaPuxuvPhr8JML/BLSpkqIsP5BcuNeghkjjUuL/wq56piCkuXhBDW1w8Cmu9qkxqHAvwCwW9jpionJjl0anU+9EKVRricCfnV5S9ZTPJ3v7qFlnmrNGqwU2VmO08MR6RrSIBxLGyjFT7XN5NB5UgeedkXZyOnRzCPJSYAJy5IJzCv7yicY6QuyNb2m8+5lvidImrehMkzi5QkIjc8FPjCV6hKOQwS+8aEP51EWAcePh2Rb5WhtCgtyr6j11JU4xSXnnGaUSLB6Dssz7z9Sd4Aw8YcdEW66GHX+s0vVwUNplJ2Z7dAq5mHeLHhQ9iDTh1m0Nr4bZr4FSBdzn46d2DBJzwqV9veksjfSMJFOd4yLq4707SNIa1bu8hCLW2AFqlVJiE/JueP1Q8fuZCzFDmDMN4cqyn2McM46+ROLyPa8EVo0R9Bqzdw8HXx90H6MpBpX+JL5FrJsCyEeHfeLM0y12yXrfVjX2H0WNTQqHj677ekp5RVFPVAMHsEOWPiIyudLIVrgFDdoufnPbfFTOKSs5Znft4FummfqyRT6e0iwqPeAEWuT/kWKvyubdrXqEtm8qT2mqkT5baDFYGOxGLH/c1xTrLOGLhA9m3GIlDiqPfDl2fYPO6Y0GmKNvq2rNNvkAoD91/y/AfsVPHJFww6NpEW9SIu4CEta6HjwOu/eB88NR7PrXeirCRGuasOOxuKKWu3pieWw7BA2YFa4csnBdP1HPX6kyIC17poCvc4Xjr1T5k72Fha8+AW0etG59IEErX8XN9LicnW1eWZTUcyy3XJF0lxVk/S1k35xu8M+55MakDJMRFM8zGKj6W7I4XDjtdaHiyE+2a1iR/I21varOve/JRMq7UV1uA5ovYCeLXW1AF49hOwxEXmOyncvfTsIUwaqE5xlxB89JcJxsEkhwJZnynIz4rzPYF0p5eyu7M2CRFefUQWw/dSgcu74VSlDA/JljXK2SNW1xwQ2nrrSX6o6lfh6CmExn3TOMglfewe+T/DJn6jGaIUh7Ya9ciCii0Ltt6V/m2pDMGy9qKYR13qDhGoGQ5ccXm8VswArF6ASIt7CqZ2xC0Uhf1vZ6HJjyR/2htY1Qa9yRg0yRlcN+RVBGTdjAyPboBoIDVEY9xXMLxNSh22xJjBeiFKdBxHUkf4rD0+aI/wE5/iYiiRWD9PLQmw+A/+C9MlYrHgRE0YF8Vyd97rRgqbO6DQQ7MDprBqY0CgeYX7mDjafgesa8pX5mNTeW9p2xGI7JI2IbKjEr0QUg/MrxVCJY8E1uZpK8grofI3E02Pnlxq6MGdg/V/saK5D4gb/SdpjHG3T65y514NWCYc+Ysq3sSA5AL0LJPCJ7cUgFtK6I4FBQpHmCQCJobjnY/hOf/7vnNJ6fX+CS3bXkS62/su+xdyg3n1vgzRtgAAt4sMuN4jz68R5lGdDuJ3zegCWEKWlDv8g2RIEN778Irge7mNLYuGTNFbE+m01yLOHqyMfXox26WRiRqUM69VfhqKuIt4XBTvkD4gKbAYa23NNCaAkb9UxmRP12m6FjGqX8WG+0AuJKUi8Q00/t2eXYAj4REuuVSctnKi58mI4BMXhYSVRzd6NHOy4X64wz38XyDCw//P8J5HW1R9c+cnpRUtZXjEnXFAfwNGimw+nOVXs1oEmcsKK5mxe8ZhRR/TqxdWC2Bv7mdry5rQJhhcPmdAroFhehUE5zD/WOLM4Wz4Ky8oEgqKsSHLSsYQv1ofql7lmYyNif2L9udqRJZ6WN3/M9tZN0uxN/g96l/dm/KfvZhy0x11S4FblESMnZXCSKuE7vt80awQD0GQQy1qzd2UOsotpwY+QeW/6fNO92q0DO/H9bSN0ArYBZCGbWF9/HAzDoI0FupR+XM5lA3QC7DdzloqDhvctHdAeGH/QvzATVBg8Gx8MKylDxB9iitn9+Wi4cT/vLIO1hAO9JGi2+K8Wo7kAEDLfomuXG+hPQVCiwLzzOH78UXJBVvZYSuRBsoYUOfwgT5GLP6ineT9PV9+gYpOrb5BmtzmBpRctp/AsZXGTst0MoMA09E0SMfEn+E9alr5boogh5dTF+9aHQ3ydfaeE3VNx/QSZM5rAoW/HVBMhiDabCnk0blVEIoQ3Pvcem0GxKBHbponC3QjdjIpsPmdxE9JQimKpj2QJZmyOxKJfESj+8IgttibZV7SQbQ6sA/ACYZkKmkhFSQ3UrQ9gELXtbovNcqpoi81WaEXRTNN8WUK5XXNHW2h33il7HvqupQo6mg8NmMSnE2prGzeHdoMasgZ88OuadZONMHQsdwtd76PLe75g90fnuC54gJZyLu7p34PPBpsYP//0LjMDYMXIuU551UuiRlxTOY9s8U7F902C2DMidXrL8zO5++ePJbvS+HaHpDdXzX9e5qW0uK4Go1qpZGbnJmABK/mE/KvYbbtIOcMjzZejSErsfA5+nsC0jo45Pdh4cD2VCTf9BwaPabZiDw1tUbXp0vJezeSWSDas2tk7NcBf3pY3VufbHSnQdKe7COwif2HKt5MvTksPy0uTb86jkgKNmBn/UnR0INpdof6f/3GtXno06YNhZxbJBE/dquZhFluoT/F44XQ0D2/WrQ/XOsitDBXJ1o7ensaBungSdMuFZkiixk55cjAnApZxZi/vc4hP2Ea2fcmLVUlFASB2FbHHTucT6ouutvVQ3lhQzx08a3rpN0vVFue57/+qhhM9fjx3J7f6MCUTSqexJwU6LG90OT/vylxaBeYuMjB5EcHbCzPVGXaqa6wjYNeFFxyoI+sWY3WibRwoghmGbS0HXSDI++fUNLpE/xlFxxSZZcbUn0ZYQQ/c9nwhjhjq7p4IsVyEPiWuGFaJ8UPPuBCX5ffSkMREPy590EOYWb9deO0s6US/5sLnaNQ3uOyFj9GGDLkiFctnMfOZFBLRQaZd3khZ2IEj6xTzD8Eefl8PsLx9WK63DgvaAkY31VunxiLJC7Jxmfhcz4MaUhLuED85LjYbaqJqIp/e5oy8QNRp6Xw4ZaeEqGZIeeb+gNMX3eC/0Nsu1FkfRMjExl7DSxJnWDbqaMSw73+kVTU+Fnp2fuRjYGreVJelXIgpNQX/pGKC36ZDk62z4nUP2rACU0pofbiyZSgT7gSbwX0AkVV+cf3XZDgctU1a8ZaZjL0IvVEf3Bd6/43FyGcgaMzbyFfBtvLIHVh0E3ZkOCV7HC4uxY5xPuDoeiywJj8q82fd365DyQ0YJ898d3pOApHMmhdV6xGmnHO0806Rgb9EqHA36inVC1G8A/rUX651XOMiQkneGpkXkhoqPfVcPEp7I3Yux4gGAk5nE7sSak4p2GpadZCQ+aZ5czUAZYntJc6evfrvS6TZBmioNb6fnGwz3uX4XSlbPRD0L45lfp//bhQbXHUT2LPvBu4CcC/RpIvu2sthWsa+O4HkwTarWBVnIOTes0NV5qBgJ76y9cfpM1JINcn/CHRSsxgeDWYjRbkQWZEbSB3o7pztaA0e2AwIDERr0q6iGcd0AW0m9NSvIUjTCuHsXnlrDAKMGM8Y7ELp6CGQgGDbpXox0304sXMpCFX+UBFaerC6+Z3GBZLhn4QlcHhMsEu6dD1zDcGvN2s75nhe3q06rhEt+lxR1vz8UtMXa+WbfwVCO/9sWP5W7WyA+f7mxqBHqEADqnq0h9UQlO7a6gkj7U1t4rJuz1u4UWJlrQn4z2B7CWHS9iVMlyxr7fY3+1G8+uHLZQdRzvlSJLdeY86QDwYhoNLJkff/nOtJdKbRDHrk/tzbQKP4cMoxvQ3SOd/XJ3sgE7QmODbyuolSwAKTn8AKbeVebE0UR6ra6gpj2i1dgEz0ZjmUOVe1UTPZca/0TqpuD6mdK1+rkjDSNPdOT5Gu/wugoCMlwOOTnwR//ekR8t3Tfiw4V1jfTz+ih7/xQHATQ/8+LQURO0MCI9qgbV6qPhfgbdkHKRD1YG2D52WslUd+PXqHg01qDFZ8Ht8Ck5t4EKg6LPTNcEMvcQIQwao3gyMREshkuDkQOT9HIMau0awxtUss/ORMtLKL5+Cg0eGGA5RhVX6KbxmPv8fDV3PHjXs6SucadcYX7vWYvFL5ZBZ1g+k9Qa/IMF28t2H8rVOYZ8x9MHVfcV0N0AYDZGKY1I0IpobHG8UMJFsa0FoZfzLCulNsOefErqfoPBkHl4OB3oJYiYo+tkQUwHKlaTAYV05n450QZo2d7FcVfK0VUW5eBg6XuACbPQ5DuF8oIlgcmmazCUMYjOOWEDsHWA6BdCIdKneY6CeKCgZt8Oc4UcAcBmvTvT9wQhVaS2hpzQEOAQ/wXDNVoGLAnfTv5Tz8NHYUHlQBDbpYxnAgXzc45U9JYljCIxUY/G06A/sMQZ7nY8hSmPTobdG58hZi1woTeGBSHGwoXSdThmOR66nMurar8vtUl0vc3r13G92HnCm0tTJUVHai7uC1oC8stO33yBuFVhMBcn7naQsR+wqtsqA/qUdknoXKyJU2FRwE9NnGrBFWkeMeeDSCVAvwEfnd2Dem48OAncQ76lfTlUDs+CSAH4evwZ9HPR/Fy78YXR25AumozPCHnPe1YRLMQHXyh7jY2qGAobqKWk7wN+RpXeQ4ayuANCltQAKxFwJtyN46wDfeFZjiv1GbUPcMlHx450RB1KneF43UW44d1GK30/gTa7xdgBhBsVIvu21e62klIQ5ER/0mJeaYNlLPUAhZjawb5slU/nHbuQZWB72qsu0m70XMo4ntrNKSNfU/re4ZW/QsCyLXurEAmJchAozWcHPkuQfQp9rfiZgoNlp4zn2Nl6iCqURZwvLCQPVjertnl4uJiGOt02a2NCP97FXbByE/a6IG1sNquju++DI52AkNRRi/c4Ap2f8pdFYOg5Mvr2pBfKdrndCY6zGJ5k/+JzE4je+hsoRdHIHCS5ubHRGgQRj8hPpn3ifFkL2rJDoFuj58b8Bza2F+4o48xyzYj/JH8JKhZ6ghPnPSAGBgYeo92EQKOMtghv7l6Rxc/+tfWX+E3lKQWIPbpsLLF2PhvN7arw1oLPaVorXP5mP5AXrQHLzs0RRqEuPkUtymFdLv6fey1sD/OwLqCGgvp467z+zhqgBZgFm3/ANP+MZdUWcWPX8kxTOqBqfn+niQ8DhBh3x95AjyC2m56lxPUqf1PAdDYEkeLMRfxpg+HAmVL0VmhOHbCQCWXoECzjt/b+kSvdyU1z/5PseOf2UoBJ6p2c95JJBHimy0jL3AF1qsP2oeVcudBMZL7DCIeHDKmagh+t6nXQGh7/drk37lxM8iKES4FeOa5XMxxNrCWoqknNJHJ/CA+4Gz/h1Gb1F/E4vqeDpJDN069I17iclNRdy9CaOZg7ONv7eeKV8CRwB/fo5CDuHN+mZ4ncCCX03ZgwrKUdKxyr2ReMXeG74mNZ5OE913FzfkAQ+hOeI7mBW/PkhE/B6+SgSNVRWdycy+mF3pdsLZLWSswCyZJXoM4aO11lSZ7fvoLkanOd+rK4n4W4eGA5jKx4joukq8CYLleW0QWdu5pzJH5NDvP0pSH473M5tTyn3QKOrQR/69hR5F1SPa7SuAYJAQEG6a93zOCG1LgiIBvTPYT9zZrs+6h0Mj3aaX5xgAilabS+SlIxmCiyZdiwz/i+o1b1VLxCVyP9bcx/RXretgGE+Os/uHldJ6sBH4vqZ67DHc/LM/0rRt037KnhvKK5gXc0JQSYqZ0VccAzn7x085xrq5xUOGrfBOk5TErFbK/d+RCwUTtrfJ6KC1g3P20byOj+o4/nMN3FM2Ff7hd3++blL/JH5IWiH8QF/FoLpBxpUgPUh5P+rbr6vYdlmT5y7bD3LfXzYNotvJkdFTTMcV1yMeHOt6KZfMAccbz/xAfbjeuRdmiXeBa/+z6qshmrFdLXGJEjOTgXWZsmxcI3ZfBv8Cc4CbvV0Z/efLtkI7GmxquBLguNlMromsO4w6parKqZtHn+Y8CxaiOfXIJsJo9oqlt8orTIt8f/GvOXQ5FbwfsOStYFQKaA3aywxVnEOMPVkT5nX8EaZ/ELN34OeUGKwIW+qjegOHfxLSLuqbdirA80pQXiwPBKsaWIv5G0VSVUlWDaP9BGUW/EoQ++GKoSFVLIKqb2s3a3CLwcfHf0qc8r3Gi0AhwzDqYDmGGtULCU6YZBl/Ib1669e6mZpLbAYd5BuuuW9vJArgeHxjeQ8KDxZcKP81JeOeauNO3NUGZD+Yp2HePTKP64l50sy1WIErFEWtjSkCf9nAD9xbahHwNORoF4vi4+MPEZFhHSNY3T0t36TKBLwsv3c71WLRIAjygLzM0oaZ/SqCOwk4gN4DTNMb07zh11qyKvY23nqa+pkCSdWfRNocKPGGq90HuQJGXs76OFm1dxG1p0bff81pAPV4GYa+ct+MCDt71wSxk1PdMGB3nLluBTZynPSh1x27qRvIEUKtgixhFc+L89WEIXlVdzJcmchfPFAnMx2KPuZmvWS5PN3ICi0iq3PPiiUQuhNs2sz5TOjOnkbptpwxDzpOszVaaLB1KV1EnijX220XkiOIpBTmtc4tUZjMug6TlEhsX3nGvzePR+EopBYTx3j7L8sxIpHKXmV2Bur0LWqSUntha25t6WzEXZj3W4Y0FMP5NWnFoQpj0D05zOydnupERh7F2+VDv/JwsdG8tHqpbs5AuQTkrR3ZO3O8CG1Tb+CA+nJXRsBNRaq7SAfWuqw56Y+qNPVdM8vQNg+XiJpaIlR+tKpbIkY9IfxKAgit7hCp+HH3qp0vOvsJ8s7YR3RboS4UgbhzJjPKKXweHhWwCWc7L/0cB4fsWJ/nuwKFy1zmirB6Ua71UKWHtuF6smEckIPGi27wktg0+pFclERJMpBcneJq2A/iszfoTTcSDwe9hG10+ZnUzYh46rJqInAcmk/exnM1OTKw6tDER8uFeS6ljRAPlc13zvbckzcoLX1L6hZ8GgUAQYleH4FrWXLspzu+HKxsI/UTP8WvL0C0/zbKuC3PFEZAqmaCY5lm8icYOmf6OvkujPWEUvjGtG0L36XApRfa10V5e4godufhk3aWpm6RDN8FWTuihny/CFINNjxad0Ad9jw/+InbG+oPjK59g0l640vMXNgLX5v6I3lEYvigposennDRmWhtc2fyyl46zfUuhq4Jsm9mbUbjY1a3k4fRPw2FyyQeXTFPtuwC12uphlzzaH74gGfWd3z9nCcYUcMMDhs7TSvfsBNpqUp4zEa+QCNVbFSnROygJaNYts/urKinI5U4CvxSbejj5N3CuqHrKv4Gip5O5w/K6CmyGnql4X3IaaY3Gv4ed9yuqSSWZHrVhxb1N5o4oSu5TjT+PMkhxhuNLxtrQb1ehuHOfFPSvDXfmp+aE18dtczjcOCoVSVLQ8gX3PqMxWmT6VWTlDSMS23jdLmIIb9t7512ziG8Fc/nzZpTtc9XBRJj0NW2VYgy3xD07ZAadCL8rRlktI/Mw3ZmOXlB1Bz143Zu4xAe+5qB4w4A5T66B+oEX4+zdnqnVXans6PSc7e59jxM/Jl12e1Cy6fXNXMdvIpJQ0/emwfUs5JybMGjdKAThA+5TfLX9ZJqMmFGrpaqW9yvGS0Pb9gk6+N4icW64QpvogdAqI2j7G34y0mHAastEQForMiQ/TFFf5LEPR/FJl35zaqTzCUYvLwgewcaF/ZDkiCDKcHllgUCq0pfZ9ArlUe8GB+bpkOSdul4f8d7bMM9b190k/b6qo9dkIHmuzKQu9dabyh2TZr/il1gwCnvrVAmpfrbcj94w3YPu9YAR/CiaUTmWwmbw9HK6+S8Sb3QDJs+sHmo7spmoFOY0HtpLAa0DKL278t3h8i/NDss2kKnlPwjUU3criCPjIzoHESiQrLDVm/W29TKY8f8ioLkqzLeyPD5lyPaMhMq4eLYgq+9055C8lM2l3iDPSgsOoUurNC0gWgZVmBYt146Ei9TEhwtxrA+EOwrfiJJqpLXZPXZ7Jc8dAYQULb5Xi5dbdRM9gkl7FlsZuW0BypIZAE3qXG7IrDDL3tF/ahiEnxoTE2+8drQ5ylQS0ZolQ9MCwDJJh7p8Vi4wmXVk3iQPc8Xtv1RUCMSk31+SYaZfuETocaf4C9nZX/C3qQ1/6067Zc2bAlSuR3IJzbmhObYcQIet9n4GDg/cJe8RXIXH3Otm5CZi8peyDjfMy4M8a5d8nCUGksATcc3nNMTGrMiGp1mprdVHXV3x2iE5Zxn5KdjztjeyrdmFpbAh7SW4ZnyBiPG8Aj6F8/SvCWqdErNKaMemiuDuLY267pXvkQD5qwVZwQsDoduzWeqfMPE+tUTADLY5Sx9LtDN6L+Jdfpa70cqNpm5rYi+SSNjB4gk0l9JnPIvQF26RY1jOd9cD0sJS/i/kLK8o/AekRPbSdGeCC+u02aM8lkZrS5bJuuZuk5NVKzIRiGbHTrNVXOUMKRQRgzMUyPmZw2MU6HZ1mZOkltxOynPZI5EufZA7EwA+OW3NcaTNEEtqG/YgcRr4lywrxriOq7AkL2rO8MxFB8EN7N+Me7jEm7QrpvhLfcvYMG3mNvYUdz7ZHORpHrHKOo4PNt3tt28nzsUIfIesNU5a+aCwjY/8VKZEHsQ2jUJLpjQKi4tnlJHWIwLjcSdEapm91YBo1kyCmtnn67dv1Hi/ACcdPltidTTXhdwmpjvKnkCuH7zJfHzioDdbQ1mbCDz4ypatGq0ZyEVXCp8ztvQlwEYd8Mp2Sdo2gDGcFGeFydwZNPVYTU62wrzZpye6vmUhcLQ+tUnuWUNYcmWY0CuEQhnufE9wzVdYw8FjD6/k1kbDVMSDAXphuxeeyLDe09/ysr0KtO4uC2l1w1AKRbZr8T6mcA87DLvFOL23gC3CjbEILIkC6YeHv4jAYvv/HHpwofOniI9uTFM4ScivqVX0G2Na95I63dCR/CAUmhhSCzJ1PAlZAAvTqO6mMLabaG49/TLUXv21BwMm/TtL6j/1cOba4uTPFG/PP7tbeEpY99OBFy2y4YFFCAyT5p4uGDSL0O+JAzzX3STaLZBB9c45Jwm0BiQdB2Q9/+hJXtScZ3SF5WmDp/8AfT/PcHAWMrWyjzMVBPW2fWb38FaufYCX7Da9eOVT3EIchRE195Jr3j9Qt/vhAplRgCxzv5TaFokUQQ1dBjnVxTpBrqBMYb+SSA3Knk/yMJhl9mU3RSNPfOZyS2gF8kMM6mLKRpU+b5rTL+gJc31dN4JHETn6IYjRNSBGe/prE08uBXzmAhFr8DySHO/hwPkHAJp2kKrxEVoI7fA+kgoyGLz8gzbF/f5v1UoN4hPM+va5G4rE4ThIIkvHLJgjZTCFDzy0dvLpV10oI2n6yDWkzcx4gj/AYi6ct1LqUnT4IBlughYMt3ZLIrRxe6t8mGkAv9KBQYO1j41ReSVAw1tOmJgXHbj7kG/mH6QSksfIrI8187phSa+MbjAqNLWjXOeSkIwhTQfwNmgqAi2KXBn1B6XrB76ULj899U2tNxntq4RqlQhLQaXiabAq+5bb3s70hLnoJS9B5TumHsueWS+W4YbegW1SZ0Rcoh6/oMKkrxdBix9CX5waglM0nucjtU3VzgWTeCddcxu9PIknFoN/vwk/2osahVPEdTXTiyPs2B06PvxmG47Nf5MSdV85WlFePjwylDExlihIjsJ6ACjAZShGqiQ0HZ42oy5ND/WYQtvtUI5JgVEw9aq47sVodxwjcmIBiPoAPHouBBAweWgXgeCZGjIc9BqSL3aixKLUxjdqeDVFpLu0nWvBSr2npK1aaEbU298Pg4xD1nN0vdiparRvGu116Rjs+w8apphofK3REOkLk2JFuR7hbSbmQLjwBw4PYqfRprrnfCYp05ywDwMbRVmJvHyINHAOf3m4o1sGsgoudUq9Q1YYayp4mNlcr7PLdSeypKoUx6g3A4D4J5I12lu9FFOgCrQo73nNLDaAWC4nBnU4SwWQMvJXwn9PeukrVV8HFHMwE7CQzZiZHxuj3dSKrtUb+5wCiKabD2+k1cZIDPmYuVCk8kUKSp8HmyDIQLxLvSe/MIbU94DCO2YhEDYynmpi9JzdfZH4RV236C7U31ZsFVRwZErUeP8596RcvUFSP0oDG5hRO9Uy5e5ybsJdrdFnCG17O0wRp07G5DVKJFPEvkcbYg1XS/vg1et+A8zoSIhlGDohih0WOm9b/xdoyyaKu5WORBvP+JX3bvPJPeKZHqlq1epwykQ7WUcs42hrjMElCUZQt70xrFVFcsJ8Zk6gfURX2CrgfiwS/uQ46bnpHUd5adiBkCxSgJkrCQQUJ49wJ8z5lFm8ga/FNG4nYxLKgYpgWcEV1fMm7eZzv+BEdqcfehZPmpMatifETg60JyGoVjNCjd57/egHTllZ324CTTYNhnnIGzXYuERztYQdg3Rkqy4CyR2NSWAsmmXeegw0qonz87W6XC9J2FOj7J/F3GWZ9mDyH5YqMjDD3KuNI9bihrkQSr5rkppHSIOVA6p6aXp3K1tLP1y9hyxLjMQAONIrhVXJfiTiJeJOs1SttejZF5ygDCL9dm4AfKSuPouKuJA/Di/byouegW9oupvJljbw1C+H8Toaoli/XA7nDUJYp3snHtMQfqST5WCWOKYwHqrDS4uUJPTLbVET543gGgb7/MqhILTAqbFOtQNPzo9FxId2A/I3xxsfVvSqO1DORqSsXCHsz64OVaXLX8m1xLPHd6tPD4oQt368S1efY8q+SXqf5WCDbQ4Xa+inyxf/KfSibjRBieYMwt7lgPPapmsNCwzFlkjKTnNF9LHKEmubOWNo5EC/lkioEY4oJN19gIwIZqTYxAJfdr/p4ZVnB4LmgTrf5CJbzebLCpReCzWvkjee+Uw2u9WK68hhGlVXr8r7mlReZT0c3v/huvOJKIlNpkG/x7XeqLl1+qhz91u2jCilCkgt4X8oo/IB1Bxz9MAZ3QVSAQQSjlQSrr+J1tI/GqdkDPExPrNXwDthqhp8Vv4ZCxYRBEhaiHHcYkdMoBowdSelYwlPRfULCUc39hIQI/mN8PrQC3m1/juNTj9coPTbOP+/X458xNdgbU/j5N7R73BFajTz6+3u2T7jE/mr9Lt43/rgkyNhpjjuzQgxkwRZQeyGvkTA2H6BZpxCD/TYg8s+NiDGxKfCRvEdPnDNGQWzTPGrKq9FfC1Ppe9hSTmpWxivKuDyoyXwcQsYDUjqVDOWVAnOpuJbwk0yQTgFTMf43zH9+GtdS+L8RxuXg3RyGEbSFFz+o6JzHU7adjSTFlospoCcfOV9wrCD4l90yikzH1oVQReXPxNCP0jjQe8/M/qlSTUb62FCGQ3VpanBhMCzpJ4hm47Rmq7mME9D/R5l4qcqw3iqwGK3Us4lPtCOM/1SSUNZSBvypefEmmFdw3JMKW/MbRNIu7YjWam02UGNWG4/t+F9Dp8C4a1JOMdv+vE5N7UR1QtKIQ0W96dVSyyc3UOQTY6MdhB5M/1m4ptLDB2g8GKrVyOr1K7ZpPOJx1AMm8P1PwPEvjDj9ftQWPTexJDGJcxNauiagefpSmoeOZqMPa5tgV0ijr24v1M2lUCQ+NgoIi4EZmmmnQKS4HL7bnOgeAnR/gTBp9okLVg7U+lbTQqepsA8GB9AyFucLale2NDsmDSwj9ag892ZZpgpjiz3KB/ffXkfjgr6DlosbQERs2SN6ktDZJH0xv2G/oGMemySHQbWjlnyem/URkSH/HwdexZ3m/r8N+uDUWEpWgHA+jzalE4v84Y0gySt1W4InXKLBn+8h110kDHiWijVRXpnIMPwCx+FENMzpaQNFRU2M8qO0x1nw5LrI5/HAo0Q+bw/YI+HZm9dBceC3GlQx/evbzlb1ZQCwHfrHNUH1+60f5iemwGRgoUnZpTuRyFVCLTA1n0G0HTQBW/L4JxNpuXYETI+Ub73m84TLQA0U7hcrCBVCHZ3vqAT6/s5ItB9DvgfLAAvrtYvCJ5YDNQh9hPFvJ3c/AhxbvdwiS0jZdQmzmDHSjqcTQJokHUcJl3POLem+9k5d5qYcceWZXqg4rYW62tl0N/tvduvkxVnavT9WdnZWJryh1mbfglMPuKVbpJgFZy3gqZR4Bdfrh+E2D69M8QrIB+Zn1QuCSKu+QWsOjKSACZgiSj6TK2pWkWva55ZVLCiPrF/UekfapDtmUnvJ63U5zQCUg7JgfstewPRYyeYIXCEOW7h9+hglnTK1P2PnfhtkcvdMKLp65if9TV1ead1ykNWvuU+CNl0PXlLooonhpBpFP8NUtoZA8lniy3V2y3ZAZnB3TjyZfuGCdim7kQFyQp7SQbXN3Y6R4XFXP9nsLZBveuYXaWovS8JoLFHT5Vr+fLyt3mSOUuuLNmQAjxBf3D4sxtv92iow4kcWrKidvqbDuZ4vhv9jXc5Fb7YYC72amsxpL/KEp0IsoFrOiMGfUun2Plw81/L1hicc9MK6JI5/UTcwt/Kiz46O/QmziOinLH0rXPJVgUyIgAuGIUn5OGs49c+umMRozHmmGArRfVLZYC+O4krRT4rKoaw4IvCb/dD2+qHUxyL6CrwFpkHp/aJuj/i3hTbPz8oJ1fc4dORDlEoJVNW/ai0ZVqJNZ4KSl/8qi57tbYB+jEmzeKwIKHwY9QzGStvnpDNEtvsk9m/lDG4NXZt4gaRw6lWi/iwMT5/+gO8VplI2utg8vAVwsMkR4ukRJ9nTZzEY++GszE7JBUefaI4b99gxQFbHUTwJogH7SYfx3e5vukx71ft5iUat38Q1LlmBVcbDhMvX6yyUIqJNo6cFF4eXd5sh5tTiDt+4CaT0CCxjDrPBJcuaH968ulcFw8qkJbekJxwoExyagEYkuuVWgBdTM4hIavFgR/VN4Ij5mQur2Mzeod00OnTM8wSm88TECjvUhf3xX7vwdVSftI9F2r1ERSTdncqTpJH5KLwUnaTRgxmxPU/QCC6Asxxpu4ql9d3r9iYT3OMem6OWF4RMAfaWrhKHXpzCJ+y6PGgei1eMrJeq4ggx2/Dct4plAJV1zfk5Q/h/fGSPg+SClPxSAFp1jQ3GJmTqp8qqPCcQ3l+ltCE1Hcuk+Td2NolnERsts+fbw1gtKckoGA5ttnF/aj/kNNqqA0MoLY58ri7jmXcPdLdF8NKPulsKOvmYsRihuHp567OC4Fw7RvCpRQ7bl3aKUmGlCM/Oo2gwIurscJOIq3NgGlGgpMUT2RA1R13upC9u0P1ySO4mJw0FohknQzJFGCjB68p8J6wHVbR1XOVv1GDdSqtg769WK6AenP3R5IPOImM7Wzm5JBMrbXIUGI+40XppdPmPERVUUhY3waDQdMWHGw49kST83+NLpPMw7ANoVVJTxTUqpZkJPpbzvjtt4rMXRffNDh2zqlBHew1B+ooyA66CkPitVvqlvNWvkOW0hr8KfVsn3+kK3hD5PKwTSoBllaQXBPdbZecNPgHIYpJuzlRwc3PajdnNmBukOu8juT/P+ge25tggOOXzyhnLZs/fNU/RSOvUAllwyXq9nFEcrPXYoXLrlk31aS9WUYpXsr0vT5q5xIywietBlXQ+IXbs2WrI+6xz/TRiWJ1eK4gQFEGJLQur7iQGjLJks0auz32gRWn7XWb3PjSYqc5woy8a853RSkHKxV10nJ6VCwLC/dfII9FUDvHBJ9GQzxKQNl7iwl/JyyohGTJtRT0UY5SflDa1jBDsECrkDQybfXxhXA3Y0Zej9v3+I46opD6ipj/yawxmGkfor55NQQXVJS8RozHLakcYgf6d1lgiQ5WT4ma805h5LM+IybAeMtKh9Z+ZTeSFErZVOyDxj+E7Ti/mhrCBDcnE2wWeB5tXUUje6LRwEpemmx91yFBNR88XdFYsAMGjWEzOwOpsNn5iI2Q8STDDU2aVjiKcBxiByh9U7mz2lsBpfwrnXO/HI7z8zw7D2cXNk7Sgb1CRwGwbG0SLFFcF6R1a/zIjKTV452iBMjF4SGWeK7lNqVzpypZXFuQF6s67azvrWSnoUsNJIFGVA1H0avwJDnDvt2E+uJm4e+67VPfX2OpKfoQS3PvDTsRWB0u1J5OJmeE1dqtdJP6D4zlncHyaXtQVS77aIrcwo2QM+VKyUjXSHCmIOBvYzS+nHaCEWGrPZA8OXqlaahhBaXVlfj1RHJO2wNRW7B2yc/bTIujfjONZNNcxsGPWk2RMYWDhhA2f7UJ6uVpGD1R0eDaZJtmCWJJNcDmEWUWFGNMZdI6EDleijRob4iYGV6KCoIKnUyoXEIGIhTLm1xGr4iFypD6lCDrzhS8mvKeHYJdne6rpxY5aNU8XTAk0RqOBHma9XcwDMO0q07Bg1ycviAz86fO/pDB18/h3FE/0EsEPntbg4MdfdYJKOX4heZOdt75VhRQWZ9+xq8+tgLqUq9PXrOxHyJGJj7fFIMOG/Fnq6P27xjl+ub22Kc03U6yiV1BWj5kp7zib6p8ykUBj68S5iR44sPBwUmWmqjRPQFPzHLsLsBFAAw5jdcADEWmJBTcTHXzEY3AU9T4weXXrw8Kcb2HB6oD57dj5ly4Kxw6ZyN7rxVW9budAStljvNbAI5JJ+McolfwPPVPz1gpWV/ZvqLAu3rIu5aTBhhVPFwXx2waUUiZ28YuqP1kUVF8g/5R1JO3V5aC7yxK72L1EPBiHPMdJaCPwG5ndU0jwqZq7iVAPAJTO26l7xhby0cVY5tdl35eptbVNIlzRVjgcmE2cCmWHKqbsuSBKSQJbuWDE9Eeysf0roSwmGm1M5nyotGNJWiIsB8FgKDDiQOfhbcspZ+Jv56Y2L1K4C6+JN37SeiL89eqXCRiqJ2X3tI0gbgf9dgjjqu6zDYSCllCnwmdtScRSR+2TFp7pyR807uZZwTfRW/p8RkYwFHeiHeYZNOLYWrQCYRDVjPQ29WqVaY2BhQIZMHp/0+aj/d1GAD9TSAu2pOp5zjP2mYjt0U/TO6f5PhnoHnQkN9q/cpn+eh2iVo49WzUfzxMi9np34OL4xgevtlLrlnKOUje5C1sRO1jzHc82MkUNK7jiwWCZxIAMnkcCarUhIZuuJNRvXQZHyVM47IZ59GENiEtYw6zk3rlxZoe2u9qDHM7vSaXYQv5/QxfryW0xRyc3XnpKVIE53PCYcqEv+e3/SJXNnSWv1NB6g5kt+wkPYGtZzw+xITSlFiS4wPQDm8HfPLgKjE462tcrtoIUV3w44eVZsOIy4gFOICJvaCFd5niko7RCU7y0UmbxZkNiozUUiS6TFG6cKlHedXmqtfynPNtAUAhzsokNAo8v1gQS0Eo/OHSnI5hO6EmdOI9WVVyfSYpCJonGqORoOjAvhB6wyFpvjPu1ThgqUPjUJdktMD+Vf2NZ6nZfpv6WalckZh6CXp4u54wnzJqInIvdGJ++8qpxONVzGPHArUZGU/T34+5TKPxhbO69WDQSHSRKoMlrymhRTFvnLMZQ9kkr9qoIAjS389IuwGEUepHYB5qTsmWF1wRt/INCSsva1fRwDszYApATaLoR4oMNaQVSvjN8jhNz3xupukz4Oz/e/8wPiUOGUtoKfyJAOXtVGmbpsmu69Egpg1mXgaqTmrgpTRt0Absjcpl//HE6ra6gYmjom9LvgU+3caMf+xrd/u0MEOWxPwayeYA3AXiiddWjo4d5LHePxksYcz9hPZdMsaAaqUU1AjY8WolF9ULpJwaD/mTJIfS7rQILvCgcfhyvlnLVblx+iXTRrWOWmTV8u2+vNJx6aCN7vOE/HYbtnbQZ+JKgOANP0K0VbjqpmNT0zCLlaquosF9I793dNCiFPEC9A3lBrMdaA9357fM63p2/kKweg5An2+7W4tpRjFMfhhNwOlCJCq/nPTk8RfkFwgfPAKSYdf9d4yW/TyEHTveaWsCzfCli6XuvW9MpvRTIOVZyapf6tSel9dGC510y0QpqkXoatqrLpNvjQqrNJSe0xJNpZo66yAfS1RIf1dBx/8Q3bWTTcljFku0FSkt6HUA4PQ01EPdgj/M3Ukef9RpPPoPIBX7kllvXTfIVHC72zUmsS9LoiybEC2zq2kBGK3r06Ri7LpnWCOK/ZOlwRZBtZefjCzTwfaq9cU1fjPEBKDYjU4oU0dNV59Rrm7FrpaMizeUTA+SI3doV2vsuQCJzLRH1qVIZ9Megypm38KOOOp27xtJXq5GZNDrfNHO4nHp9HhxHEv7TbwNFU3FUhAj/Li9AGAgVewFqU2u3Qot+27/Ftzor3WTyqnWSRbQDbZIXziRZXLFOooMvqpEFiFPmTz5EKis6ZIf42QF5Ht6DH6dyXw5q+PWjlQcFpgwZzqN4+/eSsoBihYUB8A9l3CrNA3YBB2j/OCh0Qat9LRYe/s9AvH64Rg6ujPLfmHi5sQiW5OuiJs3PhKWXYzMIBUmSZYmOvPIpwBZhSiMl3fAhER7flZtQPwfcuywbxgcJ0d2EowKJfAUMbDYrpBuFM1SR1SUcxnJicmiTvuC1Fbz1jP6O6KBrbAqi2S3sGmu7+w+ZQbn05L5cK1hu2duTs/GXLQ8SaTQpxhdqijEmixyq1vuR8BhAHBTV3VtnZxVNATHYkPFvNdhz7ybq/JKIPS1IT1gJQlV39+Jv7yHzSBG85qHD4AZND9mgBheyvbU7TUUOE+dboralvLiRiwlYWwtCA/+yLhL5URKvhRaCk6W/oesULXiCyeSjK9a6viFMT4m5j8C9zXnmtp7rRpeFrlorXaV8Qo1DGyr8pWfqnpBHA9lfHvlsw3S06QBi2RfPeUxOrMd8HdqEDn3msRYWQHqPB2ZKk+G38WxCp/fFYXufpxbgX/L2Soil1A/w/SkEyI3VREe91Nk1bhhF6rc9bKakefUcSI9IRYs+LNPGhYDDPtckF0Lz7+lgmYL7g1G0f1fD2eFeV3gDSu9oLp/2MrRhRDIjwJvgD+xKgAQe1dzJubzqwXdu/7eTEaQ1zODt7hvJzOxPQvxDRJdvYvErKvnLbqfYLiaivToDke7b664IOSCG+Ykh/33757rtGyTYSnPAp4csCaXiTDNXEmq/5oLm0A2g4fnnZmSnFrR9hN40rk88bBqvyfqKZBB0yH0adcc+UjzHct3ohHKQTxdA2udMVvlxFwgHcfMhOYvgUkmfTbbWhwuCi4sMCW3pklNDyPCA9OzOr4dFMaQ/A/m4I3uCDuhVOyOuRjgr6Un4J+oN7DQhwnmoLYakVon/hRqDtXPSjLvbqIY9BP0qddGposCLmhhuHQ0bs3WvFilMa9bpI8nUOYE1cwC4DDxA2VQbtQG9bxs7yKPpVswI+U41payqGC/xlPU/2nkUatUCx1RjXQeM3BkB6Mv6TXAxApkGBotcIcl2GDCuXm5UQFbEIaYnWUtyZQW4+omEsIgr0Hkkb9iW9P8lKIjAsPCC5YK9QFZAuc7oqqVmDI0IHzzlUcvvTaD2GAfJNcprw4gywn2++6zCjMIpXDIdjlPp4Hh/HoJVJd8UKPO6k0IAZWFoM4pnoNp+ZLeZbQuMQJ2kM0NZH7uG3Z7xISI/uTmbXbKGX0COxmetOk2v+ouXz+teE2hD/3SkNdqZ/py2mXnpGzmDsBXp+LdZLoAuEE3XPzkMwrSG2cROdLHda0OzfzM385qSt1fabMoBTu36eTlZsqP1JXKQ01LX5IgnYIeFB0eGmRJoyjIyAKNwDkFbIizZHgcDRc9ISLfx3lVourKVxXYSCODVeFsXxTRCs8/TLpL7z021fp4Jm2z6arE7Eght3fuMx8xvqReEMseIbgB6GAMlSzh8jPme9kYKVF0QuO951FuqK0sylo4lQmCwPPJnt0t4nEi6Tj+U4FKkVsuo6LiR4BQyS3DPkKmgNIDk1FWooJItDIDAI6ZHYFKhRJrzyF+aK09N5hgtEVLTP4X/EcRBUJYM+hbr22psAoakzCCMAP7NN/hveTXptawz9jorT4UI3olbvFVcQIpVsyFWEr1CeBJrjmE8oGeKWvqtMpaJVBs9KIi4y8UxM8bVTHdmCkxQHSnnMDd8Efmu3hfpGVxVeIyh4fWM2BSdjsp9P4TfmCy5tHjjRFb5Iz8dZWBsqio3WkWJPzdbCD5SNvMPJ4mwxroJzEdrFgOcvJbs7KzFRu0Qp0p4BJVoQhbE9fFrxn90LZHDgIq9vIiWklpoNjtdYZf2hMBtwsZfK6v86KZ8rGEKwnccq5XHkcxg4ext5rxWHGfJfdCDypmZuC2c52p66MX7fMG3I+YpX8T71pepHJ3TvwgNl8AnAgNvXIfjuPHaZAdfzj+LPeNVpqf9O+bvS/2Qkd/B29gS+8cojOZyq4+v9VIoUXge3o1UNoa074oGibg6je6IBOqt5o5Pu6maAYRN/0kr8C+QDIxbQwraXzljEYbCoSMXWE3YiDU8NRXsCsPv1JV6m5RbHUrEo9FQil65O6lHoeUTT/oULITxNA2KRCa+pYTwryFjMm6V5sSQFhXoGsEgQrcAukjiO0gi+bUtjxZI17kGSSUchFXA+0a7FsQ6PtBF1kCKBnYzUyalEF0fNRZ/Lsb+GTiMCb8feWU28UTCWnULqqPEV/nduDNKoJietnRpAgZrIUDPi57DrEBdNUWGfCLa+g4T4V3T/ien8TJ5fdlxxfLPWZi9vG4lMkk24GMl3RaOmBxQiug60im+J9hO2gAuL41q2gIIih4IYL/eptbfbnF11gvXewOQttH6q4GxhEJmHvYOafL5gDx6VqnzUuHCJ3p4jd/tgnsXQKGKPR+dwMcsTsg1lIEHwUpA0ZVBMdx8kLbuAxOSAnVoXec/HyTI07LSsJ30zrgQoWkc9Zl1rOMyJ5MK0sxQfw8vHJSBgi0zSpZKhDwRasHjWSd9YGkEwmzu6mg98/FfqLOMcZ47VsZqu+iuf6ka+RjArrNX5ZouvC8Xz+qPwrL5e35MwuP838Bt1d3CYibavmsVoEEWKYgVmsgF4mZz6rMYuHyJntzB/1GL3IBbACFOyf3KeelN5Km6xYbK24aOCaLC3/jCywi8sbPQhMlE3AqyLFOzogCzeuXd7pGdMkThmEg1LWEbhcqdayBoLeGXW+86GkWfee+bHLwQwlnIXkkVhoKgCg7F17fEdolk1rJP08bh4S75vROZrkmybI9TOl5CFGbds46DICkjawFn7e4Nd1B1429lHmStHG5HOfDje90aCul76J72qIZV54FyWYUcdGvZT4BGkPfENYNonMJ2xouYbyPvdaskFvGjpgMUr6PzuHFDwa+RUJ61VDr1/bq5awfzuB5JUr+c7Wuk+BlCYWsVT7da9Hal/ynY8GbEO9xNF83E7r1AR72qFKGSVyjOqHiStE/JZUMqcc3vB6Fggh8Pe5dz3mNiF+JdlsiRgG5GIzunVPaaMk9aAhRa0z3CzviYpUNWEWssfQjWgxzudp8EafbW6HvfkRcXkyrEvhIag7MsFO1XqXc42lfqlGnp3ZB/216jv7vCJD2cWwqda/Y519vO2KKrVhaKcN8dgZw8Kc9fbnCo0Ftt5BU1JaZej85GD0/TvlKGz3m4x+60fzyoTOcQExIQGHseDEieSHTFqUsJ6N96ZRREc+Oji2NxSIKebCzhQpiq9RXxnPmoQXuKoI+1gNf858cBy+h7qSOXt2TTJnFXSuw0zeIT+kXciW4zNAZJQk3VLmedAz937bg8ELtehkmZDdXFUHkztZ93MVqHViHv8lBrBKwYeVkxtx12rOZ1Fv+ecwRK3M7DCHq0OLQKAV2rCSvtgkxA9zn6MVWxzDnn3teYgv8X0C7jTLu648Ns4fhWgc8dWla4AP7gzwoaq7tdqtVanXNbpLh1NtlrS3zqS/BPk6TytIX2uNsp4dPmq7ndVcukOJFTREnxgTcaK0MwqcLt74Bkk05/Bivd7++rVURKYLkFqvSAjx6tFKqmLEUyMtAQBFo0UTjdyRw5hxDBg2taw+KP3sjGkfwa3Ju4XzFuC2FV98UKSirgQ/pPnxfjSjLVkPzL4yrThd+gskl8lex74OxE4uP6rgDP9TCLcrrbQ163nxcmJ1WL4ThjASKXz5DOwS4BXcK2e7Nr3tQEC3O/2SSgV4Sy7KUqq0KG/5A5YaMIOSRSbb6DEjyIB8j6W5RDA8jMBOU+apBLtiS8HkzfZQlwRn2DDCjRGulH71g+GG1CB09S8TCuKHUXYuLCyIXPvN6tOefjsJkhZ2ZO00uf+Tq2DtimorpxQVn57YJFBZBG29bd+VLULb/LrNR93R3+oeMQWntvxbz4WxylNtmAm8v1XelWDKsQVz78XSiOACvS0gxwsTuIL92wZ6GSEGRFAz0KSsPh+NlaelFR3zIMEMp9HdSXrCLDPvkVNk3KEBidjsgNIPD54ZWPXZsQBAeVhl8Q10MUOz6r7N8k1vUHc0ZWaYGJ6jf96Kf8v6jjcYAFkMB4ADNVIw8/Utl0wDCsLo6t766qR6edwaBkjy8s0xzl9yejtidJq1/J9yBQV5VnWHYZ/uqaXcTWt2RC5rxgJnoG68uolaRs3XFOhL4M+u6iZlgJY2rfGKUeYlml1i935Aj/zBkIzhhYM9ro4z82TYWRtxPnvm0i9wMT0yS9/Jv2okYmdpkBRvuvBH/d4fG2du3JfWA+VpYVCGj94TRrIjZTAFLKtRLbRmZqyAZ/nD7cCD3j5Q1CaN4b77i3yKzBfMgGpye4NhXzGE1aYIzv+StLKYDwzoVLc9d3/25RLnA9MjEuvYmwi1TtDVkoSRp2VwPGbKmwaDkLYrMiMUPqJv7s3BlBBqoP9KVtTowBTMy4sZIDDii1cXmiWEhwdsagwnFFsf99715H74x1CVpEgYB26BubdaE3q/6Pl+KqQCWlGREHz1O92l60sNYD5uE1nsSmhyNdo+C+5Bbdm48Kai+FaVVKlll+rLxbA1KnGofrR32pNeLKm5Gg3dxFL3R1cq8QWr7eBUsbNicsP9t7hcZyGxFs9S7+yHyQQJKQpNnCIjkWKSOcSKOBxgT9XevuURsvzPU8l1wE3e6PX1Zos7hQMSuzOJBnzY/cZ+XfZeHr03vyjp/RQKMSrdBVA1n5qRutYn+gSDOwovA+XpgStLxsegHPnaM/5m5ubpD4PC0O/NgK8msqKP7hO2eVvqHbHBpoRDKElISEdmly4WsgwQPv+IoM5CLbJm9ailhArnK036YbbIgDkVMTgH5rF2X6LCvFy3KJMJN1H3nUK3Y7yu7hVJvStKLVBa5s0m1VO92qibAE/lXZOwFY2N8vFi0FwD9g00SzNYUaaFuXA/s1kl9qJl9E66W+nOKIkLZvgVuwlyOvzSkIJ+Vn1MTuRsSnU1ljjOPe3w9xZib2D7WGjaWUjfza4mkCr8p0ZO8bMJUAX8hyMmjrupb2V0CPESUCoSqAy68jBtDYMAZxKr/N8IUQ+Yr+ep8V8O2wDDAHTqc/zATw7Fj7MTm2aub0rD1Ckln3oE+JcZ63Kl/rK4FFjM541qbpNdY0TomI2DnozS5RQmhEeUEKK0hmedbcm/wZeYzcBXsuhCrN8/VtgHRy2DMgGZ76hWZH2DJNwqV5WgrwIEUW1AgRk4mOeDiFjzPk+tD70eF4SZnUGc7UruE52nN5Sj2/CiYt+RmL9mHuudBt8noPBZHeoWaU1gSBmaYIGL9h5mibwQjvGLcdnan/4U8GErPXkyzhpl9j8W7gnsz2IWU5H9gicBBfNFaezU1PjZZ0MsIuL2LEanwU6PChKE1i4ztwf8woo6KIjtDeAzYIb9sALyLu1bBOJgWedeJ59J5gOG4IFrpCHnevmN4ED3SI9dfXQczxQ3zuJiUvI1x2qHqkKiK3ViCGOlAgVda5qZvaFpUn+Vy4nEvb+U5gUOLlijVM89oEnksmyONGAJdDiuvPGXCHkCbHVBdMf1ujVwqgfEXBwQL96tSxWwxv1UzoW5w3Ig59BzO6eYjHWDbeoFEWZY0yWsIYIQD5geZRNigDlusNUEu7uNLI34KC25M/9va83lzEDv0bjr7r4Fr69Ve2S/O3nN60qlpZJbnCgkzCI1Qr2x7pbizmD+gbklVRvWXeDU1lkmKqnf1PUNP/RD1y+9+vcPw7YVdSw+KpuzXM2jwqYgGbJidgJr/hlOlln9zysR+2j+1nDlCB2PLRRslVy33bdjpL2gr+ZZP3gLZOLyoH3RfVVOA+jS6400PF0Ie57JmyOE3gWvIsO/fN1la0I92Kvi0eHlC+6F1KFh7tYOySQN31R5WDpSu+TMiq/7cH2c3LlSIUmY+Q3LJ7E8L8nNQY2uN9ZVuyJDp//VfqVGimD3ghaEwV/jmRgm+su7IbjClGIrbtLoHKdSLCKLNJJV0U+ioycbXLJtMh6f4c+td6C7G8bgXrOSW8az72zLEA4ebzH2DCtSt2KYWbTTxFlUFaqvBYEyNBrZsfrFfq+Lc50/eBroFuCHTmI0mmJmH8TgWIdoAvAegcR7UP2do/wz+e0VQecoX5zvhnV87vBbuXMzdGl9vyVpTsbvuU/Eh5dXVoxZC3luXBiLKoR4egesIg7k7nGquQjbKmTMVGtx5VDelwt1uOZuxRwkyCFXX3yrCCXlehSolReC4GMrsHnYXngHtU7Pv3hV+phPXhN2xgoBV23MCW0IrkVjeKlYm55zej4avwMbWbM28UTrUuPoED8joJcFrekStig418aoVCK8dpzhoUGhj+MFAN6yz70cD5dy3b6yddN2IG+V45cdqOdGi/Adash5u7UYOejmjlurlicS8lzPyPDu9v/SrRpRdNvi8xplzfxDt4JiJ3av5psGJpzIRrXNqfPHh9pSYAMKW0eAUflezJz7mOSHPNzhVONLDmcyktyUA6g7Vnu1l8e9GMHq+x80JI6FsgzyrhSG+fqFuz/e7VoPAB0vShDJxRqEqhJcgoa4gvO9epZmn8rboimJk72ZT3IDShpsw5CzWCBtq5HfehK/dfnFIhsTRfHktYDQqln1yJy69TriZVq123TqySkoe9MBAfGYuWeZu06S/aPq+cUqBmU3RZ9+JLdha0KsLV7gyUGuBekxIxE+6URdgUhxe7AaQsTnhMXqa/8fZ5GyukMy8GKKTjRn9F5FtFX0UH2+FpmqXy3vMBY/sayTv0LRlWJN8o30KnhdZ7Q0ADugdlI80gI09CJpXI8MVRgxCg50WWk/n5eya0rCYsR17iKzDXfXLWk4iZMxW68ICp1p0iBKbITGLU9MSQsA4VcQs4FPozlefZHsEKMCvAxMja92BYvvxTzzUieGj4PFPT+BJRrol8gUhDd0eOSSnrjai6va+VlwOc+3RpVXvjx8XspOhvf6KgwQaRUkKJIWVhMXbySBfSIUgavM1zmXuK4pNXP0ho3bqkDrPZVCc9+Uvl2/1WymcOuD5wU0d0fjLSFko2TZEQpvoWbfTvuZuTaKoMlOe21fVBfmWusZ+cU6DlHUQqIRAXQTLmE10Vl1cVKaqGkLkxmPjemQU/1d+z3y9fplralZuxXPPIO3G4HW8mS9uTFTQcQGhCMyJNjyFGssjXBOFsbK+uF4bm753oYBCFIroJm5hD7FH1DWqcw2RqxOMqAo4IxKU5z3SgCkt3OPgwHJcrBtDUU89RHme37Az9YLJDgxBqba5a/v2B3S0PgnYRFl+7u/+HOm9bCjremlI1UCzZZZC0/4qVIzsk8nraW+sfN7mVaHRBSykJ71IjrXu/E4R1EX5iUQe5IMq4N+QJPoxfUzVUtHQD69OOH2587jV6EB0TgLSXImlHBRgqwOsKPpL51rrXNZxnhPDHh5fmky9GDZa4vKi50P0/CbADx9Tdrdfiaa/9eeFWEBuHnVjkcX6ipkMlCZq9ZW2PNpmTfxZNFMMCMthzLdrQ5STrkkbpGxgOido73ylDb+zl8/XObca9ki3F9HI4UQcRtve+cA8HFcPlUw/aFvrfRrrKRFBQrp9qHKtCcoiMbIv8T0hb/Oc5Gq/H4Ft4ydbuU2oUcrQ7JU5o00PQQyrt/zPrORjOLtQXUsKSvs/qTAcbmWpzCOJkYe0TX8/pMy4K2wdWk0RQovUcNg0FjUuxoV86NkmQjao+3wJk7W7YRM31JOIpZzeLEavhYhaEFPCdzObGMVrQ8fuH87XNb8/VMHXnioZgBB70dTbl9SfFUBg6ZIvwX8Gn5NXjsklH9VNXNRzW0XFtxX2ypikEK2QIaSLHryAOrzJ4l27mgDQOLc1OkVS24wA6NXA7m9PflAvA7yWo+yCoA/L2ZsEvg04UJeb4QONzBDkTVzH3R0kNfSKiqAFuOTkaNOsB1ApfJJTgOF3KBF6nhT4lfyQGFmAb6ezM5/BXjAQUZ/FUS0z8RGNwZhfu0ufeOircY3AwnewJgnKWJ9wyr7mDqUq7rOqUKW6BZDyhDyh+pcaRqlSieBh78avEuwjDnPn9j+gwWoN87wLLOMAZP3IhNpdizH/skL9NlctrapRVK3GVEDcOPhqWwqNmVF2ZA/w/aOwAk7JVmEG+2NbrrEUjq3pNcQJni2X2+5gm5rmTtg0Z/XDTyEx6xoXt5YmbhSl8qM5cgTrmWuFloAzkCVWc9xo7km9r/u4g+4sg7JoyA6ij8MygPCDrXd2SJmMIpzvT4d+CArWGgd00OR+M/aSZzpLhTkwGqESJMpnJ6SDLSZ1UoJBdc7dwgVVg5Sus5VV6PhUf+w18wiLjgG14f7B5z1XlLMrPajLCid9qWIBflLBsk5zEN3mi16XndmvKD9mgTmdPncdrUuadQNmYJXWVzv88eusU5kRACtH3MauvmeZ9sShlglI3R+LHarpyixKhXtmN9ZIKeDPOYjTeVbbAzfFX9cQ7eBKB7lLbAGyImPh/UuNF0/CG/WCzAUXtfIrXSJF5PeZFcZ6mc8b5AlbYPx+r8UdkYEkFAfLLOyM8V//XZQ328+nOeVkqOVKDoZKDGZtoBowvt6Ch+C2e89vvkPnE7ZlQ5cPbPFyi+iiEmzso2PK8ZOhUcVBvhRZdnjtpD58tem9rcRx5RTQ2AHr1nfM8IQTkx6ex3rCA9n2eGU/bsq+SEWSUJ9WNO7kQngDB/M0BE2sliBu3HjC2UQ6Alypt3hrK47uJhmj81aW3RWXPIepCSVDwiu4hE62HREINWpMwVUlmwsbiT6n3pzc/3m4bO0L9jO6lJoAcpOW7Jbd4HcX0/EqKTM9qkRumIGdG2152AwQD9e1VFSY5BT0S4mIAHb9rvw2a2EkHewXH6eWfN0FBu7mYv/8aAAVWhrfGjgKK2jEcTgcd9hyQ5s/BrbdjtHYM9C9ihhRtbv/IdIY1JvVST3izAUHoWsH8l1FLrvvqqzZkZcBki4WDT5/4Dkn15YakRpRr77s7TSFtIr4WdydlNqurMEyGBsyXn16YhSz6VzQDNAKBXEnB3uNwovp75OHSlR5Yx6+na9wi/062/imGq5e/c/NBzq0jswfq0R2uW0u+Ge1V5Z8QKK0rGnC4xaZsR+pTIOFUd0UKEu72FyOD5p+bHtRZqBiIPQGse9dTLZLiShWhKCO8zT5vetl8vRgrTaZJJQ2Vj/dtgMmUTUgKxJx5nOHxAVD55iq4ei7/DQx1hNd6FEhJE0QUzgIaFlW0CVm2UWJM1JCZmokdZnBis8Ku54YX85fUE45rB3RtSw5B5S6dN0MD2SvQ26OawUnfvCckZW2FDQSxbPkqNCbjeiKBaZ+8/oiBqAbrmNJFFhETTebEvErV8LeJ3uRqyzeoF/+RDP/zAdd9c/1OiWIXUJOP1dI2pj9KsE/Ej60Yj0jYD3igSkPsUegwpt3tP28FQKmu4M4DHQ2l0tKOJrjNCbaL4Hl172befHj6sFV7CEgGgTSwWqOPKpQoc53/93C6FLm8J3m3Cv7CUXA2TD7zANIv5+Y2wtqrir4H6JI5LjJ5MwmbFivJ1LbzvKKQ2S7eWmikVWzeBNoRRTjnAPY2bkYLFM+I9YR6nPfVRcSnedrsf4MVlLbOHayZYg6CX3zi6X5ETI0rZ7RvhmeAxdEsca4VqEvWtERk7AZ3TuUcad5i+0kAoOyfCVeWqeHlRIYTzqKz/ESLQc0HmTyTxuCq3xOcIu5l0hX26ynZu42aPXo8UVhkBl2PiacZiWDjAez/Qfs+vuetbwBr9CoxCNRMDv6BGBtd1c25HNAhJDfTGRa57Fw4junvc4w4xEITgyz+3q50GOYBbR+2HsL6HBpGh8n0IHgRR3U6s72160kjvLF0kROvhEyAw74VqsmxVtG1uHRuOv0enuhc93IdI+1F1wAJnjnp3rIBlTeeVwm0oVwgVCeDg2n9hpb7n6yZa0hWse1v5OT9cTgpBGp3Cs8seWksShf4f82yU9mynJ2a8jsXGBqqZ8lRgbGmioxZLDkmng22P5eHhqR43YgI6UPyz4FiWogoALUweEMlxxNpw5NM58kBfhAcv8b/WgADbS3eCX8whjKjXRjEeSYFVi/YEnqGBEN8/zOE70z1SrXp/4JJgvzhaemcefPhW9aqmF5HsLmmF+r5FtFdODljJMYf00Aoh1Fy12psQai7AWX7RTwmyp8G0K5tdw65oW4jATjstPH1zzUM0C3nPQjT28bKeLGywu2m9oMynijEi3kShIjwzx2oukBQBM2zSAJodourOITOuBBdQRQawZuA1QX3DpHZZjt2MAbF5Nym+tLfnTTE826INEoWbi1FiX+YlBY3aT+Xvmz3vw0zV01byEdiTunaloV7iRLWQ9RZCLMgwEUfzjCyqoiDawtAAd0cBgz/R+TZhZ3wC4TElJ7+M+op3yAuhn66H1hQLmzgRIK10FIqZbCc3aGCz2iA6EPodVAQ3RAXE0Vxkf9tTDsO2ePoTolgWZOMS0Atgeqm6Wx/+IA2n0PCEEMVf9kuL3fMOjhajMreoDnZBHaXt/J7ZR+29sMWcGhzmkSdrVBL/g11RhJPJNTh3lJ6XgP2aTtYeZPhd+qlAgTXRwdci/mQ0FXaSxupe394+qp3SLvbyMmjLeNKpLkHjU+C3tyMDf9YHP1zyU75PG4LKKFgdlob5hgBdT6D+xRpkuseoujsptb8nNzLLSSUKE27OwtCR60ZsqPguIvFB9Zt3r+dy3RGz3qZeBnmV0I1o/3YTaMknBmxSq043ALAIbUPlNrfu9YSF2g+iSVjexb2zyJ6YabsOnfRu2oUFIFVyr3/mVkOdM7+NtF8rypKgIdvlNJG0qFoISLZUmHuSJ177zSvkAn4vgSUQUL5Lj2M6A1YUcTPbQ1+n3c8YDvooWY43/Wv1+SlfmHFIbayvjBk3cSTbnLU5oYZ/DJN2h6lmXMPA7h6v52mZNoNx6AlPuWjsGL/F5mNVv1cf5daiK3hKjHILd6Jj4Q7fHSvhC0Ct1HmxrWf1tdYYlJs4wm9a7P415pOhKmkWalBr/SOWc/PbQnxYfe78r4N+n5ZgN/RPb8sV48sYHTPh5c47hdSM3GUsqxLiZMHLzS/2AgKfyL37Sx/coYRgRKqVHfOM5xWS1i0It9YAa/iYzWl0j7+DE3cvJ+er3KQx94QD2MYnNP6bs4G6xqrNGtaLJf96JBcIwDsltG5nmk90aWhxJzlqAK6kzjpO22WfyuzH6C3TjkxIUruA4AVMDIpFpg7K7DhEk/EJy71PPvi2CPwJhrmwklKyZX8CfHlosISDONehYvQQqx0PZF6yurwlN42hS9J76SACXaSDdx4f/JJwSteDfyd4eUJyWxVOQghXrEKeSOvu9seuS5i8Y8CEPe/1bWIDJkg5/Ptjr497I8om9ySVGJfLpAZWFWYldNSsV23HrPzTTS0InkhiFKlna5+cQ5Rb1w0a0b3DfFUIC9ZZOjfqarqzZ7dHgcLSTQtUCT8TiNXm4Am6810jpde6zdIQuvuTMijAWCQ04MnOC5IF25ix1PuS/mDdYrJwExVjfIklrPnL1f9k2rSsCJ4Qejb++hXDJPfgV5OyCpTGXOnl+L6Kne96wyFO6ejM0z1ow2wUfx5fAcW3Jjq72BrGbI9dMrobpyPLXT42smUyBxu5E4uqrN7J4mqR7GNsgmtrQx6FlwXbSjjUmec/QRry7W1mvfkvCFaU/XkmKnNFy5fcfbv/xDgDQuzXm74RFY5RCAaUu+Wc9cgwaS1jYNAQEA0TOO2eyZnxWjuPQrpRliqOuXGgPCD4xHKxfjY97w9Fa7CwbtGVdslWu9W0LOXKm2ChaCc72xttTC8PRtCrNYBvfCSkWvrC5HIdGU12OCjy1hn1ZDHY9kLbyvzYocvWBxBgf4d0bz+sEIkCqQ9ML8Oy9lIR5hxPIQtoRcrGRPy0ENMHr6M9T6gfe0ZFpRn62WSgTNy3AZFbNUc6laewpmGVhj9WN0u817r/DAzqFnLcitJ1CvR2YLFP23Uave/d5wW+XKUvJRXyRJRYHDTXaYAcUnUTAX6XMhhnoVGB2K6GQv60WwGjedykzjpIJrGMTBJHNeyfxUhocarOnO9Gs128ELe3h8iy/1asbZKY7eNwbhYfOa1GtO2Hxa8Ez/wbUdD0AqzFv5RFn9Bqu6eNkx65a+aIa9fhLmlepQyXC5Lzr5MFY02WKpz5vjsyn9yyHlbGOQ3eRNB6VnLyWycE4S7iNGFoFa7Oz18C0qS2/DyWCTnOC6hU0Mx6Ey3TIFODvMgX+gY/fKdZh7tsgJkzZ9dplKsASZ0psQQKDB2DQb1m3yvizFo1TIPy4GKvlY9R1wjO7tCyYBafsFO40DJesDCU3aO7gzT1BuOoZbbfHiiJPryY/xdcKJQOBV/XSG8ftS1JFITdjrmnaUxDERfg6vSbCZoBHR9K6+veq4A2je+r1++9dnTDl7ZNdchVNAIp8dtXwirDkMheSlbIthUlGymwbajelzMk49Amaw7Lo+Euvr2VRso6+scGkzj2PrWoAZ8sEZ3ePdW44Bwf7kUjkgQcsQjc6RwQJiJzLN/WW4slWPYdpWRD7tCPlbdQg1N+PtxT1hXgIVLs6NOV86LcMEMEM6RbQ58WhBLdSZQ7EDBez23xFnbno7X2w/PCG4iTjjEAjcNOnSjmny7kLm/dXIvK+DReliqpGgvnZC1Ss8CgWaMrgxhokeRAr749vh6ybU2GzdAmGgRlOohs+wf3MJgsT8d2n8jfEhUm8D/Nj0V8DwOuAZTva+O8Hzls9CcGqRLooW5XyR5jdkqG8+qujD9mXoT5qY62HNB1Pz/x7wmvIshzeQjVgHuYvG+0qrSqGKRzIVw2uGlTmu5WZsyBbIRjFLKB06knY8kEjqAnBh+hektbfoghSnX3Mzr3dR7zKkZPvmj0SxlJQwo8zXISP88kscVNzsgobfkMCqv/gSpEJzh8IwYgqLMy5rkRl34kzIxb3rO3FOLIOA3oblUK4i0KDy5nKck4Np0QywoaX/WWFEJdjc6/4Miy3cFrenE4iEVmb949N2wNC5JHS22pe05CKIED4EAAN43mOk3Ki1tMrCLshYFrfDxPSpidp17KJqvuW+EDdbEp+L5Zjetw6xbfFjZilG86mBoS6r0GSYeRKuUxCABr0O0szY3aSEWglsbet/bepP7rxP7xT8y/2eCekP4b8Njs4W6CqcKHAxk4urpGA46bs9G03YrZA6M1oMDRgAul7pVn2mxpdI4xUqWH+FJRlAkWPXcSSp4fIcPQv6LhALlCGA8sIa4WELde1ByPe0AIrnCWZ0Ns6E+ON1T+YBHlrzT8WPm+h5WOlkCis/4JIV1LNSFGpi/Ad362OOb5/RDTFTyiFoyRqDATkuGNnLMY/iaZaVUswPLnaU3UdGBBlH0lkOD8lbYaDWodqn2ToqShQuV65a8iuHwRTkG6AMwWfPt5y7mhyqhUFQCpyR+cyXdVR2dV/XHZCbEvHsqA6zolRTs8lqYGyhHUpmGEAWqVosYoWUgO+Fxmurt2PBOkdgcPty9KN2J9aCHJuvv6moQmoXX8Ws77Ws/VTmr87uHcplUKPaO8VEwNsIgSXC/18uztKYV+CMba5GvUUsvNcdDd0gzScPum5GIHrshMeu0B0H+10I4WhnklngGi9qFQYzBAtE7OgkXuc51C27OJAgENucEcRi7D/7o768mbxJOxV18BUaU6dtlgAt0ONwXJLwe5FdM4si/VFoYZTm+J/AI5GdL1DTWA+psB8bqQWG8Po8XHxdJ8tHTVruK7f2vUsPOMlj1BnuqKkhHVYEMsI7IFoJPKfTbZzY+2UJpPv28/Za3FXQbXoWUZfo6rixc14rRROWFAhau5Fn5AejQZjNDH5bidHcrWh6bCvy9ZV6gURiocRc9vWjqx/4EqH2ZspOTWxRlbABX/whLlvFthCTEiyzR3y9hKb0PbIrTyyfVbdSxXfHzxIXqqXbqL9jH//k1ZC/4CfZz4ovdPMG5weC2/nHWbmWo87nAYr/WysDVPPFf17djug8gOG34xqObwYX3Z3GqA4gCfSvCeuFubSgjnB8zBvfpiTvhxviriQ7GosAPY6ciqB3tfzRjNeM46juenwrTX4HjTDxARxStdB1Y2EnX8qw7LO11mNoB2nFwTKKGoeGE0VPZi8PkbDHKqFhS7cVQwsyoC7KTV7k5nJiay1h9m7SBuqSQ18qPOF/S6agx//+/lEzBigv6stLNiscjPO10JWrSGWf1EKm7Z+/MSm5A2IRd/qpe0+rC1tR/CSPIcegEEh72q4gJ3qzh0bXNQAl9f+mzzmAv6I7xI9hS//laOTL6rPJJuOugnAhPZO8Jsmlfo5QcEclRgrC3wZtZLpptU3XQVMgjiRkcwMwgJqKRnqcadl7IcvF5npOezB/Z69bS03F6CeT3aIwSOkQAlHH5HmcbDDJixeQUn5iMbCtmsyDvpKyt0ZQ0cuNRQd7ZFzA61rQE5RxfXWC3iH0mwJnSfKHNDZe5aCJg3wA1Gq+Zh1gQ5U8A9aPEnP2Z5+kQlIwLGRDX1RBAFmcq0u7U8Ph+mr+IbaEOl2SVAHm8JDwvrNQ/FgJ00LtCXtm4TtlM5St+5U2HmKRa3UR5liKHNwuN0QVbOghBk4SLBy4HQaeC2PKrzWqNJQGNQssEbwU5b4U+Pyv3+XbLyWv6Ghmwus4mbfQPWCJ/6MPGe0Vb1v/xD1s1VCHzwn8e5ZHqUdnsj0QGUiiETfKf8sWg5GHVCw5GLuLg8TSTAqPLSk3g9XUphCXS8j6Et5rm/xHvTVcb4K2stupJWK3t4OaXfCND9YFiTg6B5H+ewuzWb2PvibwgVSwBbVfDhJWWuLB9oVCU/58RSCcJASC2hEaJ+I7suQNwCn8kyst2bzcEyWfwvPRuU8AWuzOYDSDpak1fS9UzXN4hKIENqEEFLDNjYOzHabALbrOaOzCPBXQ2XZNi4wZ4Rc01p7XBtdwLk+uh9SXD3S5oX92uelrzNT+/NuRPg18Bm9nKf/7ZSg/UM4i1bTOfOlEKUIgqijnkzqKMRgOubEgn61WOKNiihyTYKhWJewOC7iVbZ1kSz4n0XN99lAl2+AiylrfoOl1hRXdYaz39Xq19vGEBT5xPtmtjbBkRsD9STy00U6yDFZNyMdm2mF6RrqC5/aLQ99/JfUJrr5fEsGW5hC256EXS+xX2TdXv4xsjCKRL8qherhbRyPDaI874CdR9dA/BRCYEts7wGaaFZS2AnhK56igaBagZr7rXTkjKq6cbLFMkNRsibAq/Y9CdPBoHHKwzG0BFwVviST/gm6VYDeTMO+anKzV9F2JEhm19YR2hZjIWm5rPaRTKZ71K/dMuJa7QOxxM2Y7VQiFJOwO8pCOelDuyBzQyaA0BZa9GEV/qbc00gt/k8A7SOydZNNWtbjYX5OvVOnQNpPGu4bx4+F8WYixQlJJEfgAesGDYy4RhfL7xiQNnwA7sHlSdLNCpg69EKmkpr+AUmqw3tTk+k0tZwhMS5e5koNkM3vCCbcRZ5/zcY1ruSBZE0NZcuaME8en9t27SN0whqtqqS9h+hoQ/VvxFwCS+HLpdqfzW/hChf0BG5alYwwn9kqTM/gCsiQMp5zo2ieoMadOhE6IWAKNp+Q1SVV12uAAK1I/sXP3UXgvkJTbedKTvu1FuLqswRdu0PB+SAPNI8aQMljcF02ZPpt/rnmw5Oj3Q9nN2TfRjZmo0gbqRdODhPZomIo6UXj7vmAFV3bkn8OMJXHx828PczFj8Et01KYnMWZmZM45dekp8HcjCttM7zdpsWEGUzzqQMUuB/13fZpJygx/F1FyklXT0VqX3gshM8FissvlLPB/jnNyQlBuYrExNTvqECsycX4ah+eQ624u4syabNAc7c+1fFG78rmw7ruVHdA1HtuyqLWDTiuolfIr+4AFsBacLCjVA4KNf8fJ9uSmSHJ3xfcyTrbfSh/qESOy+JNX8ev41dPMFWQtzr1b35KJ7fuQ/J1wqfGCQPPF1fQgCn5AzTwu2GFGL+X01JAGGGou0bFEC62Vn5pxHWt9vlJ2Yo4ZskQVmb4feOy9YtDN0Xz25SqW9axvRnzt4NIKKNN80AyZ19k+7NEwtYPQG3kIV9QIl+zHsb1WMPXKLs9Xd0IqZ8TqIOVxjctdgWhagnrg1iKk2vhFxEEfvJKiCkmTF+tnEIO43rEbBmKXtvgh2A8Y0sRqBR9X6QWb1KQA1rPoiKS0znmC4IfXtSoaMncPDd2/EapSI1Lf3BiF/siBMVfR/POW7YvPXHfJx870lAvO4gUbMv+J2z7LE2f0CQzim1D+0K7etLHoaKBwt41frgJSsYVvdIXdMbyAN1NfeOLI6DqSLtKH7ck6BnEOJhLnsfSGmhDM743mc5JfuoOPriGFev39Ud+EFVaRLBe5t+cUStoaGW0oPqdn9qHBbxRLbrMYkfA/byzF3WpBWguyGZOHg7X62OWMuIb++NME/W+QytD3M1U0FfvTMbH60ubx6pdD0ZO7v0R2nYtsPFYtkc9ZYlo82XluZSHh5+TKH25eMeS1Ui4gok/fVWGGK2XfBzm7YyysxoY143NjUH+miiJiMtfLlaEQotSELSbl9UFZ+gDhSM1Uuqai1Z+hyo1VpMaBixVGSGl//43b+N/mBQW1oKFyMZOnST+4o2A9A0MqK/p0D9XBqvDbShRToA0veyqcAucq9OkswGGcdRGotAxFgkOaShKEV8vjuWAuiNUMUpWrxjkpHstgDRdnVqlMZInEdCpu/h/IInQ+zDOEMcABV3iYjlqkEUp0MdUTyaMTFjNmjN4fPllAAesm7qtplkRg5oNZt9M/Boibm7yBXdauiOHkUHcdE8f7zbSkkoqyq2/+isSPYBENws8snplNmIPcxPGare4QXHEP5ZytgUuD5hI7GH2XME3lfeX1XVEM20bv6V3/eN/X7KUxT9mqhO47w3jjYd0Mw5HqXlltwiFX4jLizkU4kP9HiNs3zCNwjAHLcuCpDJwMkwiV45hm6mm1dXLsDoC9Pad77Xm5ZfnV8DhRh8Y5qySTW3hF31TK79xKZDwC8CcBcdQ0RraOp4FBY6Iym03GSB/mYSdmXl9rH8z/isLk/OqbnmgdDxvnM+LFOmPGUxv3CApCyNDKdd2PcDkg8KUckYlg2R8yN95kMKzMtL/QY1cMpLUsRi6UmFFJSNd7sDgdvkWplIPx1YmjKz0g8MJA1KEkrty2Nv2d4UmY6P22dHCYkPydEWBx+REYrNZDBDK2vsz06kN3ypaqa3/F2fG4yBoxTLAlkORq4z0g9KCEN3+wwKdKiNWHvPhhbZL2n/zLFwBQ8u3oIG/05i5Y7CTzMp3rhpZ9K+z1iK7CdwzCVSKYzyyuXrbXJAdSuUfHO4bCNHFGeYem+CT1XvWdmyf5Y9UD5JzhZSjfaqS2gVLvVEuRAED6s+4dpHUguZhBkAKTb9ddLK/VcqHPxP1f1sQlhoAmM60Sf7xvuYSAd7mHK89P5ysoxQSRY9U5TaAFuHU+cGZL2mADBIj4OdaB6sPVM+qeocKMwOFA0szV/PwUw83ydxUC8RSZd4irZ7ybYgjsdA0SF9f1KIjXTs8X9KNcihnb18GuKmQvmTDxSL0a2+KxLcKx3ygbcnofL/IVV1SDnKv929L7v5KknqlK4mAAjedKiZzQAHXCm/gVTJolm2tsg1kjpE3BAN0onpuQWd0cGYrx5mQSuaHsCBDpyoIXpO+0CGPcj0IqiVd+YE55DthhYGFPi205Kjm7gTRO908bLnzuuoOEajA7LcTDanpyM/pp0ZiDM/60uc8wICclm1Pl3E2RwOc+RmV6rB1eQA0tGEDDeP4Oz6miaT8F5eTBbRXf1M1hdFYCFGB2Fz/BgMz6TbXlI4T/aVkszER/8LlfWNpCSFjXmhrBG/NXNwomNRRsv/N1ZYviwnE5AmTSQYwFucMnAVICFGofkK0O4TRoRk/ZiKpwmdOjSZfNkoj5K4zh3wuxa6idyBQAJ0ccdVRLMOO0wEv3wDonHi9yFon9I6pA64F9tBHCIWGJZe1j1oedtlbLBEmhvepzpRnPzZY2qzghYRQAKG8tzqRz5ei4PCMuINfDto60Gv7DDqE5RGpIayrFqMdzXcoEw8ug4NJ+6FOhEZvQjhCEKE8uL+F6Af6WArQtdjupViq/rgtgW8vf5tKWQWLDpXyfuqKS5ajtTH27tDB/VRQqoqM3m3OXG4iPRgvFO9LzwD0zUw/d1JL5gLT9nS4fWzf9c0XRCiMS4VImuxikTKe7bVdtRBQo5YM7ULvlygCdTiFRHasJccMTQVe0xgUBWKfvsBB5jQ6/+w0+XRrgrbVX3BKM2tvcNC8PyXjWB065v1u9rEsabR5NPLsDmgmaKsawrhiIjokbAhFN7bj+2PLx8Ua4LyfKg4t6cWRb7VXuRfzWzdEGpWszYQQHqV9wZdvh/wwpx39W1uMM0VzIGfvY4YUo+dRRuAJHjpqPIkEF/KhHP+QNXD2JtN3Dmz2u1ZNCixb72ETQo3Q71F1HUwoQSmmSbFvPA0BPikiJ8a/BvRoApArTbmLHyxcgGCawqeyjQcpTs3byi5XzBvTmvDzNn5zxaveag+j4hBRvtOxmLHdWatpeatt27Anpzg+RAsgVSAjZRTx3D6mgQQomZA799DBMHpseNtCQm2o6n2GzUPXiXeMwHw46YrBITWbm9+KUE0ASO/b1EiSbejiTZCY0xVrEjxvhxgc64kp+wdVrYSAwasWlKBvR5DTuYu74Mp2oeEuWmy7EP4A8C50tx1fl92F2gGcZzcu5xVUVhmlzMhpLsdD9Z0iJwkKL5fELNHi5X+3CR860PK+IrQpLbMZUVQghWinWVQrvGQDUgRkpfy+27twpG88TaXFr9Nj/Wyukpv280iQUA3arY0sKeI/J+bOKWUaufHD9xRqYX+W70X9g9cHvC5KiwvbP/8+5rmJTWPoNcxCXAH0++twFj+9nD7+4H2EReXZmm/OeGgQch2yn7ipZSF/7c5DIWi/HqCnKUBF+BhhHxiia+GOzKguvnwBxcz5TaTS8rra5O9wO8QieTukqU5iXZP830yPC8hczwM9Gb2SbAxscN7uBBflgVGx8EfXFfzvkFKj7HhWll7cQ0oGxT3tee6yVrH9fkj4kcKT1nUgPDbDJV8njdJ8nYowpyBiJR01sLVV/mB53ri/+i2t9lbR9HzsBpoSKnnNgLsow1/uZ4stXy7K/M1zu0b6cr2UycMfFZtuJ9WBlUpcCTjPcDavEH2PqMaTAD487FMG6k/xcaZ6ygN5v1msFLAkuMUxckLpJXqh96ij+ip68lQVpsQRcov/OoUngRWIq4XO2wDRBAovE+bNeg9hGLY3fSlMclX9AMB1V9GJluxVBO/dbQtxXm+A591Ys47ehwmihZfGDPLaPPvfYuH9oKpJlOjEto5Iz0F2HzrZc7O8Xn6sBjtIYHalv1Z9DM98siUslR29jie4VU12Pz7e9lwTQrMn/GmO78UfjPoYMva75UeD9I3NQm4cDpb2ajAlnl4mTvZhUsIFWm6xWUfRTvwprrDXrB+EKmmI/r+U3pkRUNB6jJKyuh0t7o0T9Zv3c6fEP3zmFIcVvY5VP7nlOZtAbQizWfXrRxZ6mZZKPlNevvNrePcpR3CM29W63D+eOjLtq36BJYP3fIHqExvHzGg+BPWnhbGdKSBIzyfA/6mWpAJbOzRm5m3vl1fXm/Hq4hXijHaJLCHYhg1ToqxK2Od15mP5IzOxzXkLxAt2ajBTFlAWCGydA1wCVR6u5L6eBsZghsd/ZS5h6imw6zZCW6LBemUDtLsmoPyYujGlTDTWjejedEHROymuMO5IYWzBxHgCpCHz5dPeXBo5GRef/07wToPc6AsGXnRbCrHD8hgEY/xw11aV63f6HfHw1TpKiZJ0hWvVK+Gmq1e4EflQVx8NopGocV5vAP0ufUEyWosWj7kw4P8lZobMq9ChY+Bb3iqfuxiB2aMTne0pxoAH66oBxaONfwNTHrAELJITwCXofWET+Ffv/g/edgSldtwYmKSrSZo8p6tnhfu9Gc04fXgoeg6FshCs/57JjlAK/WLJ7PHq4WcMXFvFBfmyMEKfwPzkA6bF8k3HlL6sXwksE0wzGZcakR31mxbTMEywNaWIfT0YtkSeReREcmT4/oateZrAGoQNZNIZYhlu1jHgRZp2LADCDFnJ8s0+74UjljU35rp24KtNjI8PRfy7v+/zntV3GCGoWA4cNQ5XUXiaNKVwjJOJ4CjdrK2mvtkigdZ9Dat5Ug6etQLYVEUl6icPXqLcl8ZUStVKd4C0L8L4kORqFPuoyGlv1fHUP+qjfmuKe4IWLke0URkKMBIvn7WVk9jmTqptvcEuh+fXkoK6cFi4AIYXs4ahD8xmfNQ8Qtg79JbyMzFVcw2QEYD6Z7YwepfKMYBzWKSqjCFii3dYyS8Oz7bk350ZLLYVGSAZrHWwzrmQ7dRlrSmUkSeQ/X6HHELiW3c36QbzOF6ivRi/lYpXCC7yCnBmtk6n8RYZ09lWjyG65m6/nbppei/1Am5998QsixMbOpqj4toQEEi0OSRFbfHfUL4OBDpNQzhczsbvI8NJxxPcTecjd5gZTNeJc/xKtdraS2TuCvyM/C6dyavH2nqhloe8i2OaQH0wg1+k4IxMGJRIFgb/hMtyiuh7if73kgGoZ0FMTIGdabHih6VDS0p0V0LbkjJpdDmYYKqnrFkUIoYDrjkV6V8oksmvjtVZ144Tmfy674AwXeCnVbyRplRC34slS2qOLM01Vnl/oOFwP+hrwuCjjeXjdXofujto4zcKjO4gjjUzx38eR/CSFv2nrUBS+7cGQWClHiAQoKiayFIRhSY2RJGqI1aij5kkSNjUwfQOAMhozqsJQ7ASEB3eH2dWVMyjTnSR1SqOEtS2R0emB/gLGBLBxknAytbnCUrYHM3cqdXxUxs48YLJf/ou6OqpsJHf1Yg+nKeFW59eADAaJRfyiGxBHKerPQRlbCCL/tEpH0swm9PgJf3wnCCLWcnR3VB8IYP1rS4c0s8jBwQNprd05LBJ1+3XrftGNvDRvQ8vmrKPgap1bEjAcyDW1xSOSmwweTc7JVuwZsUCxLAcT7wdOxSyTUBcQTIOa8CGqPFCQK9x31k3v+PkaGzj8H/S5jTeFPFn6JbkY+aT9zU+Padz3D2hu47CMzR2+ouFitG/bl665LzMjv5GYLi+xbTt3DaIUZcXNd5iUztYj/CJ0Kz8xfLQD7h9Gi3qrliL17QjTtzqPukR5VGys4gcfPv1r6bdaYQ32W5G00mWgoxgB7UXt6aL8q7zKGrGKShyDJ/lQ+4zi00jjjf6oSxDyJ2EuqLI93cMPVPG5FpCNl2vjQWhk27f9h8iqLZJ9rPY5V34u3ei8jVKfAk+0OX5s2GBXpQfOMR5oUUQMzQK3rMB9SDvRnxXkAV9HmJXt6O3lT657ViaFca7edR1s4TbYSSz7BzlRmMK+CBB7iIwCQdreJ8kXSQ8bAERZGA1RwFqRq8mLRFEbuuUSS8re+C1LR9hOqFHoa967fDeV8ooCNlmt9dj4B3SGZU0Sp9xXYDc1j7jgHdrajxuPQyXlKJ6ysycSDoJBu3apFUbyG+hmlj+0xlqj1ix2h1NKITMcU1awINr3dxx0+nyXN43Pze8VPQAeY7EbCYpoqil4lvDqEDWG8ea7kimnOHi6RKY3p6EO4YuxRKNU4gQzvr8vFqnt69/GmfqUPgRysN+xorprhUbZ3MVsYkcdJB0mmEvMHZOybK0Q1YINjeNzp/8UWKT18+9anLK/8Ofr7u83yfR5udj0TIvwn3aoqpRXRKO7rYAUbPgv3kIEqNUzb7Jz6G5gKUZbs/nMgmMs/az+VmKGhO1I5oSytEETZXxgPy1OheYv4CoI+9Oe0/2dSQhp1HTkJt4LNRUsG9sT/C6pkZg6vBL5iLrHLW6cz1s1z/FHAvwPSG9uSCSZ37ncO8tx56XMLRRPrVnP2wt3tNzW1asYGQ0Wg4O+7TGgjmJQ0ES3qstgFpBhLVVM184Cczzw38N9mq9meVb9MTyC/hO+fGeKlFhPYM8YEEM0m1Tpw9r2tYrYvfEpH4i9FaRMht2uq7Ws01kw3ryZsG8PmmNYNoJT0lzEQd8Xs8k35KmC4kgtJaFG2IrkGPw3vl5tKVLuyS054TyjpwDCKeAk0hRE0aLXWma0jyyczOpiYPBsTG0/CYQqn/9j/G4MsvSS6gLPcCkh1UnzCWRzlYBn81nrgXZlR25ikWdduNV1ORZx0njQlee/Oy3yCP9FSaYCzKhRKhB+k3WRn+wjerbG+KLPZqosmNcxTpPFsvWBIhvdL4X9m0pK1P3aabr2JoXHGognPbJCixlzC7s9JDi1iDNk2YebeH8kJ2DZDx6rN0Qd8c1wSxT79OXAEn4yKQXCciu6n92Qn4XT4mBSSO17imFiZpQh/S75Akp2nyPUSjSukbMr7fyWKEfQro1OLoEfgWqTgnHnCuYcMGiw+Enhy4/uODCJCmw38wacUwrZWyyFAJBQCDMJYPz7TLqgfEgk7Op7qeF+8wVUmwcdL+JTNKINwhWpNOEHfk/QcMhJKAcUqfZh1XGEURZHLD8ePmkZYqMikmpeqcFb14N8zxQxhiZC1P3jHVWCOK4B7jbce2BFWDqku1EqBUlgxyU0JzIhOAu+WyLDiBaLtK6cPDOddTuX5YS0hD/vG4MvQ5n6CIxa/Dleo/6yy5bOmc85Q+5xmWKdx8zC2NwFxg+EgK5xLHaMWJLkRXJae/wc1AQNQvUC6IpiSmva7HmnrlwvscMgmp0CwpQCSh77XctUJ5CesnwGsQ7ir5VzqhGxAmLE8JvtABYgiCk2O1J5ArCkd3b6ZC/9BIbzC6EDi72TJOED75PCtvhnmhKjWQufL/cKV7jycMvJMjfdu6CUqWmLXmbNK2hKro3O/k+rNmmlKnLs5cdc7hMdNmQUznW1dAMjvRz15I+PeK+/UFeQi5/EA8XYsrH+WMeYLrza5+JHgKPxBdnbawTaRJ/0ZI1ZCW6u4t+RTMqOuhXTfJM7U0RJTLml1NbPJqq6qJmwqoHAx3PQmkCeQRvCz8mRHG50pYMYA2WOauBIovV0I7sZ7CcDz9Fren5xWJICGx//eX3WbBPj3URTEzrNnCMo3HEZm4gEnLcMs9jZl0gHpoJr7RT6xLf/rnf3zY1IrX+nkuHiJk2B5h5+ApOfDYVScV5Op8pNRQmX2kpazUVNv8RpBDDv+sjdRb0WKJfejE5aqf6aHmvf/Lu4VrfpzgldZVI9xYAh27PbCtxD6+j1+ig7dMenXgCb2OX21q3W3f3faJnsBphZNp5uP8SZy9Q5b37oTFWoqEBp41CuvnK73cHhUpXZrGC2EERUGiBopJ1MADwP1WI05b7i0aHghOsTPrci5I0Hby3z0qRAEFuLtCqZj6AvTjCtneZWKFLCz78aO5a/1+Tjp8Nt5piD2NKg2V9opIWQaVLoNCdrDn8YB9gMhrCCGa+U7yh2Iq7Vl6mT4QTk+9rYBYCCHlxyDeS0oDgzsPNuB3BZbV8JF//aajxwHI1iiq27MHFLvtcK/Ud9G/P+Tqd3PNsw2M2lB7Wee7JxVSBLSYCnLOHSW1En/S+y3a0ak4MvHgIFed/w+XWiDga69BNdaoGSR52A+7nokxChRGZhI5y9OSznrsLhSEHXiLiXl9OvPxJhnUpShyhN5vWVoqjQjgHig57BTHyH49LS6o1EcuMMRWojkH3GR3MynEz11fX0kcliutkq5B82zarP74xA9U5KEVzx5Utf56yYCahk9ONLvdFH75m0x0FfZR4hMNldvTkBkXCS2sZ27ztunr3sWfNuRxi2NQhpfnhS5yKoeo+MAXtqtNyLafiR8cQgAB36LeSSqb7P3sISin1gQHPtrvdZua9WW2eFsuzSzJj3Crf5kgTX7jRdN42i9kMLq1HQPSFm0vSrqFDCSzbKPtUfNBDGWQWQbhsWACpUarQlqrlnLwbzAKmVWceHma2vmK1ShC88yoP46uSPrQVIKnGCjev4noBSAVZvaEV/wYUqVCSMNfjTYVVGKvNJoB8oU9/o/zJvlCECBC20j5EK6tw0lYfwBHP/Sbe3tZFq/AJpLlULp5WzuirEu3xt//dVvX7sVN/CNtw54l9MuVq/hUKQiJtCWi0FcF6B+7Ys60MO3S3wRhvrbxvDLgJjvYBEG/RbvW7OpTYHn7i5ZzK9dSW0ZhtqB38XCEEv1DFaHk8SrNDUDTgff/sg34D2gTQZV5nVggBDiyFt4tafFRXaHv8ApK2lvqAA5ueR+pGD3Sv+aGeRL2hOeN5KBoE0A8ajGqkWkVW0WEUtE6suKOAup5BGwe6HC4kzfK83U0V9i+w2rU2/q+nBAz7UmuAytCrEVf/v0OV4wp9UpjZ44EPIqFFkYMD7p4WiMk/qSGtdykmvADchOqWgERsPio3UHMA0FE9bimRRCs+8XiEY3o2IGfLo+zuwhuUfyzLhLbPPVM76oghNjy9daiz+Z7Hpt0oz+oTnKWAHbr90+EmEfYTUg9VSVC/G1W5OM+6srY/CbPF2gC3JoJziytCJfIY/yZtujcu9AqcmbIlitB2q66L2DYdp2b5Dvj16QSfqwWtjY9VdsmiqKFQ71qqgyqTJ7iTSmT70NLE6H5deSeqbmxuxiov0zwNkDhbIINEEV8E5hY9M9Ydkt4E1UI0D5MH8JSTOn/f8h7BeTma46sH9g9oR34Ybios0g04KU8YrQJ1GeFmmQWICUt7oBajOf7e34wNmw+XruxuMfdiRTL+HM4TITvsoR9g60NqYeIZfmPLP99YHKx5Uo6MWlorM7kmCgGqhh/izAAFgSQ4Ras+qsIqBsmSkXPOTdsu/lHI6yd5sX0j6FynOsVOcZwwHA25xreQhIJngWY6awRYIvkB+64q6ZYif+NTi1bN2U6P+rIjdP2b/jvznirDsQJwGWrifPfln13Paf6V2zlZ72Jtik4rmIgIPnqKA/lqNX11qQ5UMawLO0JVvuzTdGTtm4lKeF3UAh/sLMgA1kjhVGai5IV61JuFwkqmcso0KEj5q69mIG9PZVF52il2hV6+UNRsm1jXIeA8lWRvYm2EwbYTkJaMWBPj4J9zoUqhG+Rm9RYT4mgOGPi8IrlnRX1KUJJYoqgNF/XLiaUsb5hSdr1TXL5Rqv/B4m8eg7vIRiyeWRqRdmx8j9aRzoxvJW0Ba+l0H4lGsKjaj3qedcHPbiq5UVZ0pIuIIo/rmWPWomByQ8hVQvb0Duq+9H+mkrBzMmp7A54EPuxtBftTwa1xdO6OZ6VZabkjdobAE+x2vFdGTpxUTNJMVH4ZYX3gYSAXC7F+2AblWj97tASx2ikUzUJV/SW+2ohrAtzwKBczLTkYYLAWKyzZ5PWF91N+h7z/7AOXkvnslNFPnGjasfpM/TFqDwYnl2R0eFDbnjdhc79P1fwHLGnIQKG3kSgVRYkqH7EgWrIbvDJIb1Wf7XTBwoLvVD+v+X73HQm89XGucpL/z9B3vzLUYeMHcV1Jk4KjFAGRU74uJXyMVMMQ0DavpaZn7IdQkx8UW6NkobSk1FUtDsWUVMPnqdtUa55/9MrtoFlQmGc1p9h8h7Yed0/QY21H4/5orLHwazq0BDPCM42ugdMd8u7KS3YTSlkQ8BfkOHrvn9AvjQRqk7UtRvXHI/CObl5uBtZMtxP5d1LihkT+eu4dliimU+Ux8Kj2LXmOmtoOkdvJYbRcR8Gkah5zh0+eoSc8yDu+O4XKBr8GA8TmJaJMHcorE31eoLlnWiCpT5mqA/7BbBs+BJSAtmJTNhwOJCCJKBZvgYXdrJQfbIf3lNm9Py8leh6LKXwXGrqp800ukWGRiKWYGOKuXDbr+3kzDK538qlcTmfROlrPbTaV5MBv5Dc7epUwGlsMFd36tJLVXh8/h4kIXw0uMWaFVF/FoaXHy+ZalN8xAlFCfbHZ5WiJaU/YxYWQDjtty2YvNsWvnyTHtR0R+PrnS784Vm19kWaMeJ9aoCODaAwQ/mOr+qwrYjbI0/x0uftWY+l0sf2IRxchtp5K8VnGo1DhXd26H4fkk8YgwUbfdWMQny3nfyvW13kFJlgSZsxfu82m7q3f5Tv1lUbRECycYwE1NDRE70NbPZR+F5mOvZEaJ4yKPHTiGEfOhnCnZmUF3URsi5bIYi0h83aNXzzAwAmefljVK2+CgPP/cZIRW/IFgqfaK/5ycpXjTPY/z/1qhO6YgTyQaVv9JcBnWDDkJT/8kd9RCdhkvez2y2pTvZH+s4BgYaXBUWNeRuM+cK3uaz5j/p0OjjHEBWKDQmR56t726khc8JM+QL0SqI8XC7R3k6JoauPz7ktMqGbhr1w+UTb7N+uoBnuxnADwUojaV/dwv+Y4ZA3eBEikpPt/bBI6CjCQkyxvgwyziIQLf+GYPK/lTIe0mXQ5WRGXqSRr/LTcT3LHHSLjVMcDWXxGUmaG9Unv8c9fWPJbXpShx+zNzkdEglPT61o8msjN7pdoXyk1/Be5uhVuhtcyWPtHMlabK9TzjjTdu3quievAQWTwmahcok/LuzsnavyVbkbLj3Vri+L+XyQKS33jHp02mLTn9ewQPptlA7GCulLLPmVkezeUyotWQsXJ2eqe/Eg/ileir62ZA9Gv1/iKPU/14wGxjALB7cSRH/xL4H/yGfL20cedMXKpz0NBeJ9EvveDPfKHlfpRnqPIMC4l7fzau6vQkkRnTi+o4C372j+wI1k2hl9TpSJiPWhSU4NTlkqsqn+D8LbbtLhfNyF17Lf64m5sIYJZwUgObli7OimCrtpQxEKifVbD7ZdiBcxdjKNm41I5lqX9OYz4aY9i/H3b/FpfS7OF2QXdxWU7LBAjN8Sl7hM8uqWlueSyViukLof/hrCmBVrF0fkXo8HhPZJ5BctkNK+rTp6GRPoGwYt9ElVoSdwfpBlDexJWQw48EiTiqulObANNCBTvMnT3DIMm8FhZdpb8GAdqx3ZXsNc4kyJ5DjwyLODrfhWdw+4QEU2/MUYjzdki01gY8G6AEgjzzaQ635I01R8TV/j3yCxGS31ufXK4Lm+RzJa2qE97ygdVnZAjqLUk5cf7dw45qXEoQ5fsTD7tqoz54dWD7qw+61xu5Dglk1e6H1TrL4QhAsm/DF0mlwHgJTFLPgd2GsHhdt5xosjVaT0N0JA7hEps0KkRw5j2HsRiirecae1cDswoxE+SWjESeze/UgI3eEH81+k7d4F6zjm+y17JUT4WZmVBmY1VW31x2bd8qxEOkoPNbE+ew6oQgXxnPBr7wSY2SSUkDZRdgFD5xIVrStbGNnshFD/106HmfjwEkfxhtzEhQFKfBOtCDqNWt57AX+COu5uWoRf3UTWw813wbRDWRRqI/VRKTiDyqgdedIzmdQClbcI0ALgafK1zDGwP2XbxJPKYWer4S7KT3GaMXs5KYtfGX+rOQpyRdmwVluMdwz3YEpRSpKStvrLmaSfCqmVn34ihEX0+9DbAo5zUtUcZUKuzfcy8Dv7AKOo3iJmkYHs3gKUTAPxwm9T/924ckTGGPjG6Yb0PGlisjKLEnY8+3TmLOwnI/tEXZXns5gWnPJg1pRGVihQUK3Es0M2iWv5neoalmj2gYu7gXsmKArkEXcwsqAcAGL/FobERN0SX+I2eAmUdMy23sDGcq6yc4JJ5t92dfMIH80AuZKgtzm4yB4TMT7FpvT9PcbfhfXjP7N/UYWBJZJq6LnvnqgCys5mdnhps9/XeUdfpxPafLbFL5a5li2ncAWtPmxQO7lh0ptcON6s9O4MlYYga3CApEP6Jxcdx2vFTP1+bguQIm53NWJyqb2zjObs+KCJ20DeSV1Bw+LlmAvlHwb6qfiqh3Akj6TCH872SbVf6jUcmr+ockWJAKcaO+AmnTA1yLI4ze8l2Vx4N2lWRRqxsGuQ8kQsGw+Bw+wTOhDB21f9zh12q9xZ7kTM2f5/B5+o4IjXb7KbI5DKtpRlVOxtzw4yTiu9V7d5bRveyLMm2QtJ3WjIwS8d4MT7Jn4WQoqVqVjIjVg41bIUJgauXCUklMH22vmgoaeXJV1g+6tYv7dOlgyjjcvSRz8mR6BwRgUKPpOhN4L7NeTcJznn/XLLo4fMuEP0yQhdbak62t0Ttld+zcb6NJwqYU4SXzhT2pd5w8EmC4nlcmuxfKrjLabkorRHbvkeWJwGLq40rJso3biOFJnPdOKZi0bUHCD44sSbA4odxdEMGCQdtCEbyqf3vCRYUwAxb16O0QqwXgGRQNKucOwSCOfdFgYnB90OFYCHanppNAxMEzk/R9+levNP6Llgw0ztR2hAjUT8BLondMORVjkJmX5CXqrtYT0V2jaGcCQzf0YQWVLRlUhJtEnXP35DsL7oUP3XEKuVBburI2tqM1mWcaUa00BTmz9u8nQGhEmg0i/bgDqoekEAyKlOkyhw2/p58Vyp895UXXT9FlfeBNXb4uO+bGCp6hPNKw+It5yUEIMRZuDMYjBY9avIgZPLhb1JwC4NEg3QdjOqhk2bAreteJtK5u7PlAoxTYtwLpm5ptIjLbCiVyIa0AruSlEkKIovrywiPoYvaxIllyxmOgg0cUTmqhGjf2p5/K0GRtrYIFjF6DpEp+ujuyodviuMNy4YRoxusvIU7aUz0JXj78RNajWh96IVlRuKmyiHpi7UjGjhzc60oYJv14W4wwd1z4arMbUGhcGfTEey6MnfND4wAY2WPv3fHX+dd4Llw5s8N2hd3hbCzS/HHZnsl78RREWWwSY/xq2u7UY+O8KGM+KLht+JRdr+gqz+341Saq6R7FFHHSnea7N86ZHW0sw96huHo9eVWdoiDXkPIVu5cqWEpuSEb/WIBp71EdEf3uxlIA7QmveVXTVq+JFWwDFtYuQRuIOJOirtgSE6g6uEcFxhEOtnKGrxH5R/ehOUssWuxY51enaMSZ7MFedbhEE10ax373r6Rdc88P9pgHNDCS0Tbk+3aOEqbudBU3jKSJUcgEVg1DGU1UqNRWuN6/vQ9r4d4jqgPKtuhXWv49alzF7MzK1OhjY6yLyn85j/24yzO4YfFFLM12sz/6kXSF0Qby0CvIGrUDzXM4eXkG3AryfXDxDkEIfRSk6hn7T3LQW/7TSNiaWTxj+fOKt4Sw+Pr8GBJcz3VepUbOQ1SqlAQYutdUKrqRB2l9cJO8EoJcVT0E7Hg1vFD+ksUM2dvhanIGv58IEmI1W7oX6uNsRgrUB325fTTV8TOnEIpKU0jMp2Z8w/i1RTVsREOhjQySPgUdiUMzaLuIhbPw+gdpVQBCcLzF0QvoA0QElcGX1xw1EahL4gjCbUPLf+32GJFtLR4p1K8+YYRsJHsbS3CKwuN2TlI/eThVCSO2cXJSLR3yjujSxqS2/+NpKNaOaAwJOh20JHfv43sWIE1iGCnttJpHony9BL3fN1s53SuyPP9qNzrvKuwladuO6e4Orlcu/zsAq3soh9HxJenT2aEqgBROr2XkxFr1PNknYSRSJeFfmUmu07kdGPsdCFhrsYDN7BQEp3NFEiCyvCviBLlAUWS7ixYIf8UMEYXHC0ZhPx5gm5eCwcpksJoQvzThTfQO7rE5NzjcVIaxgPu+sU6E9q5CEhvWqZ9oCQhYqsJMsypzpWKJ2LszU07VeR/mI6UDZS0kh4NWARggkFMlNHz8F8MFKxmVGjw+haYWRkJD7FvCzPpQgj/PHOn0kdkvmeDGf53M4k5UN0OSn0vHL3d1Mo/mBxFbM4qFsPXJoJK/7RtIxh49JP2v0hqMRGSjAHWkZM/p1HSoWshj56pzx8iYWxDmKROazQ5/7wiR1Ee1/EDNmLn8zRZuqCvVsNJPoVKCJtnzmmQAZQonXBER1GvmlhLoNzWQac7jkWUSb5rUd1YiDPd113INvCE2J/Q9yRfkKHNORW8g+eA4yTV940l8nDHiJL1vW15kw0N/NkSd3ALu6HL6ZK7VwcOXKoS6Mj82QpOfW19VPCEDnb0s2i5n6L0PccM0+o3/3QY6h3sXS+HrMT+kOCDpUOPkgOHr9j7kGgwbfoTokriZIkxVhylIBVqQO1CDzVsCo7aBvtoeuKF3tTq0+ji3N5fOXwxNufxuiMMhGe3qrzg937VsUkQfhMxsLuKCU/lvlZdbc3lb8y7llFFVQHODshrVpIU7vrmdtaCAjkC/0rujkHGjyNdlGU37HKOCP65Fy40FmKxj+r2GbZb56YkFDYnS5DJeBkcImJvaMyRC3kkWwUZKQqMsp8RKVBUEeY3enMmApGg6rZfcOA/Upk1D+OsUDVz2uoFhzN+cJ/VSX6Owdjvlx0S/VXme4mfQQdLwXPGD2VCdqtecHw2nm81ShqMzW/93INR2IY3gU5SpIo/t4woGsnhkRtz9KhHDuSNRBWnnIhvsHPzbFQUDVZc2pXKv9YCS9OV48vMpJgRyqfL68a2UWb4LhwXT9aoJcaAxqO/0V0KZUsRwCCmBewE97AhyAq+UdiCiqEcrmsf53R/D8gGuv2pUCVUcBeQuiUtEbrqcfTW+XjtQw96Xx+GxuttfZCLNqmPgwbuVxiO2m3E1TGDWeQFiXhzV18YOgkI0TuRh7NK/+0K9hv4ngnMkA863mT+66cYyCa0YV0vd+u9e5SQK6giXhpfHWIVcoYhHxx8WJhCdJcosByc58fFFoOAmyiWF4A0l/Hv6ySXzWU11OHGOsZcU2rNcLo7NeHr0Ag/kJ7MDsPXuw/cbVX7gUFGmVXpeqU/mcrPSdnZ+gfwWVXqZc8NKCNqMSspm8WXY0FxXivZMZlPR2+Dqj6faOBUOV2ySxiuyyTXjW+RPLmT+WKJycUHJW78FwA03361wICEDyWWuq8Zjc8SDwpcHhfU8PYFQksrA95/0I8j2XlgCmP45JnT1JDQcQx7Px9m5L4y0RArox9dJhN1ZBHFTo5dCbMqBG7H+BHccvvthL8kUJKRDaC1KGgAwrX3BmREFOoAzJ2bLxMv8wr9ZRE8i6Cr/c3AHHXBHCphL0e5OJGX/f0iFMayEBixRh1tISt4hzqlMQQmi7FDkPU4awepPbc0/EffvqRcMgflDhvGBl+YP66C3F/sdL0jzWHDXhpfuFIGYzZ4OSZfVEY9HVi4Qtl69UF7Vsi/MZxmkGLpZnbH2dnkmaDTV2QcTbkRKz73y0YP1GnOzhGLXY2MUeq69raspMHM5E1KRGzJvN1x41pLfmh2kuDh0iRmU2e+Hl5LlZhYyXF8ntvQNL9mANQicDGjiOwP7Z/QVLZtbTcrzbvNxSEP0pt+YeiGqruTpJqi0Nlw3HZqvZ2m3l3TiCo/VAPaOCjJnPcI70xllaU7nwZEjwtLdKwIdOqMO57cmpfgm1+itglKPzRRP6QC7l3i1QgQnjj+p6Y3vaxxgsqAPi+za5mmdmad+H38Qrk64RdkOSAH/jq08CYhcrGjO7xdUxbs/Rvf5o/EtdxVXDlrfTeLxJZtS6aJlemIj+NNdjsPUho2NekjuskIpvE5DI3gAb6lX+IPKsNukIUy5aa7Rlp0c8hejkJsy+u9j3pcqPhoeZdtVVRMlj9d0YhUZMyv0uqKM9c9+u2n8HAeNas35VyLETyF3vx2E2JvchkuuXG1XPushkdIQLDBqNThhtDP7fouBp4xQ2rUvFqEmmfsuRwuiptZgKnmL6rYmH7um8O4n9F+GMHjzsgpGs97kdbQAQTkv2Om1Isx/vuxbeauS8SpOD+f5a4cNHtbrw2wUN0koHbKUTZA7mVKAWMGjaR2v6vOR2uBIQ5jPq5GdRkNNgMzXfcxU6RXdXh6Fec+wihPHO+yUX/L45U5moK9UNZR8JLWXpzn/oBsEu9JApMTNEuD/tKDxays/nXPlm8lnpaMe/FsjzvcuUwfi36eWbjkmdWDiOuV0ArBGdj9XeXlqPDA/7T4T3DA3QfUFenojRCIvxWXmyDYmxghTFHdNNlHUaAAEMv27l2L5mMntDwai3CS7tYp6wFl/tnl67IT/J7gFmgXg8DOt9STyxHy1Cji4bjPzkvCIYJSJOVEPWljZHvWXkxxnCkd3aPntshcTiFRJT6xD+6xlDLLZLnQDcjv/ByswpB/EluorgnB0DdVh1aNtNXJBm5L/JbcCEjjwO57DoOMNuYPyIgBtNEjKRiw5JlsxuGX77BeZ+JARJX2c+vpXQZtMR+m/vH1y2sq6jM0MMBtgnzJq+jRjHN6O5LGEQv/VEJlMVTHqyxypyN3kFPqXLq2T4nQu9hFgpmDwcb1ShnIRLLcKQ4NE7WD2Cn4ku+GrxNZF2ILQ/VxGp5sFZPdL0dgqYRnGgkCshqi5StB9dNBbLJCFW+8LsH1dorMApjznp3i455fCc0u4RhFUz4r63S2hlxM60H8bC18GJqJZpr1WhTX89V4lakyru1P0SQUeYJmVbtV31IGXHGih6T3zEsPdTX5REN+oxNiq6KygUZZx0ayZ7aNYu2hWzayshiacbjMCrpQl5e9krK8pdS/1M4XY9KUFG40zgy3jpnE9j72XyIE7weustFHR/sqtgnGCQSpeycyB2tAvrx2f7+qWtOOhXYZtChbc4DzvWiZ21pskfjAKCd4IwFHc29STWUzr/sKxv47SRZqnRQshwsJrkoXFrCuj1Bp48K00nJpjgJ6y6dlM6CbPj+F8ysaiwnKd3/vI1Qk4/QNJP8P9OQMTQEO5PQfF719jVjwLB8+A6I5SkTnVKMN3ffHFJ/b67+7cxu1F+HNKaw+ElT1YngTBvLBwQzO/C5RfaFCGLa/VFInuj5nsLgBuRrF2aCZICq0ggpF+JAKhirPwJSIFsHIRyQeKK4fl8Utb9Gv5XDNNoM1lXsfsovIjlVvLYPbQg9HpWcUkyX5Wdj+VN5btNXBXqEJCRjfEneyX16RasU4FDEJEMZTIiRwo+DglwJm/i6Q/AAnzcxod2LAkoCirqqeLbvLPXASkuW3nBoMGRVsk5k12eH5o4b03LIwuaqfIrZ11iNdTxmRbh4VnHxlcXX9mCyqYwz/t8GhTDHYyuokcUsjVy304RwfYn+4ILlQDfa+Bphlid/rS/Xcy0lwddMYmVPa5n7dSRgglbe7XE2BYZRRDm8OzCBRuYrBs0bsGGQLoGp4XitwULKY99WyTBSSSx87+GJ1Wg9iOe11xfyVPEUmcTMiTJ3b1q745tucmb8e6OK5w2TN1NeMJZ+2mwCCf2IvUFsUnQ6bzJ2RVuGKXusad5HZ4JtNGFGCdg7x92nhDW9rlq6U1ylXAgkcvdzkAkUWgTDlHn5b1SRkY9H928PzBEIlUqaiOmBA8XGw0U2JtpCWzMjoKjKD7U16iGF5sKHHm/9UnxBO5rXwVuxlQYslJObQ/Nw4qkU4wHHpDcOjFUXdHuvYBNy5WMYcVMpKDg9Rm1OUT7oMBFLXnOEMXAQfH4RC5CFmL32vu8f/CnW60g+ZMt6W5yrUk5OE0nEu5RKdeRVGV7ZLB8YK5bHYF7wj4vKpDbYx8EeeHJJXf5SU5IEZrF7gDy9WPALeMoFxpebayhZNlbJFKq8nkK2mkMRAon4Ja2IXN48z1JEP8UK0BlUn36ZUsxxd+bATfdIBU5Ur2qxyeg5IsDC55qV0h8TlzRpKfKu0STMZYluiwtUm/uUomOHuTqy2801GHSZSanRCoN37tDxk6BPGplOBKygByq43z1yADlf1HJWtjagE/ZeXg8hsP2DVBS4VOxzgE/pnou7mvhZsPEpgt7mfMAyXIz097YuYB1/9/OymaOl2qvtf4ekVtkFmSIp0/uem5BC4A/BA/RcmRaqxM1QEGjY09xD6x3YUiA3+DNgbulL+pJKN90XwrI1wr3eC+xYCVWALWwm7zOgLhUTq4So6rVHlFkmojLHPMHgjs73egQyplvCvpml6IHYuXSMglvW4G2IpuJ4aeM6zTkCCUgd5HapbGHbPz3rBQIA5k9Oiu5YzS6BjnVI8mf9TQE/lCBg4lexHNRIB3O73EKwQ/LsG0Q8QoVyZGFBI9vymDgB8IhRzKCDenZqeRG1iVQ3uahYW5YyZXN97RHFHogKQIe4o6grBuEApFX4TbKMPZd6OVNtxi6ahWqTHLSR/hidjhKJPQhysXK/iL5O6DYc8cwCYwgh2tQa8X6plJZJ5i8ZHof2tVy29fULetJxURCWi90N48ivuEcGuQASvdx828AmVBBNDW7C3CC42bUMOZziTLEZO6bifAz7uTh0TPtY12ZyGD6+vxJHJu2I9MlbNIE9fXytiTVVbjn5gjUpI4nDob8Fqk8bWapaRErEBJSUwB0toEk6Ota7rj14BBJxQxcQg1ZtoKGGW+wHKW2YDYzNaShxE7OX4ScK6kohdJobCqzBIfAk15fPyBu8HsisS3aYcgpZt/pceSeLlleuwsOXu6ZZ1LoCtsilI5xZpDBU7JP5+Awam6ii0khM+5+5XlhR6LBZY1NtNbBaLh7FQzgEm6XlW3pgFmJ72/rA14KK1m8HrhSGYBm3USdt3igYE3rV5CJT9RVoBDIL9W2eB1kh0FVoqoV/S8eAkil7Zzr/LYp2g5UnebZ9pWhWbi3/iBFxrgUC7iKxnJGDQJebA03FEV/TaMdumUG0zHim2+lRfkQ2tzuWpqb5NnoR2IkUjQNKY1+97aSSFRDj4Mitr2Dlx9b7bDiVHyZUoX3yL9ptDP9DL4jcNgy57/x443h/geRXQ4iyawD52KWz+K77gNO3cxoBQk2gJZ1+jNSIIWS3pQxZDoTbXUMha6rKRsETBiD5hpJ8ElZFwS8C29Tw5iHU1aLRRN0bdv4UCanXsYCGwsLeJVQhnRgqK26kCfoeIDkoabgToW56vUpCwCmq/urixPaJHv634ri6gHzyv0MxdkQ2U8KanaQjIZ6uazO9jiin9SXsSvrbHBW9QAzcZD/r7pb3bIJ0pkNbvnNeVjGqNUqi2ruXl/636oUsnQvR0KxXtlrq3z0f7QfF3VzRJN1keccaB7Jx+ir97rLYymFzNIZe2asXS6ZlWk5iMySxJC1sKlZYmcLIS6yvODS/6TZXieOKXwCpKYZ2VyuhFAqEIMn/x4msG4deX4iMnzVCuRLAs9BNIbzywh1/vSQrTe7vsHP3lFIqK2MeXvcq1NMeTsUDXVLbx5364kLLTPl5YVvhI8r4qIqPFGEdhIvKeJ4NWjs4cwNMXMHzuimH18fH/4ZrBAFInZyBQ+YM0FQrx7un5cmIY6REXTMCtG1aGWKl/Sa/8JBU9cpQ8b67FPHlarHoxwwQUBm5XCEdsDU8JSLZZ2Q3EFNDc4uXVp0CBlWBM5UGnJYe10QHcnUPcvrg1ZVjdkPHLOtK8YAwD7gAnjtMOQ7m2/00ghN0jEwJdYUiUzuVkt3X1pRP5mFoVyrVR8vfQmQXhYpYEIsTAgxLNPfuKY6a7yMMQFJqM7OcGhu1NcuhlRsv2fUpTg+HMg/QIA/DT6oCglDaFo54X5BRrzm3ml6PE3ksQRyW6aLu8bjp3hm7XForKp6BUX4jUrG1JCiMyNdOBKdLBpY+D1Py+HIpzPKWhzdCutG8eTy+Nx4GVwEHNcx6o0S2QXxPRVbshS2kTWprATkSLi51i/o3qCe8uq2IKHSgInDyMshuFmc4K82fLLeroQT0zZjG8KRoKdrXhCQMVjlNL0PP1jvq/44lHfYIlWY10B92DQhTy3Xm+4BZ8M3XFsjWtXwYY8Y9b1C+fXehnqcST5KBo7PXhJV8VWQlaXXOUWswJJWd8o1cA4hcZ92eNB1yYZn2wPJTnRn1Gg9eR5nQiGb4aWO4LNbkdFOOhMZ0RqMcccn9vIBmhlJY+A+j+rkMBlFC3243QJT62q5g3n3jv6TTIfoB+u6lV7H2dRFTfi8dhkiA53+w3fTSdeJ07fe0ipqNo1HgOpAGSLwLi7Lz7eONzwiYMrQxX4NNbzsz1Q0Ez5RZ2JrRQwvW9XQRNQ0o62XuVdmJhO8+oCntbtYRDV0c4xYHefEMFbbg4XhNZuvfRC4deD+1ZW2DHZpSKgLZCCO57FRhRiXuXtCmRs47T/VyXuHOSctbbt6Dgcm8xxj+Zv3YD1sK7aIDT4bWNf0YoIJYk9YApPUJsruw8jPX62C1LS7QUl1UiE/uPVbK/6cEYqLK2Ht8vMS9y/NjiiTcp7nyYasVK9HpfKfHgopijC2uH3ioPkBu+SV1Q3fQnfPB/NIHgO/9OkS94QtPAtBfmDUY4Vne1OgVHs6hp7SeKCxBDdeiekADOm7aNZ+ihoiisxq7Rd47dBtXw0Ud6whkXQPzjqCu5qvr4lYAx89lR6Urj9ZKa7C5QeP9t21d5tQihlJqGRumrnz2J5w6+U53URm59ZmJRHF6aAFXFZKp1Y5Ec5qO+7BA6SEwz8fP2EnBgeTkCRBoTUWoXyey7FlyB03UPPUSdP4mb6NoB6ZbyL4UsFh9WOTfJSTKwJ9DS6fz2PhXU20FVC/uWHtJxAwjmx61vplNWNaFuNSjMyHm7q+sbTl2Ss+dm8biiB0KoH6s9hzS/zzUaBFWjCemO1NHpl6ndoFwJwaACnZMxh9hk7q8BFPASQHnGV57Bf4EQioPSObnHMS/SjaNLYpVFGUvEvGHMp8P5LOdajDJlAmYRGDK3qyI5g8laSO8V9FJpGKMjDywGVfojESH/BcHwt8r3js0quRvUnVZED+qv+pthiWh+vYyLd3fEUXpOOlDaMLct1A8gj+X/4CEnmiiX5L5c/TbEo6KJkJHuzhUKthNDhPNtkBTIXDkFbPyEmGjt9RyAjM4qFZJ2iq6zKf8+hCq5XI5fZSYGJrBuju1VLGRs/8GG+6Wq2uq+4VJrKOzPJpuhEtAgkBtJe5Q8ddcrTMy9AHwsQrR8e3FUNRPODs8MPZmzCWxRjphRAC3wJhyfYXQnIvP4Ng4eOM3je/QEBflK+IuPBUA63Ul048qKYfFB7P+0SN1v5HXE+OxRmk8/QUV8ioVuemonMWJeqghUZrpq3V31fn8cBc3TxxAsF5NQBsIfqZUlr8F4oRxV4QoOxjfTzqcQTxwa+H3nMA97ykz0jlmbDWHE8Fmw7lHpanN46wAuUMudAG9Qsi+vdfGK3W8ZiGyuONRtJj1GwVRnE/hwMlP8pcZq4UUadhsfMuQvIn2nlDqoKag7B3liGNJBT39oFFnmmXqFpheMiF+HhsHAJoWhfqUK30tIKMQ7Hp8c7VuJE00pKDczBvZEXBajHNWCnjgRHUPQCkNDz2tv5SyhzRX5Ti2yobqFvfDswFt/8Bo5rOToyU9PjOwaFFhIa5cnrTtEC5H3h2jwkhMR4uh5gKOqAryJmlfqXZJUGGukSrVpWeYBUEXJeJ3czp+fJqfVPfxkpWdWK6JShiK5kXTwtkE4RDp7kmM82K2xr/eA1OWuXz7xCOO/USp2rQUdKWjQaaIUeV18CHXvAzLWCqxBzMSLzWS6hbsHyUQWw5dw5XKeO2gxtIvkuQieqOH84RrLswkjR2OaPmnJ4jrXqKUjsaDGkit17nFVSyAt0+j0qtVTRz9kmNczdZUIinZU2aMIaXqbcGueDsZI4qlmSHMlCWvhwyRMmdRz63K5w+UXUaxbB6DrSabzUYqJbaU4dKORK8fByoPNTJSMlEsGCX/xLGT0Vy47y+7nI0f2k2AXw7FD3IAiGneJ8OHCTYAH7V5iGEU+SC+EV3Ld6PO7bNE2NUGpdyd9supkP7+g0Q51rs7+3iLo4Pao5TlwFtaAN8i/s0HqZGZtlOtfgup3pXQKGHUTPxhf837qv2SgxcRaanAcP7LTdEAHSM2ZdlvM8lonw+76M97xxZftmPzQUwY6pjUZ8WufscW/OSh72Bayb6vlf0x3D6ug3N4xy2UBtMCPKgZuiP6gJL6NvOSKjJgDQE6PzOUdhP5t6oxusuISjvf0zM+1ZIgnOwS0Vaoco8PdpByaTTeTdYcInp1o0x+8N8jHiGkv+O4wDnXbcMBLpN1gZ+YY2NYGt9Dbc4giEAGRIkWRqTuRFYwAy7uhfwysX+YzWuCSf8Tkj3+La+AsL+Xg2wVeZ48h9IS8iCwDVO74A7ueHwIymlybFdzx9chydASiOkA6sEDiVHJl6pKg6LZpySyF4k5whjf6ZhhL+ydNbpogZo6uI7Y7CLu5yHqcomNCWhcAZR9C9dVY/2cG+50dA75wOkn4N8HbqMcmkFyNYb+Lvu0ui8qfMU8Gk1ZLcRNlhi+HMwwsK6XH0A6xe94jMwIgHpMQcTECrXOcmjB1UKRVBPRe/s7VyVcV8pkbUz3g9hEnL8zWuzEyQC0oA/taaxM6cPagHh5RSDIWVQFn0HlFLSXbX2xtqd1v3hRpXFcm+hFYwgH/qC0RDmG50kv5Wgjgo1pnFn3B2qHhi/Dzbpgf0JlPtN5TmRW9jL2zwL7oyS3MU+do4XvoxAjJdfbE8w8zejIcZsr058VAdh5u3dqYi6QJbcYHmKQGaDcuvOoDfXwR2Me5QXd6BZCZ8acUaP41uaDBAsSsus3yhA1Iw+pWNSWy4RIB0T63fg7rkQz5+hCSA7XdBoDYcLaW7N69UQ9jYgUBlthU3JzQT1YYAsAFBQAp6sWhUCQC6v+6kz0lobEmg7JPRrJ+c9kCavGIEmZGqw/8LM3QHtAFTkH6PhY/8dXyjzRSOHnWbWcsYle4CNQZ5q59G13yXwzcyxV3bjDN3/2VZcIm4yi63eX8gNKa9oYBx6cdh+DUL6CEsOHQ8hd1sF3zjnoEtuz1LzJ2boXHpqYGs5Rypo3khc5beHKJGxbmf5kwrfPiEuVWOl70eDmP1JjpgJRvbsEkyXOebg4A4ByZhfHQ58MOiiTciKKhwZVfHLbx+XRWIpK7+OlDfVOVunLQjTqoc73AgplCVvozxowiifHBUwH758cmkZbUkLfqNipkD+ROaMZLqEdmozkeAD8d3n8qRdWksWi5bXSwpb2uymjL34VjjWzMa6HHfOvdwwGz9UF7nTFK+ooI7gnADOZRCD4preXcZUIUCTpfv5T9oeWl7xJuWEY4lRAtAzd5GU4IwXI20vbTqZf7S3yr+N77v0VbXAaSj499W/Cpb1Dx4j1rH0Mbo2v2D9XJKTrP8zAJnN035ljJJAz2nrZN944KOBdhKMY5QdIzB2+J8tmfmLQQsXqp553Jk8Dn5quT5h4YCO4ZQS6uAb0kB7Ooden1XlWVnBFwt+osUjqJMsRHqry6+2EWSntLtQ5zmoKk/1LyIDMiHKbAvZnV1La17Ynkp2PH+l9CNrZ00SXxZ3H6RLgxGZnF6km5iT6u2z7NbfM2YI6LTwxwjCWRAxa1Te2SC5yxyiUmP7g96FiXef5cTtExVuXdwjg6ZIKf41G4NlNOE8rAgPHlJwfZc7+M77djVXbr0Ws171RyJ6lCjyw88bC5qx+cuhiooEHK/3K9kb3SNNzi2Crydg7SE/epfp8iuGHur8rBqRXzrtQZhe9Qvr/H4gZpUHNsGWgCEIoGvWVNdezicMaHAVnjd27VJsjQwbgT9Pz4chGl36nqM1FuTueBP0MVvFIGCBkojsiGrVivFGNra/IC847D/rooa2aZPL3GTnQd5+gCcZFv3kIwjwBIYPD9Gp1kItp4Pd/4vG6+YCiO86K5W0RX1d37RbWUXBUIWdvv2e1DdUrvgmBCMTx0Ubqh9bBCdzb07YvaeRtcPICOpH2yZUlM+Kzi7X9lxzzxXyvAHqTczy8laWY0kYgrIOHPzxgXtRopKvIWfLMLr5eCcPITG7T8217LFuDKwtWydjLph4L4XSOufrxoXgHaSIijUEE1K/VmYDGs2FUFX/T2b6JRhU3YgPsV3jWqtqC3wqYc20k0fVWvibjWrRwI2xcpASJDCHEq8pyUyg0Capoa7Hrb2rzDDUf3H1fLms0ZEeIJj8CEpeKa2mNQfdU1PYf7Qj23WLRVeEhzN3BBvf2WO64+Maz6bB4ubva4RkApE2O9WSCKd0eOu0IN4CbB6JMXuWXUOaGGU+MUODg2ZkFOBRfhC/O4/XFkD05Qn0vU1PMWSp0RlVZq03qqtiyUubpBxJ6fmT/KrtjPX4lpkTGvL3dcLUXKK4iinp+wg6IoxZYcx/1j+ypaeYQFVvPAKCcC2qCD2RGEtEBIVMrPCKi5jcW9KiBhNuOHXW2+uouEC+B0OKqm16gTFo5lCRhj1Isk9I8pLP+orfJhHwhe8GmB5WMUnME05IPabCNTVPqIOGMZqi4V9eazk/tYYllRxDb2JbyJiniOeGRe5rsmX0dd1HmXk8yYwuvMz1zyBgpuQe6HsM4UpeUCashTJdH6BzmwFwbRdweHsJJeWR/w57dajqOew9iCIfm90X1aWBoUwTuwFJ8rPtP9ymrRU+eoR4zlj/6au2dY429Lxud6lYlAeQlkTxmabKQlldd7qo86aDcg1GU+PSr1R57dFTL69FErw2o3iRvWAZaupShWfN2oHerT9Kjvv+W9xRPiKYRkBvKL9IRjVkMSF57tV/KZSPkzg5DV/wjZpne94qFEGKoDb8Gkv9XzgSfU3o152Rs9aOM/cvewFsp2s6bwurK+2jNRo0LjtNjKwLg5FQBrWnr4PDKIUItM+noX7lola55MACmojcsCv5B5PtjIbwkLl2IHwbBjTPKjE/eboS8ZUpuBnUioldclyBPQEauXZRHatZO4wNgbC/HlFsHoKtgbBecNDjjNhYGyNJq3NE591o0J1PaURi6J6a97Jm8jJ7eaXOwgsfNxHqlsBov+wpcBGj35P3BSXn/s/jX1FWQNgNODQv6B0MKMLF+xWeoRLeQdpZzulcK3xrLFGiIjMmpsPewxLAuPHu0HI2FsgWb4NlgzppBoc+A5eXSIENoFc9US7RmFQf158pSWBg3EaBzOdH0drXuxGPWLEehn73YZ4Y8obawn1yk7Ewl8EsOqohmEpe4O4/tc1w2lNz90ThAjHGPr2VU+jMuD8W444Q2j+p2iSkDIZ8OtD90eccNoLKHDAsfrB7YL/oF1gr5rPis6qEGYEzTpgNRed+LMG3ZQocyO1KCAFv2khhoIrMZAE300ZH9DCN5DiqBXYNbecMwTDe1NhdWLb2qSOhkGLR3WwWJdbyDgbGkeybhMV8oI0kSwJcHKFyI1MZnMlvNeoZFhB/urWKXHw0Oc6wbmqLKF2day0dahjTYBMr3t3TQs/572+LdR872uw0ttq3fs82yT663FgC43go5XZAiKU8C8Bel2n90qgwZkzRuBaT9Ta02QTk5yUuEJP5HLYMGHBvaelfyB4giOG23OWNVpxFHINaHoOni/qqoS+lCyNYwLfE/Z7GBF1qVsbgUNjTVL3VvkWfc0W2ZGIdDaApSxyMiK3QJ+gUnsLlCMf8aKBKfcGYM/KPl08YV7j+7sepzPFuOT9Z/iOUFwOqGuMl+gnQNgNlxZxtOV3f6QiBML/vvKzC6Sk+a+bke1WKVORxnZOprbZWP0TX1G3Zt+tUaL1WpmE6IIYWlHKxy7V1kE5SDzu4Z467rxE3ImLdL+aSnOW7GjvpnehduIPNGHMmQSv7pXwF1LwfDomrjl0aSUq1xzTNfpmOWeflSTmCt8nQs5NLv+GCfof01DWM+gztNU2oOGTTDqHlrJZymBWmK96rlbpKzG/MeM6oSfJHccEkrp0uL2cnhu1aA/qlJ8owTvw1DK/lXcrcrZeKgz+4gHnB6BWTdhjsxmB0Vho8ByZdR862bog2gOJzr3n5SqUkROw5Xl/ngqVJBEL4aZEgN3/4blUcuhiSxeGiNyJVjs9QT5Qnz/40YjKIxc1obloXiuI7ZGFLDAXVIX2fVRuZrXP+OENuoJBHUP/hbZzd9MaFXl31kL01k9yf5yJaZG5wVSTL7zbVprIJzSKlovbE8gTJmnzmkJfNqHqMnJ9Q1WEtvXOuVzDJZ22/DNVTnb4OdhsdrlbrlW5vvxlaLa6PwDwmAiTMt37ixsMK2Q9WzcYwdKFoDZxRJFVaRdShMGCU8Q5yrkarsHsw9xTje90Lzz0nDAWkJK8z+UCvz/xcDMfdKaisG09m4cYhqvcSNFiTxZDjslONlyksaO9oxBzWCX19r0LcQUwmXnaOOoFgzcYAcwgUvCrZ7bs8puwX0XgZNwSWVjkKI6KyzMSJxAdpLA9zWxG5pOwz0jz/Us4GH3qsesODeSzp1fFmIqem/Q6sAn6Yb4IQscQipjBOn15dPVW2UuqceIOUVVbsQO4v7HfgmB+jkA/KOGfRS+5bs8bHCo8W4AEZ0Vd3Rx+vwtWXjAN7cKGg5JiGZlg4KsKDboeT3WcewOdQnxnAmriMj4dAT7sawjfGPDWUcYnFxspAfM50zQ1ASpCiUCzeW29GYTsUv8Soz/dutPsS5vGIaJacF16RV0cyJe828Apbby+eLyqxw6jVZocxaA4sas3B5gLkKlBm1HzULKgHL5qDAKEhDunU+OCU/GF2jlTuX8eRNhUCCSDTHs0C6MpAUsGOTo9X5jkNhSzTxQaas57vjBhFRIeoSB/VkoJNJHMCI1DGJFVA+8tEHhonuBspa/1f7viqnGmxqfCtYX5RhrPdZ6irTbrR6oWl5XsadzQGPo916S7coSBrZYJOjEWVen+HLXZRXFkHNA5hSY6aPmMh2R4iS5cdOz5czb8YoKiu2As/j2kf08by0Oo4dX0GJ/PKQVEKnhtGv309TwHyo/p5L6Vn6sSV6ddnDph+f54G9QX2k0rqlraIO9pxrzOr65CATKTWtjh/7Zk6tsQ0576D3/calRKvOlRj28fDjAJEAwJf/Ie5MhnmfT/mYJ5da0gpmv1E509P1Hb37YCJ5IynSqZbJHxU5vBEhOJyFaZ9kXm/CA8LdN5GDi8lwn5DRgiyJSa9bhA/qvAu9T5Zl5OCYBzaxpL2zIUJbL6eLDgPLkY6bUjvPLHS/foEWy31lmUS1m6/IiSXKPWbO6KKiEfNc+DyErvEBWM2n0j6pQZWOe6codnTdTxnNxLeR1jFYZ31LuFz4AMTQ5fD/HTAqU4szaJtwylwN/2fFyEeE30mpRe5dux2dscpw54cbMjMHlNU5wiSR62dLhJ1I4f41rdbR1vFtDfIvB8irJcUqqUeEWCqCtVSyn3yZSwd7Q9ttJ14tH0aeT5naY5aWig15L+t5mJI72GR2yAvYO7nDB6HSyqc8vI8eliH9dk67VxSSz7PJAB4mkl81Wg9UiC+jMDiAq0wi4oGe9QcNkivq7t5/nXpDDj959JT1mOV9UQ3p23X7vS5p8WmQNCKzieJ0A9UHHJRQ1MSf2l++JEGSDZSudCQcK/XbunpCY3rfGmsIq3b22cW9G5qxNmIxqOmBn6hcirke136TwW1R/dBxHT3mxLPHroNISh8BZgeccP39qdwdFnMOv5ERfLglHMn19ZWUAfRpNJhZFsYk4tth/EaQBAqnln3FEVfUHfQuyPeREPKz3WGZGj10NKNpvesXj709jtId91LN9pyAqDVsX1ItCH/xRdqs/jebOSBGzVI1cdRySOJwMEZeipL/X+m1NNQtygs4UQ5BG561qQPKnAYt/1m/pbGFe6iB7L2e2SR6JOD6UHDvF7qJIgOhMUSdy9BvkAnFOan82kbTQNETEY3mUMTNh79PsjdYlu8840FCL5jl4h5ebLDo53UIIJQEANXBcikeBqxLH7rJFk15fM1dxkrPHzxn90HOYLPzeiEHZuZs1dQzD8YZjun+2AkTUJkUVzsW8khVVPL06ZXMSMPCramFchpteHTNfRSoLk4TVKU6o2Bp3twzOxKEuLPLWhQawwjFib9dVAuze9lqgjIK7VFGcGzkyh1Ts5y+e9BqcrwbIYs1yk4a2V0LdzK8W81KmVI6FIvkbBk/Y37Lie8IJuZpdAFwYlyTkvhmnSP1vU0RrQdu1gDsJBnOh9a/JCWfrViLHsraYdaKlQdwNONmBr3rUcowrybSNQ22dfPRO6/zf0QHQJJvLXB4E6BKlHQEDn2KXQZ6Dqk3iuuOsCj7PQdFd41LjAellnFxxlQQxAA18hoS5ouG04THnDtivsxxS658xrOsjhqzTmge/pTlymHAs+l2FDvYF7wSXWEQsWfM/z8jAtenMf2ZkZspCkkWGZ+kEBJCf6RKKuvjeMbeutn4+/pMcOZu8GltlNThhvyW4n1gfvK7nFzJdjbW4yb9i3Vo6eHosvEiaFA1VixEQKWxALw1sjNLBVRQi9GgFH/SRQO+udtbEVIMLOf5Dbh8RCG2Z6jbEeKyzC8pvg31pvApbSv8WuGAvO+3Anv9oXwbM9gUS74x1YJ5u7B6Sf2AodF0rU/0jqpkQ81wyUMccN/ztKO+9YXphpvKJUL2ipN0iG5dAPLs3O4agiYWm0OGgQ89+V3c/zlT5k1zy4opGWVxqhHHWzLpoQhYudVMbDvkX4btGPFlT2pbYiI8Fy1TQOjXSj6Zr0juoe+sOMgfrLbvVyMt0urj4e2Voy3ipP4OIcZ+tX8BRcMngjqIAgzPH2P0d1ZkFsK8iTNtYS2QS8qbTP4gufrunOX4gDoe5e0U9J0Mb62RidsDtea2/cCiXltZPFaUCoFgt3Csns43IAnFkbhGhEiZF7eStbB+K888ZdLz9N0h7TWmr+wbA/g038OZ9BVQkBHl2TG4PKR3XZInKzQTAWPng9sITb7gRYe6nxtzEoqIGgFx/LNQcYqf5u7VnqtASOoa3Hd/YmFq7TVXSidDzqimKCpFQoCvCM/Bxo88G88YT5b+ZuMEpK4zkvwRnhP1wRJDAnc23gE7TN27B6ApwJ+Ke6OXHPOqsbw9A4KbnCMPEKeUy2uPwdsyQi/Qy9+LVVMo8lk1nSO6BOnx7cm4lWgewCB/OLHJt/RKXDE4Fu5ZcC7ij7ab6Mcuq8pzlcSOPU1W492Hv3IFo9sfE81Fr61ZHFMSorEdWEZpFMaLguavTcX9pCIuX49mRoE9B+oWvqdhdhNmbnQ6+3SO66W8CKVHl1aYPjssqSaYvht/wt/ptMA+kFjbY11u3RxdwBXXSftcL+Q2PL6+cMZhK7U3UzxC7TQp8EmyeR5oXdwXsH7KL2+073T5H8aOyTXr/RenhzMxcJ3QsmwAkoEN9M35l6OV8WVIgmXYPMn3u+19q1NaFrpHROd8h5WpeEPKRC1xAsITgND6og+2lg/6TEb+LJm+RvRQUeXDyZ25BrWDJxkJIfj+0ERXhVP8TwlR6C9rJZPXwBY0rxRR5ppiRcA66aFmwcz5UWOq0JFjn8eBKHtW1zupyYONpGECCrZ3Vn5hgRzx/uz1MlISzH8Sa9axXphlueLWI5Pgjo6Oylf1LjDU0jvlNhSEiIHnegeZSvezIx/LmfvMj0IalL5TQ1wtC4bXwKa+LZXj3g+lMPgEz9VCAHsqv3ieIftWRK/V4yrHvdyOQkOP/KuB7q0kq86x/ad82eIF1lel9juaX7Mnh6ASrgOjPe9hMLJ1EeHojvAz/cRHIvkLn95/kOdVnfEafYqec0T5MtzAjbBeAtJ4GWokRSo+a/O2MdfWow7rsWzSqE3CvG22IDDPhiJWLQSijSkUO/PGUWhWRRISBX1tx8dI/xTXH6pYvrHUCtClN4uIE7jTBzn2oMLOjbvnBF1mMJCGZJe9uxWhqnC07FhqvHJVTY3Igkqtv9WSoEDhxdd0qsa4iFwzbq+VYXkg/cvsJTFwYCcm8oj8iyU7ZwN+T1crHgkEFNeDYW0PEyAzW6CFwuF6/WbZlXxMyCDCNiFcL5sGFc61C4T61IQZIAkWwfs+w5/qGKalOvwIn5gT0lNHq49Mfi5euVF76OvZKhet37uzXrS8IgKWl13uBFtxzgbc5C8sLUFuGXqnBAscMojYmNP/na4Dj8NsT+NS9AaMtN19qIeiT8jCPGf2mWKxXrBaBKltf6/RQiuaeDFjJ3AD5Z+5CXES0ffFBQzVN70yb9IEduV5mJ/esGkXcPxRf/JEq5Tf7CCCZaQDS6eYeJXAMv1nIaHw9gzRfI4K3bxy/nFkZU9OhJIbuMuk8A9zXYOefJIseBaH0BoQ8YA2bWHliIYdc/dEEOlaftN8+i6h2nCWvhB+MeFvOU59yvfQ0w+KvKYNrO2S6FqwYzjoZ5FXx1aXfTGqEFjgIlR6Iv+9P/VBAHVnyBpHT5DBQh+ZpGsWpSXpHvcQVTqNlAeN78RKIPexcI3SEFK93gzy5vjYZhjCDriNc0MflijHL9N8vf5Qfne5gn42tWLzRvwJ0kAEBEeteCaLxa+F4iDg+jxAlKmJv6KVWZLYyJXP3rqc7q2iWFBosMd1VQHHjiiOB83HsE7hl7XJDlCCSipYDTWi1NWxYaZpxAD1mYvfqEVV1n75z2dsechiAG8pZqfbbJrwL7E97xW0dBhFJP7t6Y7s0hsIrO6/+K4Tvlntg0ztiaMxXj+JEKfTqZgX5BCt7Vs3WNMFeDf2Un+OyVkcpgVByUejizCBbpXA/iEG1KyKC61qKVvHaEhWGrc0I2rzf7HkZq5F3g8/2iSLEcH+8sY6RKE2PCV61cHjztHEQhXI2DkIliFQxnrosYTTSx4i5LkTsqbahUn6boszOiq79Cb89PHmX2ryoxV9TdaJVOozbQqEeZrUWXhMhd+I+OWdRJ16sUxHw720xqPaq/WZN5mWTEp8vSaqT5Z6z0mgy/eJdmCtAYKDJQO+1/UQZ0zuwP2u33FXIARkSot42RlqjZoL7STi1S0gV6MV0M0/Zu5CEZ/780oALmf2xaPCc5OJ25BeiU+7E6sOWoekiJWV9Tzq8DuFP2kASL602e0SnB0tcZ0Slbdouo52TDmk6umKQhuJGt3nHLGff4R/wwOhQ3jMutUP6mgbem2TOoaWld776JyJclBP/362/H8+lY7uqr9S2rEvma8zvlEnU6lnVsdnRzJ7LKIgvmgMRdVbFc0yv5MM5ZljZOSL1n59ADJ/y4nyzER4Yjuj/SV0w/N+FheUwQJiQUanu6SIRln6wIwkY6T/Ast7Qfz8W4M/Tk8cd2Dd0xDoFzoRAEV2bbEJfRiUxlKc3RiIaJt5X6tqrxTYoGStdqOLMzfkNAOyBkgmMBAh83iEkzjHVKhuilF+UN5leJKXZmmUWPfLp2c5jMf02f9FE7npOs1/MQmZm0Zw4k498hfLHsde5PUVgzfewoUchAFOF5Kh9/oDte/9FGHhORMJY80V6D7wbiDgvpw5Sqgo2LA71WLaYLcGJiN642vJrBq1dxSnnjBt48Ib/k5fpQz7crlVPZPc0GkySihFM+JmyUJcJVhb3u6gqo1izCfjQm+N5m/lIEbMCDuWT211i3aCOU79PhstUd/fD0Ra1O/IJ8BrISCUNv8aHoCuaG0x10Y+M5YLptQcgN+izSTx45wc1phMMefnhCLQWkijf0K5H/POojgCmHLSCMgrrcBnDp2E67mFAT/YJeufvbnTtBT9cXcno3xFYvq83GflVoH0ogrnTK+/d43o6AbH84ith9sxeH7NoCgoV/mwSfMXoYYEH9GGzgxY3TNTrwx3uCQUv2COHzdjvkhD9Ephs+G1ZqKZxASuzRQH85eNArQNC/XuoCr2NHP4gFmHaHpMrFkbNlN8h+ZHvZhOQu7wWRY4V9pLGR0J1kuVplqGisS7yJksmk6yhK0PMOZ3emAzIqk+CY+Pd3qA0vWVyzTpAhncP+62OMkgfaGHFd8rwBU61z40ZEpl+D0wivhTtglGeKhYGts/F932kYfwBZ9IHRIVanPogjwmiA8SV1/WkADBbhdmnoZDDvrrJGkSUbUyJMd4zZIapvk/QTOo76KPYs/8w69c0yyW0Z+G87rRnLFf2f6hPoDGpBObk1sx3uckZg+IpGWloo4wRtLciTKsg7SgTNq9qcrS0AtKmBSvr6/hbmGiskg88NnakTYaLIlO2xbqmuHlnavHERHeaYEW+oaDrYHCbUxiiTHhEBRVrBSZ/gSg3nj0TYszDRZ59+e2OHHK3O+6DnBogK1vmk3ec2sbmJM2Ox6R3T2vL9EtGhrBSBJ+uhGHL5d5NxX0c6ZPVcaXjHny3eu52ybHwe4bYeR7WGPTmSRW44dECRQOF/n4+FAw5Tycc/Du4jZb9/Nfctl+pfx0n1K+MwGhlhHehIxH/ytqfoDNxiLlR57IT4fboYcTIe3oXVgNXccz0Q5k9REb6rx2fjH9kGbbfhm6KnMmrhPnY81Ac23MMAIuhP6gbptmq6S8sU/TXvqv9x4jAYoyUmzfMtKPWHSrx6rkb1BGeCSV75FHcvtTHadU4CzuLQE9oUECCtheIMnAdvKEMnTNOdJLb5izxfVx6oAAXE/QZsx9SWJwXQOK/l+sCCPnJKLlzblqzQip/Yl8+JKknUAfcbz9cBxFIfcdR7V5Du8bDWuADeg44JRo3PTu3w4O4f+4qH7aAsWeNJojHJwyJlYI/o2yDTu1xL9GJrPVDSod6zmX9B+daCJqZLw9uPwBRJ1OwjZFukukYH+vKCGzTGM3KFg4PGsAs6v2ho/eXBdvz6T1GqDgRK1j56GKqDQrSfAbp3W8uzZku6MxmkJMM2xMLzLRJaI0w+FHWPUof7KlAfDkmZ7+Sd6NK7r6Lsp3Huh0uVdx1BVQeZoTjPXRRDnKsz0ecmui6NzmBMzdViS+8xetyg9DCFmD8JlzcUEdcXIOXOeYHVJDkDiTTw50o9lwO4u3C+lSVOfNvvXjDpKKXtfo2tL/xbCC/VBZK9yim483jdcQcBvIcCkIMF3+43IpolBB91aKBsidX/2niOj29GYIf0tcuQacgQVCobNE26lwpc4UjPe+3qzvfBcQ4hdhhRmPoORKrYjJ1EqZhNZO4Xunuud+LexXKApSOowVSz/KAczw2C02VJiFbwZtW9CefwvaJ+T4eW3WTh9mi7jkHmj6XUF8ZIAE5HaYJ/Tkz0B0B8QlErxbKj0pBdfkoDIW00jNz98bd7nbzSwwdTQOj7ShWdmg4UH56KL2JO6LJkJbP8VTa2yYXwrOnpMjyAulTuM/G/6Of/c3HfLaU80Km7jLqH0ENKh8ANbh2RsolANI6gHrs2wiHHTd8v1fC7oDLW75ubO9fjSeDjxhw6Zd3WUAzbWJxao0QfX463QUbr8v+7HzuthxC9cTe11K9cg185PPl1vmplBa94SXGWFYMqDe0UL4g2NozHBkP+Xo9f+vgyJcPFXIjmJtjAurOP8gHETY0EEd3b9YRG6aLudAJyIJZwBlA+pZ4Zip9eV8+0bez9gwUN7fYiqvzfb65l3s8It+gs98s7DjCxPrSV+btRWkjSjjEnAilQTGQWOpA4qMIpNSfl2BNKFKFc2gYSzPTKWBw6hhh4ZeEeD85cbstHDZiIVY9cSMeglaNBwNAtSuKK4CajkylYSP2QdCCwmu97luyXNPpUjx+6Ojh3Ad/65MkQorTMdMe/WLblZu+/mSmeoFAHbOlBz4ejCpTwMXV7gBw9wj9uWmk52MKeErtN75Lo8+F1+Ys/E0kGIquFoeZlTK99yeXpGU6ldWe8EibuOutr1CeYEx8fUfyPTIl+J+UzetysUEyG1mRqHGkG31dHtE7kZ9Rd2AamZ1MTjpj8RgUao3FHVxSqwx03EwHXOfNmZf+0GMlMAEoaErLpD+CWCHrekZiiazveI8ics6ZJ4UUOB5Mj/sso8jvTuRdTrfh0eULtUi0syLoGxzF2rwc/NyXkOju2LE9tZf5hAA8jXL9O/bEfc83QnrnspRbkOfowiIqMbKadP3Sk5XhGVf09/ti29cAoVuZHSD0xEROqKJMHG2urz/HLUFqhHEA0ToMUXBplhUkcH2Fh3naSCeYJPbvmBLrn5x4gbMXTb9hfH5pQuZWAV/H1yi4t1jYe4cudERk9j6jorwWnowRU9RB6n9oRm4Z3uBrKDNbBknON0UgDhlgtKGMWXPUeVLliJlOCiCCi9vXdvWwVjsdYn/PqlSfU4WhhE1lLlao5Hj1k1jgr/tgPhLOujNL909Dl8uTpbHaAaajlQsAC/AUZmdMuM8RS49ZPPbRvG4m1f8GZWYqdgfcYYxjlYTfzNNatF5gwbEY7lYwe4fsXos5/sSiAxXAvJG61GDGMPBPxFOhlDfLExL9f6wMndwWoq+P5gfkLJ9zqTfLZ9cayOobyzX9tVW25Xnroc+hzEChK0SokKLDJGWxKNZTKYdJzRifgspkvQsSTtJ86R/U23mnUOh8wkI77HaFT+OQ6IfEhqJZfKfVI6x0eQkJziqiu6Kt14hD154Z4b4/cinQPL7DnkECgPiBpxwKzmHt0BwhiZJ+An8B02cyg9qFp+ca1qh3P33046IrVOtKaVBW5nBh69yQcQ0KBGkbmXtG7jicMdWRDwI/smI3P3PyHQ+vQ4uIq6RzPknYabwD/XZqLAd7IPWQzAyKXowpVeyRcYw/5Xkg30FzrtJbfTZfyCsvWz4B2b5ZVVkaWPut/v2owVIHE8ZDM46cINtNP4B7+XQOr/Q1AzE17otcHhR2x9Chg7ce1Fiq8lPdIKA5VaKo4rhhIMJkYjNq8ECbYRpcl5FurXG8wYtV7gqZqLjqvM018EvaQtHfgtQJFJgTv5rJKvuVSj2TaXfjDczGqZYOHfbyt1IkBWXQ/nPZkqEo+5VAks5GqHOAe1PLramdGwt5jrwkHf5F5u/VNNNsCD0eId4/JZqh5CPT6vHukDhWRboTUuC/KDWLrMnkYX9k8mKlp1SbxEOjllL71FyBnqs/Y7zh2T5RZUgtNeDuZIvHVPjHe/LISL60AiiOsO3J2Ii67fTpxQsKVMGxJ+eq5Dn3zZK6OsmxkOkqbg/xu1z2N3ql7Bg6ggytS6NRwJGBh/nRuCqWF01VKrM1HN0bGMYa3dKLeFVE8oMjimUmfj/LlPeLnGZrihEK4V3UfGCyb4peixOQGFCD516y7nHP1mCq2fMnG4eUx01Mb4ljFZyLwwWbNdcwyLi7G2oGQzKz7J8vxNDjT85BuxJqdzv6hv9CKm/vom/be/SwMeuWtntiuZ7dr9tpY6b+sfif6ABp1DnM7JNv8H4Scj9gIz6GxX7mf6OwBhf6VNELyUB1cjPsA0NIZTcDmbX9bjX1lXoxhl7NcKpQWJcmi89ZEciYdC5SMsiCXCMRyJB8Hf3GJ+7QT1zvPhoddEuYj08XSwvyfTb87W2JWClSiqQPDEn34+9e9CscDhYPvYp+hJr9qQt80+/QkJQe8y/FH8qLzu5uzvQhEG3Be5DexPLgK/mx67BvMIzJvrTSO6GjOGFeAXXHuwC1aQoQs4bkFr1HMqJo0bXg7FzPRQhdv4lfJO+Hux1EPs0NGrOOgSQYVNFLLhjYeoPbav/XeqX0yGm8W2LGg+C/t5mN2SdjCPkPAtxMfu9CVl53hxFwIbaZ0x/KCJy1ru9M+vcc/I6yzIrUeYAT5ukg1D/pTB6ed25l08s45Qge2jsh4/iAXnPaK3+tludzpxm+wVcziZpdY7hG2b04v05qbyO8kMD8c5MY5XJQsBLpyvXf8C+Rv3wjkIqqlHzpuEKbBEHYFc9H2HNAhsi62E7SNWvGLzAmVwtT94dCy0chnQ2SJ8PV6whQTP49KrFypFMoVitzudiMYGmmxc16PjOX8eKnITYYY9B2Vpsp39Xwzi7wwIdy4GKs8tWVKZmDPJnSfmJTuE+ehcPdz0SCQgPC6ZYNUIDx8YoPwMCjNr7k/Sr//dEXX8ztJF4KQd9/HO1KZVsNodeOmyFJkIE16DUFWxecgJe91mMtudheA7Ml7gLTeIAMCieVsNN2GxVShKk1xncbSlNh90ix3mFJP7WigpAO/O/Rb6FhkNt+QB4/ORrUYANR7nyy3qDJLS6rDJe/TCBgXF/LesVbPKMQlakAl7sNm6h8y/ddTWjBgNnZIdeNI8IDvGd3TBFURQefU8HA9VEkzUDq1Oh/fe4qsB3yeDxiRSSQE+Ap8/CwfQD0tO/4fCtK+qcVViUFp9fq2l3HBXhe5bsTYEGfw/egBi4ihOKWWqD1buwpLR42gTEhdAVs5JcJgNepdnnvMwcm2wBPkJGf4c3QlvKXTawqogPXxiePbYSdQmUHZWcoi/LtLrHrLqmz42LmqVBM4uFNyH1oiBnrhUmGAMuigl97CcbYFdsSnR0VYbnq592tw2yjCrtXn1zJDyoi86tMXBWfo5Q6I2QnJCtqAmEvl5Siai1572TbswFUkJKLsgFOFuS8TAp4IaIAeH05C4YG+1YN8/RZcTQzg5JzUmGlPr9ynn/Z2ZXuFfj1P0r7FhG+sEjzM4+p9AE1AGRWBJiZ1MhWQl56LLEZZe+lxqAxq4IDGQzNYpDD/P47S2ywAGCVU31+CLyu0oHFc2XUa5wm3I5nmA1uc0swqX14Gmd2LfFj8j/gNRVDDFVRmT1YOaVGhYUEEvLH92fUDMfpKlCLSfI5VT2QeVzQn+VxvzFDVPkpolMRSZblHUHsnIbZXmTpowm3CT1yrLFYqEMnlEE99E2Ez0tKUDqylihRlXMJMvrjaK/7OnN3Ua/YZ2FPk25N5zmeRC0mCkfVxZA6dBq+aUeLX/eDUsZ7NGzcTY5eEXR4byvQXnBSyDoHIXRpiISKoZogeXWcUB4Bgrnrxz6UYmMx9FQAmxe/hWq4lJGEElbBWpixoQ7OVHa5GraFOaNiafXWWnwFydx9bff286bHX8GfyeiULJzue+6cCHVjuA40HHTWk1j/KRMBvfYQjVFofKeCT3giy0S4k5rpAhnqKVPZWyFDIGgdi7Z0BIf9fL9p3HUHlJ6Vr5asw6LiC5CfeZfM52rriusST3PaP5GBeFG219DxM2hk7Fs35Dc/t5PRc9j3qfoiy6d+iJ8dZ9zLmobg5vTMxpMThNQelWcsn67N38XON/KFiV7MtS1+8dvM7RZfmRBw9xiNu6bED4E1UOnSi8UsCW2Fcvzp2aF6zR4ypwvZU1scQxgXfmhlnAPcMf6pUYzFbubU3p3g/Z143OtkCNqx6mY5ynl2RErw7tCZlGDLaU1JlPc22oFGCYhA2o0LXSTo68z9uyMS5RQeY7k0yeI6hf/1uQGw3xh2RnYObd6CY/AvTf96QO0AiT6922IPaDdJlk57DZ+bftW4eRPY5TpPVWRNhIXREq9dZ47rd06BICoMwjTGzAFqpN5cnJFB0crnuyicpvUwudc2rTbZQ6ZaWYFsmeFAEIluVq3o8UvngV3UIwq63sPVQr9a6AXuteREyC+n81hFDRe3hrZsZ4H7D6Y3kp8ZpulJqfS1OaBpXvIWLjS+kBFhiu/d73O4cktKvvHcsqyHjG27MT24X0P3WsW+6WOq06wVI8yh5dmmQWlVto3iOEB1qvYDtv3PHGtf6NehMa8wSnyhHi7VS389qedctCs1rh0tDX3AArA4VG3Ri+E3Bgz09LMiAguVRWbAUuIlA5rEdxGf0cRQIpUAXiigTt/YwFCXjcNRJ+p9qeyEDnPhvvunt9uaAQsCE0L6TSR0Qq0S6aJSeuBb6ZL6plkgBf2Y9ROptKWieKWzTnaE/7oT1RqEqLYQZTRwRn72qo8/No8p3dBAkQvCluOkmGif6QdNpehAyd5btE0imGSVu7oWryHlAHvGxcs4j2KsdOhhSBZHRG3aNnIO49v0J1+Hfhvi1AIlei0Pyp3qKW6U4tyFod0V5FoVeP2lbQXy2wx9gFp/AYnyuMZankc9t4O5ZijzIfZOLY8wXQhpGj2HZFGAx5Fq1rDsaIYQP/DFgI+F3mLIWbY6ymQ3BKhqca9Ka1q7vzX+dpE9LDZN2muoJ6UTsFqynzyCJI099j3VD/erWALT8tlKYSUhriybE+uS6wNhm1T45/ffJ75ALIOvr7dXazUsVYZf7HopxsQVDCYXkjwJQxuvL2Dtq8JBXp7koGMo9Whtv/IU6LKJHRHaNrLhw3jZTHU2YFKe6MM3pKnFJ6VIeTLquPkfstEWz+I8TLFnYxDtOtcyfeJE7WKcpUm5T2/PyBuFF99+zYFqw0OUT50mvDErZ/vNFNtG5qsmvFmfd1uyqiIS3p+nZpxQhGYsVOgNImV/zy7OaI5lpdtYTMwr0UOLit1FskrvYepL6firQyoOfJYoSYWpZwaYlPeCmdP741GH5EtLQh110Yxm7P5dfuAKfcFeEP7nGACQE1N89/VSGZhvjqyDkc23s+Du8Hws5FiMwNojZ+vgYQM8D547E4bGUKXGyvGpBUr3YxnEXDIDGp5XWDWlzfadNyOhTiI+9f/nlJBPdFHL9Cp0wG8HiTnZjuDUM26XH9YQdYrfxR4mSRUc5sTvUhY+03ReHkMkUmAgXb94xe+AqTTV8QdrMh4xrg+Dg/PA2Y1gbaqlbqEos6bg50XvPJGHa8jEuMPBPTManPzA+4u2w2hHPABRxeme8dOQtgPVGrn+B5DBPIvEsSpxGnc/8vmfjE5TINMVboji58cQkt1hpZCEXiunfsWFU2Ctv0hxQSer5CgidXIURz0I+UEGPBlFeaQb8V2LkqRCOPaofXS5gnRi0iSkjg6CN58DrH2sjDILdb1xiFCSsJ1cXY0WH/6VSH4ylSLUfnUhacGqpGhqbkHG6FNgn4vwjcDroG3GwLW7L21JmT6tt4Dll7PURUR45l02L7z0Ln7WsjkZxB2VQcOnM7WMnC8lkW9nDCUf2cIjdEYeQjR/arNJr0I7ewfQ9mmtaYO5B3p5vjAlhC/ie1/KH4b8jXZKK29x29YAwvCGjHH6KSDihJbz3xIKa305aKTg5LKHeaclZOK7GpHi7nwvtTos2syN75ilJ+WQk7wExnecz2r+0kf9SU7MfVQvMEQ7jniqijqbYuHCrlANwhttWcANAf6HrTWTB6NlL0zKxCQfFogfEg7U/oPjr7Uv6plZMNWgnt89YXcxcq1CvVp+GTGiHaDHsFboTTSeGGzq0Niiz3x+uAPZPNSqQxIxTEpaxB9DpVkUmk+qGomdzZia7nCLz9dwntGkdqiD4UQORmFBaBG9sVdptyGdNJ1o6Fnfey6EoW5skQZweW+9yHdzs/mjCnjbVCi3IBamiknUBv3JwUPLOsWGx4RYkvfy50AnfOnQ/wkHXXsgCQwihisEJmgk3rZbNqkYj5TcjIuFyHv13Pq3mh40mIzP0vLaKQ5Tr+fdOF/jyqUrP7GDZWozg+D0BBsbht/HnFLtvU6KPyCsK+3z69NObIO2zpWpp5zGxAq20c5Bz21Wm0GILaJ7M3Fd3Z0/m0EiUGLE7pGisLdxxCRppRQMSUsgXHxnnYMboCM1rSLpQOkEC/KWQ5UQqM/OabpbnUBDPIrdmlD8a9aSOqYqCD0zktVZQ7o0uHZA+Rt6DVwUQy9cc1Utvb5oMh0kHeYxGDwgCCfYfqPS7gErN0z9iqZ8PzQa+BbonhhaCPHcMwCAiniwFdQKaOwBOCq0DEIJ3fdhjZyBsvlz7HOLnpsLCScyWIprqYu8i6tq0si5uwIUkzCEHSO7PDwRnhTIbbt40Omv/i/9aEMObf4wkSxrk0F6GXsqsBFpxP6e9CWNR8vFbu0rB3WFw1Ba/c9U2kNT47j/6Be8Xlpo1g7hrAYN/kS6llsmvQL38lM7EaDg1csmRMb5GLK170xZj7sOPQ8xPQ2of08QSc8Y0vp9bFoUJW7kZOPKkndstBMX/Eu8q5l9+AkWUEvMy/fkKZ2NGsdMFlZ78k6EfjIRb5dYpN15yowtaRww0zS+C58U3wq2VL0oqZp5yV9OL2hzKsEiWBcADZH8t4PCX+U4idIXwoL5gtGVGtcv2UcJoWWSEazIjfFQHxuahR/th71ln9/M/+UJz3XcjG3HIowxMz0A5pc7JFt4a2khyKf1TviTmQvLPfAqgVKVRO/Tri3uT8Iz6THWq+rMYOiKsWU4g4m3ztZyG7HMflLOoBkx0KUn+6v/8CrxEKyn8ZqO88EiUPLPCAcX9cSmqy9P4apR5hTZ1lV2vaOh0FBGL5/ooqvNtPY3x4gAXjt9N6qspYeI7trmMgao7k66bmr3ajdR3i0W4nmTY4xdtPouD/DCEfrz68awtRjf2e8cHR1VAjvmS6g9kTKXayPjs/D9XS2IJl1DovZZDBYIYAGQZb5DvDnHc09E5okdL9G7BbivTShgdOSw5U9EgYmYFF6kYEh3zSMbp1cGHXH0rJgRteRLN/740KCAjYGPzUhW6YZqm5J6v4XV7s3YUlghCMEtIncIq17QXabhfOgZ+Niodsy4GD9MPYOhbQOulcr7mLzHprrJ7V8pCZBklVu7/ZWuEuXGo+pyN9FIjkMz+uPnXWAHIO2HeDp4b0ro8Cf0FXLDwZqI0q/+hcY0h9bX5+ki4n0T2ItEmbHi3i6K47pROrxGcrrg7xjmy5b3W+sRjLUDBqEDdXAjzxvfNxHbtxTgRINjk38nJjOjXmqku/kyxeFTNr4kUt19Y1/8jgrqIeu4UhAbBZd399au3bla6NgRSatOKoeufuV75F8MHAIsPFnti6FwtO4RJcOzlRmtKOh94Fat205G0flu116TR63CK1cfWQJTFpaR2kg9l8X+i/j0wFDIn+hLRZuEMPyeYtsDxjh4XFuLOQc2V9+DWu+JDulcGCr4JBxvVlmsqh9E+plqn63ZhLggwOCPoXQDxuSHulaovIpmB/td67eyjbKu/K2n+VCxJ7w1ZnHgr7IN1DJ6KRdtwEBexrwt5AV9ojohdAIuaUvc7Q4BGLOI6ZrgYErs/hhwADpEhnN+SS1jtx7Mu2ZrhpdC8oG9E5scGykZk6COwtGkn1ZTHKkChB8GOnFwpl99zuagP0qYsLvRPeIHFGwTjiSYkRZFYB+QDN4PgBxAFWvA7QTB3SGOGSOqnA43UFwCD8RqGfG6voD3QTs+YhOgeuzvccWrqP7hrTry4ADyTuBfYPHE5DHj03VEbnxCWclUwKCaZkaFIYk/UlsH5PEZkF2HmYeWUQCgpvZEHQlDYqb3OG5rWrabzWbNydfjUUt67JM0Xk6Ew1125dn66pS4f/tpgafPt7d3QwTUVUFIAqQD1q10Y2s477hf1Dn3LGUY3bgp3giWFklaPfdh5XgLx1IMaiFzQmQi7DrFNTso21Cfm6vHD6sJB1D/K5spOTLMAdOcf3EBf7gHGJAdhRE+SdIT49zW951xfSIsrlyZEXHAaD58+9PO/OaudftsBP3axgYNSOhPiduBNe0OZYkZuI0IL4kkCTJPrOMgibRLJaXEe250SJhTF931K0Tj1ra5Swn5zVhqDCdapVMcbKc+MhlKi3MnsUzMJ1L3lFshx83wSJDUQ1sRwRIDxsz/RLEk4jjYaWcchGekrWqmf7IOI8HvhPirjlDPYnGnrOJVxH6K4kJULUMfWq3Er18ZyDDXzgv75/IehESH4g/M10ErWv9R1PNYGWed/qbHUyV1QvfteQzbi9ANGI9m2ZYjREOoeVPWlleirNRjqgUz1uzGMbd7zaGyJhYtc/YBX0xozIxlBNbd7YYaES4n3trVpvtoZypCr9R8GAt9EULPDUrwZou0NeuEhVsKu8auzGehasp3l7zbboC2VjIL2JBmcfTDV0Sv50XVyFO7n0ISn9swWjTvPfnFeq/iPubTfMPHfNKL95e6Wu44OQs5Nw6Oqv2hvOBkXBmy9AOEnU8n9akbcDv4Xh0Wtp7xZQntiSVRk32NKECf4bbJvPmJwxEmuDxhpTOX8pEoPpWN9bIW+tisr2kB7CxWiRHXPkCrO92QC3tLvpcBJiUArho3bFUO97CE4QnMuRVggxdTI3EPMOYBd3xkNqBW+VzEDDxay8fx74itmlC4snR4y1xlI6lAxsbTYicpxbJQaV2ay1PBlBPjGvPQ9gCEa8bIp8DuKh5j7jzqKRmQeMb/9LfS8dZfZutDWeXGy81dOedglVEu+pHkoo8UUGnIdRbXL/aPz/bWZJJkTvJcKSjTbwidY2aKWWv5ZtZ5uDpsOti2fPFtfo+sljL3SqUXc+hCww1B5jXjTducPeU80nZXZZA1mudiOLJ1mNQt0sukjLOJWl4RjZ5oXuqSoG578SGQ7HNWKSFURf+yF6OnsWaAs1GGUgE0qQQLOBHusE8L8AGwgM+iBDTrg6UmPspjnf0zEIQgVtOuFvv9IbXeB468KcEpcMPCVuPkunJ7l/wBLoplcD0gARCChfoS/qK3fMe/RoonCzbw2xu5xC52DF+ogwsTq2oGnDzjPoWWLZh6VuGY2P4oq/jqGoGrrN+ATDP3yIYDU0hb7mA2bCsLUaLJlx0JprL1zwwNjxs1/SqsyyED3RUCpNZGyAjvDNiuW46bieUYm5DTOWig6T9TqYpZOzrd6i6FVMMV/ICReUrhr8t0E9GvaQs6jO4LawDjOHxojRxieLktAvyDuZ2WCNvBfsVixDs7vujfIb5DI4SWJydeH/2HI20B54s3+v6aHQuzlwKjsClaRkjALDnxnPDID0IVnuqAjLIVqX5pXbhyoYgNJNLweV7WZ03ekcm5Th/ZXZsgOdtIvh+29UAG9dbVGxHQ8QZgSAnzjeMEanxhFfGL/4GT6eTtL7mr134kdwWvyhOaro2nTDvzs8Cko3CUAO8IWaUUEWRx9uYoBYmgp34p1EP4GxeD1nshg6I7r7D7Nx3bebjrJRpCrMJKiUh4xO5HTFl8ZnVdplG9oyr7+0tegZbVkv2cakk6kRVqxpn6a+7PtcyWQR2wmfTaM8NBr+UcLduiGBJyY6DhdX+fi+S/o6vOBhUayTrjBaadlYNEpHN+hBm7xq4/hOIJpw0nvhMwBHmmT2KD3I+jrTMD6Wku/+agRY+U97VKxNzp8far6bzZs8KUp0EH5OESOrBm9slhw7gn8yhYGBEaz/kHfE8swep6XlGxUb3CDE8VcAPorz1IW003X6oHDVNdmYvJHDT/ttoJLvkgbbDz08FMTB0GjC1j2olL5z5KPSngdAZmOB402mF6ffcFGBl3Qk5Y32rLDS6frVNkF5mdTOxXfkqH3+jJq6cr7oRbP6f+a9KwjDzXu/cbfs++gXQzIQ8HGOgw6hYKcBmeUs2h9LVSiX8AtdnQAFzGHBW6TKsaAF9oeoaagL4w7lTTK6AQgRMX67IXtMSVxmVDTEOkrsBMUgsvuF/nhBhq2Ok5p2icrWe83VmmMGeebrZtWBIpsw3Z6qeVlN+qBH5GiE/qB4by4mGyMp0qzZIwpcr+waapif+kCj11AFg6M+6Xg7E1lJ/TOPsJEl2DWfiMqWCo0kuz7PGSvO2At2oEXjxxp4V0RvIMK2aOx7L0AthEf2+6fFJfaTlkW5TaThT49pnBoSaTvlijqvrl4VevX/TSQtux9dTYN+UC0NphZZpY/zuXMQaY5odbwsF/R5Uol3w9MMPrA2GyV08MMEI3gfiVZqS8nOjrv4kIAren2uBHtzkxFBQyhL3L4djO3i11+x20vLO2fhKjKnAzTWL6beuhPbShcgO8v+OdUdeVV+yDLFH48WLx5YGW/4IEfB5m1Z3SVKEkC7sn+Y3N7UV9Y0puqa7PbnBT6y2xmK57KwSXrBKm63p+KS8f4m85yIbThnobTVZmp5f/hzMLqAmyYgVwvUEfEMML4eCA4O+17yheM+PqwMoyo/zasDUBxXN/9V2gioEZjlr3cREXJ8UFTczjbu6X378jVCXEZGVGGfuRXhbhWGAxE/LQftKIx8bohnW/39wBEhVAe2gGl0BDeyZNz5E7I2iWKNdtYYNjQZ7rsW+6tip4WXfVaJv1q2vWlu2Xvz/htpvDeO5q9iWZK4Z10LGxmxlEiztlpxkggqedAAuq+4SKMpTxdxcCDrJLVooKmZJTuwS5rYB8BHgOhqYxn9hjeDdN8rjXB+4UEDzYRhO9AM4gbNO2nHBvd8SA38/AA/KhcRJm10Wo1EgTJ9YNVILVa4pTzhLeAA8eGAMkIhOg30uwCe5q+hCFb8eSRb3y4Wxg+11N+7TG4XTbYQEO+mtp4VomE8wuMysYt461srKkKOXueEftKiMZcNQ3sFkW78y7UIzQi4nNx5p4v9MK/cz7Eq7MUdhHNt1h2KgQe4J21tw7brEMHK/MCY4jgVkxyoqNMDiVTOiu8fkuvxwg7OONLIDlgZ0+MrM9raAaoeJ1yL8p/OX3eU7qftgeICX4punfzFBtI7u+Xx8+1DsRBx3K9OO3juPIxUobIF12DD7hTFtk6fjeOdMRj9WkgQXdR9fVXB7De/1LeeVN9DUpcMvTPSxUMu/czM7iPzallpU3HS6/+OYvzqt9Ugcxh57LIaG3G1xCVAHQpNlg9p1+nD2kKnaIJCU6tncFSY9AWnwr0hccE2+Qyj7v8/A8S6YqptlJHJu6cTYEbOBpXOtDYfauRuUc6J3f6VQDbwlNUd/wG1UVZN9Dgpotl1ayI9g7aAAc7LxHygMoK0y7IkeOMnYlWaS8oO0grKJZjTZ/GoNto9b9I8OONHIVBiVDaKUc1zO8zomd3G0sLmtgsrm4uKU8themGYd8dDzPfMXAUxq50iAGsopq5Y439wDuO10S6S5qOKudtPvCS4fOlt7PtS13J7PRKbCSHi33gqjb1wWo3+/RgSYgDnoOYZRCgVxKUoXwbUboxPFM4zLXF/jvxwGtmWJmbK/k75FVgldgS1YTk0W+a7mt0aD914o6qs7DIRZsYE39Kn2QxBpwnIbof++tPm3WX4pwW8zmuifRNdMH87Vf4F5dfwJH1Z5nDC6Y5BbSo0ZHwe82wWfDK/uFoaZkE6Tj9/Cc4LAOeipwHlw1HM7TGT5effKLZvdvcM8CKlr2VB7hXOqwT6bUdskuC9gdTdOhvPeIip6VjUSg9ukwjF49OBZUPz0/oeG+zwo1fHK9FX5w3bsPBthJZWOeozhbJK8Ji0Yrq697KRp/HjT2JpeUtvcOGZOXz0wybE+oVhU7lFr6RLibcYy7zZ/1PZgRjF0TIboUsk4j142Qucxzv3wcnBis16KsaBm2tg0d5BbtIZAqF9C/s5NISFk983ki0/NJIN4wX1/tOfHw8Ing0O6l+VoIfPH0TvbzEVJAZzxpXHu3xPR6nva13pIynvJa4E4WlcKI25HnDtpH0YXhdHVM8rQFRCe801nyKh4OuSVfpDporCFRzosptLxAoylV6UhwRF7Ppo9E52kXDL+VWz1KwB4C+30/j6Upkm8wkiJsUvRRVAW7qIAiTDWRnRdkYWysdxjuWy4xIpVgjYRVjpy0wxjP/0wwJCYLXoMOfR+toa4wZUZtjDlu9k4A9WWvuDup12HjD+ULIrA5qfPbSktSS9WwXBw8PK6kmsMa9XM2b6DM9qzPPvqRuRxBTwyoau3teEcAvYIF5tOqfZQccFvY7rTDrA5r4thz+9NUgdTrWyFo9BF6qgdl+oPKcbM9RiWG8SgVO/KCYoSiJjX1n61/hNfBOQ9BWTy1FpeNUPnUzC/VQHugv2MjzrANV5DhNL4f/NhiZBd1hVwcNNXf6vWfHPmSAT+mkDak7ghEgqAvANqZ8/NEnnC1YUQ6XlpuAJsGnUdCAmOCBjgug8MLiw7nrF+UATrsBJ5YCuy3T55znkjIUABRbPGYpwS0jQJ0Mnwdb/fQHyDCfwEh3tfLTT79SCLxguN8a81MnlObpY1/xik9lql8r5KBYV+JAMUXvxCDMr/sAmssx6DqF9hpPQEEOYk+3Fet6xW1F5FpwT38OOgfwA3ZASfA59eBoNsOpg/2PTeQix5gNnry4e9ttX5qy9L9w87o/PknqHSlkVrtHfOMDqxlnzq+lgFJkoTlgYOwbjZNOmmLLsmvZL6M29Lc7XTM1lFg6yVTePuahzi5knLiJ18L0BsXpWfTa20Yra5rM2KNknueQIWvWh0xHeb4y7jlUgRbDXIDHbDhBWi2Bjy7xiMcIAQjJbEcn9O2R5lyQEL3jZcPoaRqFicc0ztxCifCpBI9sBbwapZr1YO7QB0qNag9n3ildcGkQaG7tpEUlEOCWFb4QAtRGV8c8/QegR0isa7HGzuSBF8AaXzfu12M5EeItdE++Tp/i6mNDo44vzYfdgEyKXxJohGIe7nLzF3xR60nXyJqDHQTOg53cymfHj/w3/O7IJc7MjJWaqomKGb/FcwSPGzjDJw4Vci5kP6LwWfvXPDNPYgeDb9Ck5F4uI4GVl8Qrf0wAB8Od2MZZ4gYcrWwrIsTzW7C9KZuJaDxWbe8iaea20OHErrW3HLJiFm90mjxWbKHaO1xwFb/Xoej92MZ0Fj6jg8zv610DHmDuAaQcAvMqIHO5pReAy8/bXFBRxVZ/8vCHD3ncVDnJIel6zyGixp2NYT+qDmGfqzoCmSLjKfOj5irhYz8n6bEZW6v11OmZ6rHOhCeCYbBK4MiN8SMJLoSKViAWQPm4LOQgGnPDV9WMAb/bDeC+Hi7EwQF5LBzebvsq/Lovsas8Q0WiX6BIiIcWTluNrOt2qNPMx0cUU8fzzugwi0spvmmfgQQmnzXX8CAjqEOqYO0p1hSFGejeo55L7mHRB/msm5PR6AIvmkNXTnLMxtZvxwXmVwGQlHNY9g9SSn4pLuXR3vqRGof93jmhFHO9GBd6Vj0mzvckR4lX4xhNm284Jyl4TT8/x0ciYnBt99t2ryAcfNn4tK215sr9wBKwFoOJ8rm1HXyU+adcPRXTlKC9o76nC4LyHUHlIcTfluQlAHa7NJYPdVRxED8fax86/9XcsIwsq14zLUv6JRBelnpEAot4ZOncE8qreOkwTF7BA45CXUjAlQV5sLe5FU35dPBm8dXp1cajRd+JYPaYby9NhX4XMdtgTtxZvZ2HKBf/wQqsZSchfq2DXmnqiSlnCyHdSImnZNny3Fw5++hlVG7QpWtu3EY5vXK9FBQRuSIEcl58vh6m1qEw5yk7zqjWhzjFqCfr6/r47NOIVQ451w1980CzhtbZU3do/jk2UhLcClpmofGfV0dbUr9Mgl25Ak8fFokXe8tLeA/kESV4rmPDwqU9lOeSpGgDYqmTjuHdZBM17dgkatKupxOI5pPXseeR0tKY6DLJJ6IXK6uEKp3t05/gTN+OTsmPYU+eCU1wPFZSBFQdMgYrWLcOkka/6LdGIpo7DDCcZjsFl8ymDsdnG+F6l2aCn+TYBnXqBHk1Bvj1QBbSUO46H8qt1p7Eu1bF702T5Zdri3AMUXOlwuKjyFzH0L3W66w9RTsEY7+eEdibtmbuHuVBS12klwFG2xVFBZhBRts+mDOWS8nXRa5rkSOluufLcGLsG2fmvVjc2sIhFVnXOYs8Z1icHh1cSRA6BupfGhXVySnCvn5MvC5+/QvOKj6jh2Nnx8kejpaw1zLnCupLJ5r3SWjEm9XAg2I7iLDeK8tbBM72bn57flWI+C2JkN5AqLg2hnImWH3tJq71jNexACbKdk+3ccWgxsV0Qj6Yias+a7J0NE5dlVvSjDZT8Bs+QWQjnN2HrzR0xzIwNN9E8tbUpHyeKMyM7MwNovDXDmIEAsTVXhMj6Jfc7pCck3m+fDvU1/awAJeArMZUGwXgoxHzUN66EXEsoAgwu8PJ3z56mPec6+BFpAYUHgiOjiZmz33K7de8WghkLnoFOnw9oVarSSavVJ26ELxPYb3sIeF9PXSHlz3wjq/RhY6Z60wQ9ZOhUueei9VTv0TM209H0IruDXvl1JjWxKZsYPjsp3oGJLoAfqjBuZAybubf4PIBNcxBGpkDWV/7rPu325oWLmOPqa1ccYVqc/es0JERHL2jGl7wyu3z6d2l2Y60nqPZvFXa+5Fksia6IsWXuzDFVbsif1xyjZ+LBqZqFEO4+MBRDu9k0vM107UTcviF9VMAVGXKM/kPlJoFsw0yMdnR3Wy6N7QrB4DIQTnlMjTqzjjiFdirn+BAj3sxJSWu3MByh3LVX0H6+jjv1x1ViK6NunICS8llSEu2XC53dXkDVFnEegl6hf/VwpyHX+NM8uvrFkC/lmRTvjHv7vIaSXKswZrNhaoa3fyg94vAPXBjAuYhNUmCIn1I9MlUhYkmKLoUDJ/cpzV+BL38ghBKSIrEQlgwHMzo0Ju75xjQQ0qbDZ60ToL/h06ABWORD7twZo0nTPe/9KiLIlpfMDk48TSM/Fl9vdMWRGoVVsPehNb5891U3rgNeg0PxdySZx3t1tHn7v3Pf/8JIr4EyQ7WJcer7CXTMQ3hMgii8ykGkyOCAqWR1jxYquHckW4HgDpA0e0Cn8OaTSnI0T/SBEiPtDRqfFep6gfmalW8be3/h9q4m+kkSsXOlkkcHZ/Sg8YuNRlu7Npmmm/FSIaMqDfeOLyPzqDKwvskZ/RvwHVLZyHHAwm6Lr3Y1Zu7GHEBJwVkNxV/tUSunRrpNkvdrrdnileUISTw5C8cilH7rHezqGszXqYaZ59K37/3Ej3QjXxCGjDUMGnYn9oHUNb9a4gLqDi5lBwApgFMa9uRq6blwLeKmB7WhD7uv6o9gcr7OtaoRF9/B2anQhlcSklphv3VT+sR+v9hMRLFzGMqRru7Tk/69316X7EO545k7BHe/3/9HPG2hGL/wU6/HPyAhg1xKVjEVAy3l30w9jpZx3S7L3fYgnnS5e8jWPTCL0MM8LKRdTngHqOP+tGuV+iWxalMIehRgphmVA4h23CA8oH4fpXUYcQySdzYdSf57NWkEz5NAQBvfaJYoZfeG+NIKA/2lbydfmyPASBW9L03Ec8XPIAN6YEsqCP7X1lg+JqAHYxNmVlgRZHaGb2WIv257wU22P71ZMWR7Qw81oAT2CXIfgZ/LNJg+KJLEjGNJwHV3G8FKD2P89vb6eJXn/TqY94J4/SUrXdvSzbtUCtbI8DbEwKeRB77b8Bbl32dMp7Ij0JgHQkRCr8Mt8qC+T69Hw0FE/saDSDHx8bcGp4APjg6jr4al8byN5v0i1omQO2NKDgorPQdRuUEA5F0pXzr37CJXTlL+9ImkSIkgDKBRHEtzVscaUsjb4iZKpo8u7FMp2r3bVLvV1p2e9yh90I8ldmAijG+ShjrjZqw4VN0PbIPS8CnqlBu2sFJDjECEUBHJ4LEcetrP9ME7MbmWt+kpdkDrnxKd1l73Cb5xhomCxh5r7MDUe7cKaoaiN++uVug/o1u9aB/vAW46ZSd8x3Y8bUaVZYAzgAjY6ohP9pee5mDKPqY0/Jcx21QA6TiP3WN1qvS3C/EB815RujSC/PuMdLpcTwMwjG7peaPLmMx1TAAb95frP3ZsiAiTi3d7UdMNp9vJgFussMyp9ieW52V/4JO991KyBZ5x3W6fhDdRPi9qpC0pr+RxiFbagJ5rC70zK/JsXlvo5QdwXbz3PA5yKTLBwJfr1GGWDoXCAJZrH/dMODCbwFOEreptdPX8TcmEcMX1s/NZhq1Z3ftESZWI89M5jWnAqJCw07AllppSolE3lT1LkZBKGKd8CBnMIMW74siOYhD2AzHsJqZ1Uc/UZfM3gb1CmY51qcNmCc5bmPv0Nj8GHcCkZhLl2s3hhpLdTj1h5hgfsBQ9BvgBPe5GihiTGzOS5q2354fY+hyMM6ycpFUX03dTL+JZy04T062BTRgE3p6LnyOSQv6NDxvkQyTxfSeFKvI6spzPZCLOmJyhcEyNegJlRXlCbt3FuZJAYBVg45CMyLbfQkSezsP73RQhprP6A54qZ22UU4cDEt6AJtdAP8I2TzFwOXYQKVPEfTDqCQYIVQWtUgqRragciBSt+zhmR3pOeupQsBBpplP1Uf7A8BUCLux43763TcTZ5AVuLlKLe0CwJRp+T9UZ4izkvN/lbqf1qDE9/Q+PT3bBvox4B2QkG0PYxi6JNSif98Ol+0//rOOtN/cjTvkjqm6gd7ff3C7PZSjBTY+2mRu8yP/DDjcmUgFZwwdziwD1Irubmh3nWPb9wlS8Q8cHSklNtDn+b41ZjBmwtetaD4rPJc5CQOF6pb9EMvD2X2ILG0AchUQFUYDXC1OwCkLZI7ZZlhDX+msmpCCzMHyloiFPfP+py18J179GITAfKIThU4tFZ39bxBwi6DfzBCtpN6JifiqdHsU6SjLQjE2CiUNZskOfsm8WW1Bag9DLzSLdNQdzdJO9D5BoZTXYcr4S1vpMR2+ehJO84ifQ7iMk9vt1hcVNpVJbip6RGhBQ1m9ohXpocWDtAQzUXS2kSfKFSys6De1Z4lAjqehmrvOX/QBiT9eboDta9c8MhJFbg+ffQeQ1ddu7X70ZY5upjJqZN+0Pb/HONMHPVwEMZesRWbF9RhgbIpRUk3VuvLnX7QCn4dGMgj+nRAfrmcOtNQJiz3MLoP+4YMpCczTbxUX+rsSe3Gzpm8m4wSr6dvl7grHuo7UpekeXa/jR0hUlxxWr/iUbenbzWiXPjpEsSzoBP8h7cx02IEkscbG0JdKnylzs+SCtHFUY/HL2e8dUdJL9SfBswzWDqihxYZTYHHJsoqegdu3m1IENaAfrrbMf8us6q7EA3azWbQKtdUS9mfDUOJuKIZiJ0qMDReWFTOgiOsvr2nCDvvCLOcTzsfQ4ZmWcjPcmcNXe9ZQpWdsDcTwW/92jmcmsIxrEQsqqlpAr5yeWGcFQMO6ONW9CXbSoqj9yq+4N/5sd86lKkUtUhn9uU2GFkcVNxd2DZL5wipV7TckuvyXU1k3q+eXHLN2bRGIdYaPmqAn5nZU6gA4fNgEnxKgqljzqH6Gkt+dnUIeY9QWODuG1fjTLUnhYVJGm/vi/LlRycGneEK5oy+Gdv0UuwWp77xORFbX1Ef03OW8QcGnn5P/KLxlsR0Z43wP/+zHpiJFkeSBYXS9OEmSNMEKJa7jh5uyEgvdSC+kJJGkKHd6nVQcGqFRhDgcJssabcziMOaZI3D+YpExddhpCsMrtf0QAfnB4YUR6rt0SP+k66jlbX2Dc8S2r87QhJ5W6B/2mXBKYRLVEPxCXL4EdXy4yfxW/Vv/jucHG+5kc9kQU0DU9CzV5wVqM4iqTVLTbNy2ZEw12ea8IvS5SwnR+J3v9d7PZ7Tlo87FXP2pYCsTLDDeACNTCoPaCjDZouS72jBNzxBQJ2b7jq/uVEufhArbTJsk/vYCWWTCHVcMIwRujuoHwTYJkCS1p0l2L9+ZLkMLObz4QoajWk3urlrwLN/nJYri5B4THUXMJvM/sy3hGFt6FYKhw9Qn8nVeXRHZ9yhxm1YSCU4bVCKLoLt37zDW59pDsBmUJSMd5SEalWwQcnv6csbkHZWJ4s0DaKztsQqypAUmpR8Q8VWbqzVd2TOrde/JPPOJr6kUT0qC7f+M9P1uGNyc1xWSdJHIwDlVn1qS9Vl01XZ97ab2H4Qf4oNq1V52TKYmc4mmsoKpx4IlOO25tmPUM9oZeoZ2QLlb6Yfh1bwFeg9anNNCQPYKbYakQdn4U2xrRr2SyxUgoj9bYliAmF1CXh/Ek6w6rdWXMpFCN3/WWvygB2B7kCUCnCkgM/IlTGi4ukncDWWtf67vBRskkWKs7pCZzJby3fCmMw/fAObL+pMMXfyXSP+NeIYwbCvdjQ95ta98oj/FK3kCpx+tbbSGHrArmmGiy7MgkaAWmBD29M+X9nq2XF6x57jD3nlTqWjdUjvC0CnXH7x/t48DU8BtM0m97yEfC8eyGgAjSWDQUd4xHn4BtUMEZO7V0ybkD22uX0AiX/UbnWeghlPLtLeUiF+6IHG7cyFrr6/TFUZ62Hsh5Uz5uGgOGtRCvtxDshY9R2/KKNhXNl3L7V348/l6Js0MZ+Sa24c2w9jVKaZP/sIUfpoo2K/DxDcH+ysF5hJzcA4/XS245TF0bNcPy41lrvPL/9CJ2hvn4cwG5nBvlDW+1ZBG0832PiqyNXYbLBduV+K93VhfFaEFGiTDcsF7isnpPy3syz9PjNzeIxOrVHsp+PhngUkEuI6iD8KbQUGg9qYph/uOwF82aiUIC3goI8SYPijHdnuLo4jXtW81xwNZKyrW2SplMdvWXsaAmrvLBfjz4RKcPdL0A+Y5yyQXOEfZwDl2vWxW8A5DSEe6Zs4TtNPgTHqla9YifduI4DxgBwZYwpIHGbtI9Qycvnb0gXz0Pwe723mV8Luipqn4yBsCvGxNLYo29CnxCptyvZFd47yWadu5uqrZCDeq6bSb5+DCf2QqfzlXbNlWhOqdfkwJjpwJKrQxSzPMgP8n7GnnhvScafD+8X+iY3YsGQ0XNyN6Dy8cV5tNk8RXPOkWUwAZG7fC2lvKlixpJ0lx059wtjBQcZN5NbGbkAEl16VfSFzZO1a1oz2OFb8Mf9YMMxY3JCAktAR/iJap/SDRgnDp7kOeAIATCW1dVNtMeLJXSJ99vtrm4b1TgxSHMikMatnO3wtd0c6EF9T/JtJwdIRAxUcsceurhHdMqCPeBFsNPNjA+BF68ajaXFgP2+7c1TZINF2grW86+a2XmC5mmZ4o5MC5p6UiKaWJ5cQW0YUz5iWEj6LBK5VVtX6PrL1d5mCKWYmWqHBomkukG2NPVv/xObQrjEk3wIK2ttpXy91Rm4B0UOFX3FLlQ3aKdJqSF/QNgb8nOp1eDne3sr/qMW26FDF02wpaHc2maymihfxIH/wzTheQBusg5RSnw+Wrh3PJNmtfa1FZ2glVmoW0M9hwl/1ygZxSAkzcUyIuMWR9iwSn7mjl6yT+G1w2hxggPv6GWuOc0CoJTjvb1FLSnOngP+K7Dt+wGok6R1KQRhpYKngyxlpfh5kXIOHxeIGbOxqH/npmSU41efi94x+YJkHs5nDqAxTREdWZf50yXNNWC9dw+tAF2pAQLA6cZceM+i/DQQOXPcP8ApH2QGRcYVDNcYz72XCTgyNWg9joPRLhMTtU06cs4KH+HT1vTOaonknkcZQKQWDuQjutWm/3CsmSEVzHHtwITsEqRmx344oIjZOUzHJlHG5baxLqu6tDm5xJ8m8PjD8OsvK8gu5jBn5ibjeO376/AKKRQsEt+5NYO3zYu/XbafifDq5Qdmc4/TuL/l6kzrARTVw7LTi+zIEbPbHQq5EFwT1nmzyIknEGbxkX9mVXfmVE6q0oX785jo2SSqWTYSwkgsl6k99+/vdyF7x/1gppJ5Y6aGvqVSFkZoL73eWcvrPm+oZEgMK1N46Uc38vj6rPpFK5KcnJrKDzZnG1QhxLUxOglATVjR8nMfwVZ5HsKj9KLSMgHbT+jUZKW6kSz/ARgqMMnG0gLeq3sOBQu73KeXvTDHvM6K8jpZJFin9kKS1BeG4lEo0fE5H3X5TS4YKgcbHlRSWEOncUfo7+V18Q/LClj46T/8mFuT5xrIGm7to9/n10DCxh/cva5vaGzHutdkMlEOtaRaPu+patSp9lzKav92euNonJSnKo8DecU1V40MUUGpDtutR7zXBI9GbSLkJqqPBl1LZUH1q5UDw9AWdxBsHl1CfNbNhTZeI6PkvJAEf7FgQITE7wGFSmeVS5s6OxeBaj/1xADBhsGa7UYdu5lHI08x1Ee+rrzFqSvycu8uUSwVur8+VPqO1G7OCEbNoM32a+rKmYflUCqi2LC9S3180sMRsYySiZLwEnLIRcoUuax0K2TmC1ApWn6D4kdoOtKog110Aty8/tPYVJ3ylkiqvJewci+OwylCP7mLDefMUlBbYUWTvNvIT9dawaGDD61LgHv19wmrQEzFcCNOZfSq6ExxYxSluiUJinR2D5r4XaUeC4e58VHIXNLO2kG6zOVKwqZ0ze8A0ZgzAvbjG/moIV2rJV0Mrn1nhKQhcPTDjYx4zTHejE5jYaTbPxn35L0lWwOKk0p5DMhXKZmiEqJawDFj4LusE+NhxaBS0+7nvjm06/OvQgV39pKfT6x4DgGjCZs3zG12KzfmFwJEBEw7wGBm41ilC7hCWLKYfbBx3qrHgkg5OlE/dQAQaEuQ9mmv6FNNaeLBYDNZ+ZEcnZJsR7qIciabeNYY3wy/nUmwDREwIv3rM+3Gi9hgnf8xCq5iDH8KooGALp6+07LRSAjT8f7cqGX5so+T83fqzPmVrowlHWUECGBsob9TuQa+EMY+iBrlptjwc4pP9t+UkEYY2xcEptTOX7L3H3PGnW35bi0QwcUqo9+p7Lz82UXlmacQTWCJRAfXwMRERExIncOhd6DONze8knQwiFmuWcwAK4CchIzCdr/J3GjRJRAfGkvVB5FTHlHgaZTFwnFyBayKXxLN9tpzmEFhKY28kG2U2wstHIXuFDzI/T123HKd3YFOrkNSZQCsOosjVU4iaalrKIHzNqSWvh+LSs5Jm23rHKOFxyS2180guFwTROABcnRx9HPw2Pn+bE0Eor465+nV6wdMLzWOFBR9Y411DqkQrSo9mdRqWUPha6mSbIvvtEORyzdAZriuU64aGggvjUCNkxzIRxc1SmIQskreppNoqrpae7LDSYkK35J2AMZue3G7sTb8YOf8kF8B9NBASxb9Eevo0+iwgz+POh3v9akiwsDFmiyTWpdbXixed5rrL1/qgCbEjDnLFoR5S/s76JwxxFig6+qEoDbVI3w/6CTwQzZArHVp34YHUPOvBsFaq6S1P6ITggv/tzjWzm5Zf1/k/3ZjhLsSzM4GgGyegxaVjnVUGyCSDvb84Ar5uuqqvy9bLeQyyIzjvqe6JN4u8rZZLSaR5LbR67K+LwFlX1p9l05R4uOEU8HET4N2eFmq6wEv8VbaQ+aIj8A2f/YgShzXvBgVW3cKKtrVJHbBgkXmJ/Krgy6rMMrWFveFNNXOZOSBmkpzHWeLi8LvCXhtFLt0D2TrxUWtLywrS751LZDTk+ea9WtPE6/F5myjMkVnqaSFcSNnpnpWC6uIquLMlkAblWm06DyXMPIVY0ib0jtClWguLz6qU00adImtuE8BNnq0vavJbkhpUz4uwNyu2xI321uL/lQOVGWDHuYJ1ixyVQ69LBDek9j2qAvJbRaATASM4ouACR9mbY+xYzJeNeYDgkrOZ0FR6m0nS6ewWLyg6lqjTKRnD91+2Y9m6oNz2/3m2TMM/Lv1WJRiMcPrQl9X5kK8+YAkB+pLy3MZXoYHsMYNyjbcgE/Ude6NJWyNguEujN2/FlWSuYZHfUBBKircGCnk1th8dEhisdJMfiiKnU6aFaQ85c7qkbyE/BFgAJoDXljZSbeo+gjpRg/2wI5oxnzHUQfgwQXztfD+UYIvy2STZWIXqhwFs5SDDM4HIvuA39Ve0mcqnpFQ1eQQnZVn9Du97DE6Clr07lK9qIudTwCROuyEPCqqDllkcAbaVs/Ch+zm/8nQd+3FPIm5w3UX40d4DeTlzkrNxPpn/PT3dHEp4tO3CaNOePygMKJZ0zLU8oBhw5DWMF3+5agD9B79Rwl4UbvP/YPEHVzNZpflXAPCt8VTPz6JN/bn5JkFZROtEckObT4YUL0lxv6fkyHtWZ0S057jApIe/gwz3oFAxcEnUyUKJcTJI5moBslRrtdQ8r5IViI0Osme9TLak1D/amRjf+RGWA26mZKfJI5nbeRxtlscPvl57NuvFszCNdz2cLTFpNHwaUsyxoI9YKzZ6OkS06HN7TEpFVJNRrt+8MbO23vG+Yj8bNTo1ovceqKY9qeon+j7Axa8Dmk68sCZmHIo7MRk9UsshzX+9QE1gGKTBh0thsmQ+fQzudx6lsxJhp+qU/ftKY6vNHmSYbViv25+xml3JY/p9eI9HuGan94+Tf2knlZbNy2YmP7u/igriI9v1vcYrpf8fiM8wuY1CXPfKOxfFnAv7sZ6RPKYWbuExbURIg+PmrY4G5QwgTaaY8Nlk4Ai0ac4n1lahNrBSHD24/SPwaGVmWz/ieT+B882dNXyesLlaNhiIYF6elmsUxdAYCPet3dxppwPuXrVR6Zda/US5mlNq8D62+tx/TgBNxamAQbfYHE5rbHPH8s7kOeWqIjHnnPBprKPZrDCMeMo/Aye3LmxipK/Uaz0CHIKoA/2kMt7rjQ507hNbLGhr8hbRrxrZbZG4+UWQ9QOaIQlzC5vYdqA5ZkTKytMpSQrpgPtztNniWpbcQMUgIDPQv86n2TuR61e+t5FZLMVuwLOIuRB+BiQ+T9JoHfjmxJW3Bb8rjm7NhzasgUnNZY9yk+aM2GO2Ucs4HFeOjubSwgljqDJ5bxuwGDduLMDxoMGN2sXHxL7e687TNbPp2I2cyDOXDf9tov7qVWyE4eDce15fVRACxkSRD2pZUjIJDGZUgb8ZjdKKv9VTVl4997x+DNsWpbgmb8124ZRT1n4dDoglWpn5PDjnTzh7fgwby7j9KjZujmRNLngarSzfntW05655ua/vYvymQ7dqeMF4lqeg6LSvNhJEiA0lHNmhshYLDZTV+WPCJ1z76cHssrKHs2F6Mo6o+kOz6IAWhrJWa8Qtm18VuBgWlwdgM2f65ItqB8J9hxyXb6JzvxKt1i/0vFBMIH2qEnqdTylneesXGxT53uT3xSRtiGnlYFvlDDzwcUbp+5gk9JzV3mUS9qsS34fk8oNQ61toCP9bGsp8DqRiTH3Kv0hwS4m4wNFELKoYjgiMcQpgXmp081lBJ1gjFupVSJ3nS+bG4+Np9KbpT8LD6cYTNIMACSu6GdiB1hJKGWWDNb04VeBVffPkNxQgI9+Rgb9MQgDhI3zLdo0BWKksOwVLNAfjQsWdtA0ls3oV1Xy6q9nG72kmbRZGBTuB6+uCuPkbKgePxdb+TUYqeXqeEldLIme71Y+NBVsntTCC8Yh6etV2JOutMaiHGOrGOkDUcKJwbwgiWjVvWaq8HYM4RWHpkVZUa3LcRecKLCJXTwDWG9Pg1K1UuvUOTyV7+LOCoM3P9uGxvDFTYC/Un0qWBvEJ+dPEYDae72Bdkmyd/8e/hiE3euU1FmLMk0LiuvksXXmi3YcY3WbqUEUDjEQHiVX6Z2MPcFPcDAw0jJF2mJEjGqBdOQLBNFq877o1wZjZP03gYogE8oLLHsDMXiLdoVfJKE3hLw5Fs1suW0PXK8oz3DPrltyQpLfW0BIGaVYBLpvcxI6RwlBjnMh36GratoVga2jW9YfbSzposTqkIsuvq2O57rP7atuCG4Q/noK/I2qN5/WPILEAUGUra/fTXiJvmHKYJOLC0V4u85xgcjGq8+Oq3Tl1ASjEEEt4k5FObc4A7tTqYVtavfnoAiM4pkg87o0BlavtOphPBJQyLQnmbt8342ESL+R8RpC/tDXK5ILkKHoHY/YvLNQA9IL6Rqtf1ENWq5vRAuipAJEBkm3xJ6rf2hXjYwzJBmVR0sKediGvDBavCRwPmHgRTlu/1yvEwaxUIjXw3DR+XYmkkkGdnI6rf/x6GG9RDLnUUf5G+fxAH9CNqR0kxUBwiIEnB/9fwrvnwWu2JXbV85x+zVu9nBhwzO5THu9o0aKlThmGEbFLRPhSs9PcleGK/LJZ2uBHi18IvLHmwFnRMSo+sGATuZsviZ4656KLjDtS8IbJvQr3tNXcZOu2NAgXLvgj4cUNMABYH6gJ8pMGLQuynkFIiaTp0qD5IAgV+VDfW9sO3d4agJp9YrZZyxq6izGPxz86qQuQW/N4Q6PoinFtGbGPXocLda6mWtE8VDk5QjUJnKM8gzqzQdioMxhmqrC8xVfDjxvk1AEh5+QABX1Oeeq9jpGEq/v35egVoYWjMShxg0hMVNihNB5dF1AYrg1k7r1uCJSYy9iZilwlY7RT0Gm3dyJ3Q3i6WdOPbxIr392guk3e9gZ1Ju4SPJfod7hhOgmMJvWoFnYe9BaWjfq7mNvVO+GBAkRsIMrSFlZu5TQrL2Ip+8ZpcUDmGshiVv7w/QDLUPIxroToz+gTfzBsSbYEsDqKHQB144pvhiRdjBtqb0sWjN0DBYhO3LKYODK8GvLpDvIYOoDcK4IggLmAJXFthpR/zz3S3bHV20IsCp5UaZcHW4oMhyF7OBCSG3Fq1oLWdqzFUiYEGDmO5qC7eeuYt+BZ+afobmwVE8iFQbpgM6NEXOiS0aUmUHsO7hpizedVUtsE087Etaoj40Kn0BaD5vYtaOhwd9SodUvvZkBYHVlvK3lj5kgx+TeCQ6fkTtwIS3sgStUMSUDOU7ptFlnQ9zc+L3P9BGe49c16S6muhE1CaesqfY0I6Krwaj3aKGE8j+wuSlvCN8UTqZW3xOrQMpi8DE6D2avbJe2xH1Z3SfiSl6Jue4eHmixFyC2FP6/zYI7Oej0ce6TkMCHfgdoYA7rBBOS+IQrZLM3rk4vi5mVdzV9h1jrMiZeRrrwM7n8Q7SYZbWRt5d4p61Ao0ClgDPOFXUsVRvYa+VsqesywEQweYelh6q+mrPi1cut1V8mvU6PUTpUHbcfkVFd66d39CqhIdTC2FYa9HoWbrt/CaH8C62qTAxcbZYnwRsvqI4i9D0bjehcQNUwSD+xIL/ouMR5Qfliv9oEgkT1KP2rm7ke/a74cjkd2ICQ+jiBAtSlaBN00HgGYH23VX3EwuDzEjeY70U7i8XKJjfNOihDlSkUQsvF63j+ocL+u7bSFczfGHVf6Zvza6RckPIdQpSv2gtQ4joSyktDIyIzYktaD1JUuHGxlbOP9zio3X5DTOSDtYcApVnju4fsSuNz2nZ0h8iluxqgKPtPCug4OntUIRMjjK7pINJPTwv4rhkaULQ5gJM2oZNXppDn36krJ+Au9LKFAHdUQc+WIgMQNOtCsAZp5YoSGOqZbzWG/NOKSOxcYrn8Y8Pm7oOli3/D+Z6sVame9LD/XVWycFdGy5eEUL8pxOHWv24FcThDQ7EAoDHG7Cx9dXhg031eWlKizW/DfJb91hp2+azaAgsLjLoIetMnjlenUhrZ3b7hGoDWFUvlxEC06km/1fCwnLokzEnCyUhdA/zG24W5fLZ961uDWQNqSKCd1sb65q27DAzW1okLdYvgG9xyG2/Tgt/ibViG4+FR4UWbFvKCWDKRlU4yEPTw2Cufsm4QvR5ICe6lIeJRcxE4XNy031wTVQkpnR9lW3VLiU3QnEYKcQklh1l9/MGshiRGYIsIpTaZP0l2CGYaVFxi5SlR7nBW8n0hq6trFq4b9YseMgPGX6Bwqa3kri7ZAZDyCC2/J9nuLpidTBc/A35iS48cs9nJ0VZ7vLuORRUrtM5CboDfHq3+k6Wcugrw2+b8x2Ei79DY8BH2Bxjkb77jog5Re5IrHlWtMnSsZxk4gNPDuPG3QotLHr2f2bTRLsR175OIGV4BJp/0CK+h4sYFRPURSr8FphJcVzMa8MOLp02GU5mIGL9nVNYrcYC/w2yirE4gemLeu/ZE90Rl5vzT0mfP/O0XLiDnKAShEl8TT0nN73NNJBUEydoHwMnjFLnpOlz/gAbDcFA4PAApLkgXDKZBjWZYpsORTcxel19LDytu572VK4SonPJIOObQKkfiKpPRBqPWLCaYAXI5uNS0b3Auy6WN97xWMJaIszj9j+mZouO8l2bjf44xMGjbfRJ9gF3x2zE+I/6KWVdwSXZCW/nSYZMybabGV17O6dX59B6KwNK9cvzmc94vq3Y6vcqFdoz/WOvDbD8EgnAm8s0+2is8a92bkljNxJiUt4N93xquFYH6fc/A2s6feExKvV0ymmWqU0CxOgLbMok6bGSql3R40gt4QcZugm9OOBHkgl9vpJR1QyW01YWAb+lp7ZmDc86+OyG5kSFScD7m6K/E5eYspUuAc+Uoi26skxkDmn6GRF4xS/ys3yzRjcT9JbBt1shCx3LX+75pRncddC8y62RoreSK0ebghQAMhP8twv9sAjleIZFoXM9FeKvvcHEhOmpod1oIj96AjnP5BEPBD5w6Qkhd5oBYNdeWUPp0RiUwX7yMgszCXKwpDpvMzkeQi3Mpyklngk8tuUr9FFkC16M2GgNIJJJdYmfs/1AJYupSLgkOUkQ91bgTdusd27plbVyFTPmV3xTthXi7CMqBPmQsjcTuvXO5HnMNi6n4MQs9F3d76JCDq/HbpzkPPhHMtzQfPb6BWu5zsjVXo76e744Ce4GP7OBjKblVFHrYLXIWuietVQWLk7I4AL0QScY3UVRwFBhFtLXSYxEgP9SVq5QH/7Q1IkWpfVRJVJt2B+7Oa3ZV5DFHU3BRLMZkpylsTjWf69eDXpVWqkoX4FkT/hxOI9fOj8MMelifulAwJPq/vmCXC/a6Z/bvCEWtQK6tVTcqX+fmbH4waB4MkDhMF9GVsdJ5nzDzPvpzlwttxeR6rLwo0wLWKPJKmWvA/0V20CsX8ciq4ac8q0Qf5hHkH+XC178joOd9jSblLWWQ8zZqkzYRt9Racv7pHtZyjY10lS+q0HUM20u+gAk1zsgaVleQS6mJ9I379gnkId/Gm5+TNSxT/577azUPNrGxKXP9ZWg91g5rqZ6NCFx6K/pSbpLpENGAqlILnrQsHwH/7TcyUK+2ebT+RyYa0/eYv21rkFDfyu1n3ovDBMUHGlRn3mDnSsNyDaPZlj+v4j4QD9hsarr6vmu1bir/xdTI8RsTlB3Hi00Vg7EnsuvFgxS76yxKi2rhywOYfmFnygRhuWYPSv5CVA0syfbFKcOp/Ec/NhwVYTZYaLA6HoeNCtZYXP6qknpJoos7qa9Iow0I36+UBDJ72KMXz38hOvXZFuBwp7e7ztyPBsye1pjma2wSqJHkhUFTiEEdxN3o2XXHrw4o+Dv4Yx3GLSBRif3rhprc+wYF6XGj0HIY5BMD1Ne1+8FlRfLbNMj/oz+fCgFZWbqb2s6eFueFtbRRvClthHqlnSpsfqjZ1h4HCmTo17vpblwuRfCG5X8y6mfDq9ryaMIuhxMRxJOg/3bRj6TujfxvjhcX7tGVoECherLrau4ZaS3O5o03JX080BYfIzjjh9JUmnS0h1nXvnGwjeUOWcuVzzWfFwO3Z/tS0TAaC2Ndt4hiSBKe+XzCEoB2ncNViLpf38U8XGPcbJobyxIm6X3tmHhJf4wKpWXFPoiIe7iBfLt6cmNhAjnE6uDvo0d17/9upnOD85vXq5kI7/CvijBwI+83TEb7sWI9eavTBM6U5kZlHrZUFCpKvZKHp0GGU6juBA75LSsnBhMitWp1l4OU/PNtfHI6mt9OYHNg6VA+i5yMceb22ntUOR3v4n/S9efv0x/Zq6DFg4Pos+UDOkz+R71c+wsWVzwE7gwbC0cxUZ7B0gSMpjnZTMWU+vz2IrunSekNkAOu8YNgXpFIMJcV0fmSE4f5hyqQL9CkAUpFKyFUheyQyPZKKJfQSPI3mYIxVNke1leNkbB8IrRnYfGZ4I1TQyP0SoKoi7+fp2VsE+77x3hbL1IVl9X+PfQp22Q9H/XQR4nnb/WGXHQfNwKovGGqJ4dS4BeUghFKuY5ZyY86YI7LXfyUBnKg9eJEqj7WAfIO2NHkm3m8GBpzLndmql2/P09Bpg3207Ne3ZD7KJaCW8GQYtuDdS2/4sNiHwQ+FX87DHVPS6vfErzLGHUu0sV9hDbu0+Y+qimV2Hx4EO4tmC/YfNMGRjdJvuc1d10rN0d9js0832Ef8AN/uS8LNoyBK5PPaw8A0NAGYRp9M/hLMWbvEEPktZZlvorvPNFrn74x7bqpkLOuG5SNhuZynlesmVJ+VIEqKyFwc6ZlKq5Bae+tGeerngF7yxMrkRygn8dwKtIXj/S3XulU7aDl7fkmY0rGmBDCjErdTIzr+jW7E7+yapvU8ecxF6BsO3b3w38J34yroh3Gcp6mtNgrbfVSKRXw+IuaVUmpipPV9Ccmp9tB527xuFNNIzcnsQW3UG2kytOG2AHu8Omyi7YEt3Q71iSmxkPvoUE9p5SCjw3iGbmsCryXe2pRT2Ys7G7xwyPvogaznn9o2/PQNWoNCLPV1Sj6Yh/Eu2PeRvqDuUUdP9B9UL+ogvRWUTMNTDMIlPrXUvwmGAwx7rixVd7oB8Iir4uUUd8EjgeHFNPOv8mpydTk1iY91P9D4Adb4hEFeaRZ4+wWjB/srwVgo6wPSBa6veSgb0F0ios/zfa3pKENdPjwiCm7Ky2jkNfYBQfzDlUUZuLoBbgIHREd1Hb6Qkfl/WAXLmIeifhxHXUFQM9L3ltYcIHeedRlg5OyWwYb2OQu/TsbZRa2xU01lUnwbZOXpNkaIsJhhcTen9QkhgffgbwYWXYbrhN9RE3Sclr/OOC++TgxgVEi4lP0KbLyFS73lNXsZE+TxdJ/OnpqFlPSyONz+rNZniH6ihmyqVyJ7/VGNI6y89bULdGkKqa5Yf4KtJ03oU1zb7Z3imUozxtbF1/Qpcsf0QaNDIZaewW3jrKMiRov1Z/cmvJZnPcUsZA2BGWML8E+WbnpeCS22yMrPya6gO38aQTKTTRGiBTdUhHpdLR4aMFm903G6nesVx0EPQ7LS0p4BKEa1KHU70Skb8mvpnqj6Ugu1hbGacSAhdt9Bwju4Whci8NEwADX4sTONJJ3/NLMWeDZDyGexmwlSPXZ7/6T/z7vSPbMI48fK/Fz0nJvpV2K0jDI/GcuIder+WMrs/+FUWz95LNZrrKhHgitWcEzVwvUN08isBon69Eoyd9nAVi+XnZj0fK7+0QKuPxeO9d2T7orEtT4nozUHLSxz4/cg/eSy9rFq4lOI48zfzBbBOErUIgnqj/OoJIXkPlk0//VrXsnp9wymwEO/LwGGZRqAnDGVfyCPxdLUTy1ZLlQhPVS3ts9FsXPaZAvT/2v2yrZgN7UAyv15pDUEF5GMWJ9hX/oC9hUJvHwv6Xsae2S/u0aQ6KW7PJfcpB983PBzM1itJyFofzZ93Qgi7dbVKTUQrJ7UT+TC9TMcbFkoZg9dLd/+0bLw0q+xfo39YLAKIr1Q63NH8/bxlSFEZOUMKJzeF2mb7X8l8TqluIFFri2gBODWzIFt3kN51BHbcBJlThvi3Whsj/EOnI74V2a9UfGAq6wRBmpsC5qCH7ZFXobjzqLxnlMiJQIg/RKyuALEF4F9RI/Hn1k6d0ePzCnLWyO/KTuNdo6iYzA/X0gYORlkXZ/UV53SW8StgEyRhhoY2weM/lI9EEE2GmJ1XDRcnqqYd36vs/QB5LOBxdxNwQ6Uutem33pzVnoCRi/iJ/BAKaYxbJeWxg8iU3UNoO/f56+rNdktlG/2bK7tbJUvyXSWqMR4W6f5DXjPNKBfaPV9vlBmXl/GKuR0vQH+/dokAMPLnLzvEEf6jjr+qIvAuTRdUG0xhQj8WxWtJyy8DyYo9iu7QELCcUzfgeG2jOFCnWRDoHHuUeizAlVEgm5BpCFpX6wvqLXSuk+PyVudhyxJe5vKyioPdOhMobvFch2tNF6FTKwmBIpYe/FxNMmXj07S64IXKs1xNuuFd0r1b21ouHatXbo5+ZXLoRj2LFmMNGoljK0F8fJ0d10ern7fLe4ZMzE62gnFsja5Gq4DG1zFsZmcSLga+tzG3US275HAzc79NcFb2sNUfcXL22yhYzDiMTi8gYAuBP66zHV3J7R1/aOXlUZH/2cMbLNnRyu8W6JbN/cViSQcZI+JTGxBDpgITuLc1QeVtmoDnO7qhkJT/zpnbkvRdfhQDMZs5Ym7XveFkvmangHfJ1HLgVDk6gV2p7D7CJ3eOciPkmtbvybMqa7bMWTVrcEt25DIH5G1nR/agM4t7RedBgjXdhu1lh/2lm18D/jxjIa4sSCYWQqFeU0YUGiVtq0q+AyqX2W4tmwblDjlL1pSwIKnGyivDD7TFR1hm7HwroIFuvqgr5ojrmeoms373HaFE+1BWXfkxUAxE+RnTrgmiWy/9uQD1vfwLGqwRZmn1f6Ng3ZUAzz96IBjnHgk9a0/7ObJB3aw/nK4iOzz5eHksrhmZUAjmVRmLE5K9J1n+IReq7zT8WEFUWc1k11DisnvQuzpRqxFyupRDyQYFFuUA1jqDKi2NDuOBpfFrx0KLV5P2OgQo12DxkX9r0XP5yrk5HL0lYkvELrPotpNyAHlgOFEeOVpFqBEsbqokuBNXLI6UGKgY7sgikq3AjcXuIz8KBYevc7gI3JWCHUgkRfvlGiQtYvKeUqdm1v9Q7Kb/jPvSQKS+Mer7AuZJ+aAHG/fyCaE4cYZCUq1ophFu2zjo8msW4xMSzuVQHTqYMxsj32i4O43TgwlOylY6NNfhP6DSyK/vLXdOahReFK5ahMHl5N+elkEZwUpBS8rQoCvC7W5Pa/28DtVpTmgjLeM7PW4yE5aQ1/bbVXzYVKm/OuGznpoowk1PgphS4T0zu1/j+7rt4voBn3VFSKLrJS9lubcjRufDihozQnV2khZ3KTUizfjWOHTezt92NlJAGutxEdnYkU11T33eaOKO3WNc3amESLBoixv6DDVLYJLWYYnbq/xrPyE4aythXfGtQJ7hQxk1cDbOtMWUY344TD6JUJw68issVAEluG3XeKI7/nKniClRbQvLeneMm2g9qkoQvKX+M8s84+n0xnipN8ZT4sL6J7Numh+neRmlFJTzH0VgNbCafep7YIUKxmTqg6we7Rt0A/36glZido5MgGvGox3q63pAwxnCXKp79nSPSQyDta3JRhZApLahIMLw9LQ9QsgFE8GmjH69u5oNqhzBLthjT0rv4xTfvBanaVtLXkC6QsDE3hJvE4qGhrAu4v/SsFMZKNUtkxjZE3VOX0djr2z/BOw8Oyz7zfQX93RzdlLahmdSwByqnFE53vGMOa6YMKfU4gAQRKhN3O6TiIWuhQi65L3ny/lTyD6l8D/kMy5Oo7qDfLgGB5DuFDNxFscmIS3jKicsSUGfrXRAIKcBSwdZMWETZvE1HRroOSocvMpdixwpjn7AXgVNeOcNBSTSsb2wJmeDuqVwgqtTyaSRb63TFiSkoqx+E5OQzvaDUYPqnQpDZU/nLZFtpZwNGQMihIY7cV3IzNRtsPq27IF3/e4I5Y2tZbYDTiA7pYUY8l/Qime7qDX/x3NtZpWQNy55X5jdzNjsSNYWQFy767fA4decHPxnR7LeAD4npYbfaitYJSvEtvuySXOUQvuUMh6gEgNw50dolT9m8YhMNSJV78JYSWfQqCyywL/ZRZhpGcv2AGZZkU6hGt/ItUTmtxxrUH7cNdEJLJSsE9h5foU3m17hDc84gtf+SJQaNYXKM1QU7Ifl6tWzERq/oYxU8iTP022NI4VQcCCj2yzF/+tesZ4Zhv74bHjMUaJm8Tu1n6oPsLQ7dR+fWJSjipZLn4ZNkaEZDY9+/sA+YBKeFW1CDmt/COa9GKAYdcqP/Qr/j7JO5i6N5tcT1LSlGI45iPuD5oHPyFHJNB53ocrrmm5liBFD4qLLwT03VMx2mGxAqnmJ5OnqpBsYR1sULAtdQCSBp4ICiP2qdeO4alidtDg5VDt7mGTc9eXdxVr5A+cC7E0F5+ariAvRvYVS3zP/evQUVNU9KTl5GQCY+3QBr06ziICi5/XKbDZCM/UgAdfoqeV/H7it/g+3V8c/N64sLvccJ4OL34NNjLZDZwxFsztNMTLkEcnUXtntpEmQ7cUEHzni4BjfYJes29ULDO9GWqdSx0ejswFJqhJztc38U20w78RO+fuluZt/7VXs6hmzMRnwmXu/GwGOSt04b29G3uDoafUUGHYk/3H47W/oEGXM8hBQwr4ISKR24xjInN9eyLmtFNEDMJztUGubvNWmGaj8t94haRtcMQff9YYdjgBL3LG/bbwQXSolBgkZohaRR6FkNrhfzb2iJuWAsz/ktw8gCntkK3sIrQqTqMQnBHmHX5Hmya3IDTpPVgSs7L2pfypIg6SeFlvPQ/ghrnKDbaYkhGX03TiwbQdYvwAEkSvsaN0bNHVcF418qVxblR0b83+gc7YtQBF2Q0jbGSNRpX+AjZTjpsuArVY8DHHUq3Kru7wakKUmp/cGQVAONNNTMJ7RlxDqD09Mh8E+b+lw+BjAmlIR4FZPIQnPTInVFLQ/gcX/gapiYCHNWW2jhSgeeYrZy3+QhYFE42LlJMVFigT/DyNuNTTG/Fxra811etZinUnCddUB/bx5kz49Q4A0asbbXIs6wq0a2itQVNdQtQBo/UDeUSndNHMjC1hp0yG7Virj8ws6PPoqnGgJ6DK21k+IohpPZycFWrstO6UNnw668zUGz1Uv+JBzJSWL93hFu/5at46P8+21PwayDG9DcMHDGQH7idm+EsCJ06DGlYzcruXu1OAKe6oPnDfDhPhiNzN6Vefs40fO+fAFuL99lvyyllVl5K5RKZP+TgNj3ibJjE3VH0rbBZUdwaNe5RyiF1aMKtiu3On+Vo6c2mLFAAWNd7K4TwaqjCKM5XzZIeYlk+XOJ2wJfPnYr3XNGbYYcQjXXpr6A7E5fMeN62sPTZhSSbQNUNWgRgE791+cfL3IzbfOSsvjeZQGTQ8KuGtMWbZ+Rlgl7YRF8Ybij4U9t6MIPiGfw0iV04MzlgZBhPjYd4z8a5FA8cn0hzeEB4GicHT0EWU13yetEILFEtDrWbolve9GATYJoe1ciaeiEdnXMczJTkn3o08xx++O2JjW1GhJKEBxige4ZD2aGgXHhjh7JAHXhgLaNsZBy1WUbHFeSs1hDSo9gruflVYS81nZhh2VHg/Tmj2eN3u5zabx9oZV9RNNE1XxKrkCy06XZ4OIZ912bhazQt4UgEwcOznxMNawVhsVlMM/aSlSm/cUMoKSQ0k3IR7iFF6IBb5oBRYraRffQtPCQ9WEM1HYRZI6cIThr/LxAE2nMbwDISSZ4NDB4D20CL9pLezJrXo9/CYWVHRN6wLvicVunT1sEhyC4RTVezKRpOC2JxbB0FrfMt8aFnPshsa8EhgXHSU/vTOqmwOp9TvIZWUJhg/n5Zjy3qpA2Nnn1N6oObH/+n4aDScSrpdb45LIrerij/2+92ot1na5Ty0EWyqYrK/xFHCPUid/VUl25NQMfqEWGCsw84wg2L8euhEeaaXu5rHB/fhpnKZDKzecNcuxunHsIx3GwaO9zP7Gu893mV0u24BNpTcNTIq8mameKsTXfooOkrWFdADZOG3N1MI0r7S2ikHzUJfN42+W/OMtEz6pVLs2d7jzUarIigvrhencUlbz7YRn5h4j7D524t6EAmapVGyYd44D9MBVGb8koOZ9MU4lwL60FvgO9ucRM6ZMrAp+DIgHvKFfjr1OHMjd+UKas6yxXYlZ/DXZh3ZprcKhLOHRuT5ZoSKML7/4NJquuH7Yx+s+V6nT3WsAgtmUsUyKEAZWnG/AH3zVUjk7QFJ/0kqqMp4G/p8Sd7B1fsEODbnOAEucJVKg3X52nCaRStdijOanJl7K5IhoEdJsO8kDYWtKoOMqRHZArn7WJNZ9hlUYqsBdBoZQOrIf9nt810AyktxDavakvQKlV8NEQ1ykZZS93xVGuaum1QxeZKLNkp1M89AYAWI6mct8U93yNH5KbGJLEAWmiPp+/4nUR4a6FGQwFUHCnC0Ca0pXLVllQ6xB5RB3irIUPWrwswQK+zl7+JWcx5MFaXzsqLbRxllt5ibPEvXgEJaIwEY98mgHFI3eqLYBVWZRofkcwf0T4Qqg2xoV0qpgmunX6z2X2omImfmpt4rHes5rhEt2gO6yGzU2sVmI1ocIEhUysTr+2QBBnd2kqkgU9BBxpYaZB2xF+gazlaYlBDL0FY79nmMiYdRwfxz6sJul3jcFIzkWgJeEtZ9AvrbbtYnFxpBa4q1TfK/R0i+4vQB7U56kPQpfiw3NCQusx6wxefDLvKemF5LdH1FXotB7+Brf1MrqCZDDeNtJZhCe55NJztp0bzBl+/zPaH1jFYp7uulqGvRLAlCkKVINu9ryiO1+Wi4rmz1IbabLQvlEDvIBoMlmmVXgg+ZMCA/nDKDndbhr3N4U7jt1d5ZtZv2cWoKrnBl2iXAd6Q/IMUbjO4CqwRhYxUMAcrb9ulJdqtoTSDl75SDswi/Ig1fBv2UrfAYwE0QhBLUJOOVsWAtJHrwYmE6CmhqhDBMyG9xQgrsgKV2q5jSi1+uNirEZaR3kjV3653cwurEGXSD0pVb4L0Bdi9+OekA4h51RZdEfO+A0uj76fN/O10Y+UVdf+A+5FTtG9EixmI3Q2WP4pva/Fkw9d0qb5fMJvHkDU1Fbut5BRUr6Av1aNBH8U5V6lzGEURlOHjJHYWJT5cFfjmGTFnZ62vEatgzmZbLbuJ6EZZM/mfBJ1yTRGDHeYRkjHfzXy/C9q/ReCbWU/yJCvXXfMFnaZ1f9pAfhqpdQbTUhcpWU9Hk951vupBYIw5iVBm7+5Gaeqf1eNBDbAkZ03YhYW0EJwcu9XhvGu27QBIZNneI0fDE8box3JhdNV2kwqmSXJq2Un5v3l5rjXXNGYplopsDNcmzJ7ByPFma6MmDJCp/uD0ZPwQpgoA4RpVCayUuZ071zrjpWCd/zdzXStqglNuJukM8HArY1MrA69EVmkHgYwWDo+iiNoAuLFMaOZONSwXybdBCs29dz6BP5+nKvQDnGZBsgSmvON2CAR/PmRJWmKw2hz8L7egIR/mkAlXnLhg+/0zdVWi9h4ODtsD+pkTCbNwRymShVbHEetff0UuMANlFvrxkiqoqwp6djQRWr28cdTSWhAUtPa23yq2K/2sSy8hm+91lKDehC7fRNE1a4ftTgQi8CWh6DxckEs/yU3n2ZvsEl4I+lgDF+JXoHCmc2AzgP7yFX5cPA4EmOaoAjDVobL3MkHhClXPLiMlVjn4dS5zvQ2XsBo5TxCiuFXXAcA46NEXt34mu251yMGyWxcpNkfcuTVNDgX4eFSUa5ytbZUa+uOs7WP7YNxqglYf641CjOO28iQy7493mhcrUVOM4GGoc/UYHEMVi6V9tsOOizUl06EMh4yN6dNjfMalXV4kzyGmtXqxc78n4Sd8YFhocwo/Y/fAoLIjQW/U1ApIeV4WmBL+91ieV9pF2iPWHRI09hBxD376YKotfxEzhmulHVjhPG8oYJr0gIYYHDhGuaW/97Z94Rk4wn51+rWJP8SKtKF+zB7GCkaz84DbhQadnekpS0B1+mnneKA0SDrsvSLoS7B3baUySOiWrlAp2hKf8C5I7bgScE01ovGrAvjrBHKxM3xhPB+sRZ0o+pup27cllo65/HCAzqvktPHhn2vPRoBWQxdqRtZ7BzuYGXo3uN4NDmRwCGxpq1Fb1uiQlqhM+VRbI1HnVR+T2A96MMZqtWSQUh6Ziwrc3S/yeI9FslzHt4BCVSNi+5iR4nFRtRXpY+S7liZ7WB4ueNCflEzK52O1fRHvmGS4+v21XAXfeuLUmiC2Hr90MqUwrZK1gic2vA6fLwaEYB73wt1XgAUlkC+p76slm6Gw8aAZfb7rhFK7GynVMtlNSgr32cl5PhXZPsMLb6utH+JbLt3+YipDlnkv3TM5I9dvMyc3g25B2lcLzkZwynry10koA8MPynpZV8eVUbE/waeedhOPO2oXjaT1DkjFF5tkwoLJlgTEEqum418URZ2liuBVefc7O/1053wcMtEB9VJwTQctvPWF/4cr1uITMV4SOX91rUg6cqgcyHAYSHywM9tBrYsmf0XU+KHWi7fLN9b5RntFbxvRsEO55oU6sF/tF4jZY8TTp3E2va6grqALdxG8CeHocX7qoIggpjL1Rhrp4A1yrt07FwEFzTVvw//BiznODARz7KMn1oCW4vkRE3mAteWn9r7c3BwuoQzrRPvhksW+Vjt18frlyg8gzCYHJnoV6EKGslm20Kj9SSgNaYEgFus//377LjXPyfyyZ5C0kJkgsOriQQw0Oa4lCd3L8PGs57jQFGViHYYF+e7VjsS6kwiU3awEmQk5lxYM2ApijRNLgSDENP6Ww0rPuCl9LeLq6OXjMNCXAM911ZN4xLu+6vNjYR0qOKF8SWDA3HqGK8Hfym9E9zbY0RAGVc0p9tOBnI+Ctss+b1iYspUnYlRz14FGR03p6VM/5lPVi/yAZ4GHn5ZTmbIKv0CetfHRXHa96z7f8ZpVSV7P8K4eGhL+gD9+6sTfYG5z4my+dkLyta+vSKqTI8zCJTqxiLNmwD4pS2WIDZPX5UVrv8+fYk43tZuBIgnb73ZvYp+IEMetp8uxKDgjm6muRrbPxUQ7A3F0MSnoF3hpeBLuPMIQAKIzSBejbgwAZ7LUl56Lw45KGB0m7ixCXiROdc548uFHAABfQSLDu+ocPkL+7C7B8QqpmIHFTnzE0Z9RgBOMrJuDnM1prSaSEQKHbOm/6f9Dr1cRFy9Ae61SIq0roxSJiFxB/8NF7al2KQjo/QzhEb3QCj8AQ+T+2gNCWA+Pn0t2KgHAzHzSgprSjpjqcC6xcrQ9bvGUet0WD2MWXjnSgeNGv8f1/Uk14nGNhHGqBelAmzZrGSY9In3r/HVwMHX7S4XaeHJNtzBWlNbMV50khwCvhYdABzOVWgQ/V6CkLjk1wacU24dvu3KZRqITE1LSALjy6tTU1I71p1prFGF7uzLCzNzgZT8AhquZeVgnq4GKv7xdYW4L9BgobvMIUF6sX3IeBEMMoJq+QgGC0yKoKT/Io1M2XaS1MSqinVkHMOuCxDzlBwWVCWl5oBq9T8FWxvihbZWqNukqFx4wEVmrkW4ZLJq0AlMsGS8/WV/XDts="/>
  <p:tag name="MEKKOXMLTAG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hEi4uAdQuad8hunTDmd8B57w36TXEJ1r0H3I0ycsr5uggjnMAVl3FusR1jvlTvaC9CXNJ/HRXEvAezQ+VoriTHXXjZcZWoZvqXtzNxEipzELaW6Bu3fl054x4rB0a29FuVWP3kuoqg1pXmvzysdE3On87NRRy1/uEbmlbVXbIlQNVcHEyruVLNnWbGHa46PcLeEhcLnve46amHFVkpA7ELhvnKkL7tXwSDbe0EMbIq0m0RcDkhaJN4X6LK1GZBfoQP5UBmIXgiQQu7s5dGH22C2Yl0YBIdYGlF+EX+/ppxXDQ6eTLKiJezACy+xKtEqHOFJ5pHgb8h0yuhzYp65oRG3PYaTJQcJUP/y6DZ2kemp0Fpu23U4Iz7JerrJ4anARjhqY0Kvce106lKo09LFbtxvFsz6kHy0iwUHRyd/O+3IpOvCgGJ3UgCN/Hc90DiXyrJzFQNU+V5TK+mTbfv10/8rBzU3gQ5Kww4++Zumo9QlpZY817jD/TRwLPJlLzNM1hxHmvVgoRi36oGgnUvhU+5p+fCGQNvnNT7fQvKOoJTQQ1vlW775k2WW6vdjU/yMWnHjFZL1JvyZac5jXG8JRmuc44U+k37LC8KVptoLNZmKtbFydsmSlJDa/T8g7NOIFY2aH/jijWJqQTij0yqrb6fhZ3Pic1EcjHAm3eOXWWDdtSQgppJqomOyzatpRjenjIimqoVwZUuwUgaG6s1ZVLzuPceg/w96Q8kPHlHSFQgRebhA2seF3renO4BuLK13Fo9OFNoLa/yHX4mDNLP2tmbiUO4+VFu93n4KqGKk2nY/MUkWqfC0sHJEeL0yl1lFppIaaiHfnpN0ThRbeM4ODDd7raQ7Jp2+TPgQk/3uVYxe0CiaAAhgNwWgk8GlU6uFqS8/u1+9mNg4eY1T3PBPwZJYHbFn6MiKa2qaKmzsZVqs+Vb4XH8XvJfoZUKpvHfZbfq66xsz0KdDU3/ABP29akaFeRt/Ar6KqzHRYYJsvV4T0KJIEw6aYBWfFcmaLffFN543CZGIXOG1d53vHdRrGGWlrP0Q/9hneYPahdwxV8Vln52l1Lq1FnwsRqDzcm5qLzs9/IxQC7PYoXD+BdqLJnT81/Gm2qdxqMak/vuGiagc5XlHuP7ZopDxOPAwyCH66t6zQN9eknd5RBS7zrZPEot7EIpQgIkWGStgptfycNtTvldZeQ56A86E9ZVdqHG8G1jup7zHml8wjXJeHqD7hiUfv8cEIm68xtyuwEwuk9jljna2k2XVLv5Jbs4MlwpqgsQO6NgrnPshNA2SVxxB+IGOg/wn7g36K4cu+dF7Zk/YCCF2PSc7y9IrKruvFPZyB094fArH8m7+G1WQ9OKwBhE9puAVxDbQ6C00zqANJnWjziaY6Uk5QylUtEXljqVTxEz312UFH/G6Mjduo+K2xOM8CUT+Db7MF/U6Jb3zLmbQHGZAT09rNdqYnUJvOIVMB9/GkgSstBqpEKNsLJFSs3LLE5qV3fsQwPHG3EfCSr92WMqELVuKvEmckrLmiDSPpmeyBcKFdbH2fCyFkI85demNtIYqqJWXkwjwTOI3vqcysCaQdMoMdkATF783blrW09bmk+pk9D+fxU875sG8T+HqtCiUB42DmvvZwT+sjDVprgayJPeBBDiBCns28zBnfygXXvW5OwGwsjtTSBgvVU9qpfjwYu/YUggbKko1CkIdzhhK0SYTpXUQagTq20dmDC+WxV0segqwyDfvb1YkxzF23JzFEzJRO9bEDZjlB60cmO27FxYu4SfbJUE4bJ8zW+26ZeyrOB2UOpHdauCZlKwUA2a/y1I1riad0/28l4PJYf/1XjWbiMCSnSOe5OVjrbuZJkUAXvA6Q8K59nDKmi+QTxqQiINyyRTjXGOEKRXSF5cOBBzEZjKXJnHCLgbaLaR0IMtY6OVnD7i2xpj8v+Wwlh+O9Cs8OvnvrwG+wkM6UcpfIqbNgmb4jQA12fEOD2l96mh1rU5wzT+x1GWZlVAZ0Z3huOLteaKHQ5SGOVfvoS3dPhMy6BZLSvM8NNJlfSt0LVlBGtBg/8nH8Jot8evT94Al+Xk34RU8jXBqj5+5M6bUSk52xrPsq0tl0EzzpOQrBpaHo/a68NaakggWqoQVWJsgT/BJuHX8had+j2d434/m0iadFbekzRd5l3U1NJZzaOZ8VlgFoLVWrm1iZIdTgZ5qtYTHrg6lz85DKeDMFFyEyQiS+qP6Y08Bp7PaKC2S7KmXle5EjKx1t5bA/bGmOlJOdhfvugVXDMpLQsEqwsIWu4g5izIOq1T00mpkboFxx0NemjFiG5aWztnkqrEEvS059yOuZ/7ZmRYz9+vmqk17zSPUHNtiVCehrjMPbokWaXO04Dutgw91hQK4QUiFIIQcSiCUQP5fvqcyMLWAvIE3PKwFPTPZOQykzyUQRW/YAVbUBUIy1gvIqKShI78wiyqnkmCeIUGe+20KJlhXMvTqYS3H23S766cQlh3FGs8HcUJK5DPh5ynZO1l8dycwSMUg38VMaMwvppyzFj5tmMZuLhhDOkTHoemFmzeWxfPe3foWxX2OrStvC5/ajYPl5fLUecBUtMRLgbcmYJrYjC9wAt/MkgtSH4WZDvtRnS4jEdiifi9lvSJ8aHy3hT2e6JhS2RTlKoDEWTuo4j7FdiakuGE35n046KE7EMToBJXPqbx05+WpLwxSRgsAKpRwmEyoyxvZvBgu8rrx2T/NPP8mpeZYjaepyvEIrKMFJrNTXO5YrdNMevY+yLNsJO8z/aPKeYjL6iE1gh2qHtTUySDGDvcIE9aWb0AN4tMGXF6K7FdLRmwsQ45jm2vBgRUbef1GBAO0U7WFdrDXLNQmhqw/ulUrOPFbaeGKizq2FT2j1WizOkrjZ2Me38NOQJbXs7BHg8AlESTGcRnMuHwxwv4D0qHMUEpNLz7/bwC7iXraBNg3Nb2JYSXU9fiIaXD43yOU5PbJRkhkSKaW/GVurA/t/9nGwyN2JIagFKO5haJFbtvp11jKNZQkng78FwZ+VZknMJMRBrodo82gGnukfw4fNbG+Cv3AFrsKnNonofTHtCNCvtVHa1xWkF4SQJV0U8A3/9eb8ADtVkrzEmghp1zBCRKBOB6te9NUXrSb9rCBjTtZ4M7eZ7QhH3nJVl25Kej7UiWFLZCU3i3miTH2KbYakdv+W5uZ3wHqq7TBmpSOM9eB3KJmlhw3jlgk/zqzWncc6+Ff3g+GTdwKw4vtPlfZiwQKGbsXOX3mpPt3GMbY7oRe5NDMzu7jaVCevOxeUleSmuvaPNwDxi93rhVfzVlRXL31jtzzI1RJkQn9DYhnEEomUMbBr+kxk5mFyWrf/pXJ985/k/VDsBslocl8OPFv4HlrDRzgrHANBihBlkNJVWftOUmcBaSKs6xzrl/3qFoOKvpAE7LDqdQc4J6a3T58noucH8FMmIcj3+nMUII4HaF0NDP+Q7NUvl0xz00ljw/zSpB0WalpqNdufZ3ytTy7FrN3VP5AxVwyDHudftN9BWZXlM4aSAlyZdNpbCs7U1rB71YZvNhQfr7JtafLUy2gOCgkaDcGAKTfIQV77JV1wr31wclOlXQjYKc907Sh8xJmtJ7bpj3pTU9C/sdcp+Jn78mYYup2mxWPONCAGfvBOSIla/N17X7X59JnZZYOvwloxXyseWVV6sGkHU9T/vtmaZwSCZxld51KJs8GhK+0KdqTw8Azab2F/JK2YUMhT/O4Ie4IcJ+lmrZzKffArLvO38TPKae/nN2vrl2EJVDKnYk6u0xNXemMmlC9soerf2NukjqI4nfpP2Jz2kW5fkFURxZ0Hrv1Sfn7nuab5PZsGMq8m7OdrJKzIWyx6VMg4UrtK6BFKAROujV0oR04qKcJVXkrfzOISAK57DcT5gvlUlnb00FtvOL/7T0VsTEjd0t+0kqoe24PwUPKVaFSFlSiA1Eyji0XygSDEYgc19AS3+6GbACYzCwv2piRFW8949lR0gqtstDKFlsNoNNl8kxB+SH4Y2HIxGltg3+VgZ77Vvs+NXf5iUrMSrvwWTvxMxJn9z6cgEZxmGBexK1VhcOBSfaMZpgvxn7gFNykU2LInNo9Af2a9ntZ79DnTuDd0A4ah/Ia/YfsQxCrekXfrrOi3bkNi0DPz7DYtIgozb1wMa/M3cLnV0GdgCBdOapgFGFS7kKhZkkurAqVUlDVOpgGLp3uVRICHFlIHA0Fwp07VKqYl6i3zywn2Be7oPMCWEJ+2m4QjFjr2zmZWJdQpRpMgZ7RTyxL95MnqwbXfZreRNz3/nOBt3WcJi2UxqS/DgMBqD/ddEwrn0FZaUrAwdtlkxXBKyYxXT2MCqgexjE16qTC26qCzk7C5AVaSZFebVFldyFllcfKc0O2Vym7l1RkbkMe8fIl5shV01tVyC97NW0ohZUjM+fYG1ZUlT1B2xBAHhIAL48oU285Nvp4tECOsuLpZxFla9a01gZnj0tyLC6qF2wAll8NVtGeYtlOfQ16sZWaLL4AASAMsYUYsYvE0+PhTU7Thdy8yMYk6JoFsbhIOKOdFGuU7NMFI8LFCCtLiQUYw63s/jNNfWQBfjcujL9GA1OHDgfnIjkEaVplq2D7dV3HtLEdgL6iaJSkj9I11Q9Nz+FyS2/vu4l1NFKjy3kA54f1CiOe5yQPMF3/hF2jLqylbajjEy9Ns7R+AX4FiDRORaLVb3fUBJszylcfEInPoUJWiXtrAetxn0D+z9XakDC1/UPPK2nIqXLdvJKJ4o+OSZtWT9QxCoQ8Sz9Uk07se0U0Oaqv6XIZaDzDRP3i2iXv7RInE/v3gJW/AkgbZZnMGyeDNogeeE5jUMIbtZJRYb0wwXro7zBEP/9Kiryq8fZDAb+HKAIhqc0We+X43lAyjov344mOiQ9zpMU7KvtIqU+ZCZK3kOnQLBAwRp+qI3La70W/q7wqIS1j1QwgzyL/6rSHjaauzUmUXnNyLA81zo7nSitMw+2MiCzTSG2SAT5la5D+3DAn69/6JCLKgPsafk3uQ8lYEOv6ndNKgU2mYLFjJyBCo5iYAw8ZYaYQIYjCnntstr/J+VzYQqYqMqWo16X8YPCFCTwdlJ9Z/sNBv5Q9zmjc1k05d92hWT3DXeEz6qbUcifve43bRvgaMvA7MXNVoMAzfYl8DPzStfdLQIB13hlVm+mG5mIjWM2TrF7aRpc/3v13a8W0zMlbGVm6TTzVZ62iQHA8Gf5lq9Mp4uHCK56thA4ChI16GRgHWeX4IPBTwnPziVkHbAfpLWniMNbi5yAQtTFi4UqhTpme0CzTkopjd/TFqXs+JNRnE0yZcpYSNnyIpbhXz2SQAcgeBEEkCFLPjLA04LwblrnEl1vO3gywNzbOXQHY3bNyirnrXJiMgDjbGKIPt0YCnQV2+T8HWYN13FwO05EssCZrS0zBJSulFeczBj/DYJrU2iHwz1CXHKY6uxHHHTaTiegVjlABcephErBTVZjLVm2hcwD/ROVrw4CpmGxdVQALwA9SSAKgwhEgmttbsdAaWa1Xo4KxwsUKNKOmNjDzrXYz76XPRjw/pg3WkqxGlnHg25dClvsSmP4aUOVilcFqdHD+3RUQjgu6kBk4DuEwJsYF+FJe64/OTdDGnvNvFNAQourrY5Dd3HKQt7t/YMn0xs1YamZlRLgXIYX/+2iAnVrFz4MiAUZjT17MOkldQ1ghQc4waN8apZMJLL/zyJXdv+OwXhYG7jg4B/ViCRJXthNRvR1lRk65rrYp1FVYf7yEToepvePud4tpp2yC1wnt3SDcvEJ7MyTl3ucCJTiYNqdBKLgocp/dhqjoHQPrNGC/12beIlq9L7G4Nw/Fu7n75/NrF7XItVInjs/qai+6P1aGRRz7nFzgLaRJ/GefiCia896pXuKx2S9REoOL48HlmS91ebTGg7Awensopp4sf5AjNXxhUKjrtrsUwaQDeWXSwvsoRhLCammt7myYb7PVH5fyz4IXq9FF6mFuRp9YAmijdhugbraf5WI7TmWJgi8DvowhN+IBJiA+PhylbRiWa8hkn5YAeb41UqiqXFg4ZuahZiAUzdu9CpSjHrMVuzIGe4vZe/kVdafMyYMzld3yeJdbKASTslAQJQiOz1riYvvIhfiJ3d+hmII4Li9SlvUlpeE+iIQwXOo/u1G0w3YDIx2QUzSpwSb6M7YQadT+T3axT9GcIamWLWw2Vv9hs6WwAuQ0729n7vM4VA+WQpvl0Ki7XkezE9+svfEmvB0nUPcfI4YfhS0UQEKtj6Q1inqPogWWziJz0mxZqcXyRjJRvkWaGEu5Wh3PKQ5awWIIA1DWnil+riIE7b3qxJz3QDB3XguxxXIvAHgSA7IzeiELFTDlBOoAzL8SBwqo+XwihOM54kKudwDuuxbH9U4cOcUQvz/IaWCycZBekBV8RlZRhO8ttQjG9v/8Y0NNx02WlyIoTinPRtI0ALg5DUsfKT2wIC38ZLOiTR/iPtR0vMMf8iou2JMjApNSt1plhox9yQlSjOjAXnNiJCd0nq5u0FZibyOZDCf7TXMFBiFfsCNgQK9/HCS+hHALq3uBVitFT9Byyy8fvTEqN5f7zh13He4BbQqURaHUzfirGXuAzJr6MBBG4A6LODZUQxUPWVr8pzMjuiBA8SKTM8zYku2+JDdI8IH/E/0Jew1f/BgS0M2WU1Mj2/fo4UEy1aAudX4Tglf/gYRBrQ7kGDgLyD5qvoSOjNlghJRATK4AGLNF0fj/uRzzFS4i4TNXxidV1HfLb69I6zk/UeyDcdTRNdoEbeey53ZX65kCAQPsfLbeYKcUJJOZQ3gGSsH0KJ7Xr4jsFadBjj0P2zN71LRdBASHC0MFg+EGdiTr4jAUHXFPfYqgwt4c75U2PqOdumIGSf2AYrOp/riD6kDeGIIrNwACDwTH3Hn14pRk9XSMbKRHGLEdnPSvzTeypW8sx0Th0cvuU/aX0BDD8kKBr0cx0VEVDaGZ3BGLcwnsk6KvL5Rfa3FD6tPrp+K3hotSfFqoN9Xbt/vXamjthOTPNAF/gMrEhKLYCULTlCK6leuBJOMR9yYsAW1SjVF4YByyhnAUMTBHQ2gEpqWOuiigHC69BZ2mHSNya29UDa4qUsAe2li1gCId+/hsPOtEGPqKnQBJMlksM5cVGh1sFEmKUTWme9ZrrnmnIwibdXqcvUh0gMTOQJF0Z/+sc1IZZ/hPHdCbaUc89jjAVOlBSzqeCnqfnbk08EtzmfQPChOTKtjOxVxAU76hR7uJit8laU0qTNEVomPcVqvZqEGwI3z7+xTuzETD87fB8dV4KVlgGw46CJN/r7cMclgbxLa4d23DjYp3EipHhdrKAWYBz/ZPHQEKA208e1jYm65JQiSuTDnZN086KCvry9Duh55TYTOmOfeE89CDjOddGhFF3bZx95mPKGxrHglbB4MsIulyhzUldAD40FN8HouPbjiQXK9dbHgzU9Fa/jD1tPI4OAie7sKdOTiiehiN+bQfMUxPbrR1D84sgq9xTE6QIRtiSgIgY40Tk1qVlnfD00d0hr248LBuJGtypBlGD4wUQ5gR+h4plLNLlQpX/i1OQq+KtrDUNTg4S7bj4mdhkfKOENy96/rKaaQ6HJyYOp9MbC23/6bcHGoL+vRHowGIf7wQxViRHu25dPF02+9CFOb9ooRP178pcauD1c2eZeYvSvkQ3MxeNfFyoZZViN8rayZcwl/EZt9DAa84b+Azz+AkMlGrdLZxkCwpivNGlVXNOwkyGIURq6SIcWwe03m7pVkiBdG0UjUlBS8gaZpiKJ1/Sk5wWDokzepKVv/13mGEazwWM48K/7lqj7Jo89uMg4+QvAaXceJQiFAXT2xbwtfjlhqj80HS1xNkwcz5bdWsqn+e4dLohOFPf4YJGyrHo0a/57K+61fdSaMweOHFhhI8FCjPekb7T6RpmR1L7B6h0110fQ8afEQMa5/lBDI+yh4QnMYDqaFr5jVTbTmrci9xV8gedxTZEOEX9UG69DC0aue+Q/ieZszNV3pHRd57IGRZqe14T49flHU3qP6Ow5Ly5EOmsTWLWzvWOJDsmCNY8kbaJmu0J9FfoOqX8ztYBazGJahs/VJTEqZlM/4Vvr9dkJ55fIXJC6cXrCUVVA0aONhijT3ys4sn6DYxqX5KNwMftqgINsLvEezj1FTxCJyOEYqH5MyWRzwaAmQ0p7ioS6WQPH7fH3AQUZh98Y6TjXtiFiavFFqPbK5th3zdEQENnqfcf3wJ8tkdf/QDiK33coakhhQD3CA2i6syg8VQSDKV2vqjAqrd/zOSHqno7NzVj0deVI1hIs7ca5tDcNtLwDiP+Ei0qFogTeZEXiDDAzPonsLTAEg7DfvSvMQDOlhAqTBigTtdp0DOjDxzTQfq48FGm5tUJvhfMG7vbqlmmypcpRH1Bqkm5JNr96ASyTAHXeMwdGzX8MebW3+Vb0Ad7MZzlUKLMBoX1z9JTxG56O7FvNCEFsGAeH6mmGXfth49fsgCgGbUpYu1zv3xNDmD+BpoGK60jnOmQhunt4GM0zqWqEMVBvlRKnLE7oKmx/bYNNaOJpzm1DBN/zreIcwVMI/7801ut+rv2jBWh7JQn0ReYZtBXx1Gf+26Eted0YyOY+l4kyPuDsx0kSyqXAC3fjH1pwZlCAM3Rggc0ej1eRQ+W5i56bZ+hvSA1O7b1N0xP1l/IuPnQgHZ4cB9zhu1laAhqhS8U8FyRJoDb8U4TXgu8qNyWZ5dN4Gq9B1Q/jOcdTa4hEjlZG75+bJCxNfC1PO5uDhrOT3V2OYX69Z858o3nBwBt7s6j4pMmJknI+FT2Xleb4Ve4aAw7gJElomYY1Tq/lSpDdMDye66etIYR0ACbRZIBlA+GR3w8FrElH+cd4prj9t6qF2JQMzW7jRpIlrchv6hVmRjMHvsjF4wg4yAUWmieT0FgwPDadHGKqWfdpxbEB6jbQwISnE8+gLmcGvNaIv0WnwkrvvuGROpQqbnjKtpqiLWvZXHn68g7pk/EBFocTBzlllOKwwndeN/cvJMvNBZz3v0by/XgWHzvvUFiZJvZHsV2eDpiWDIzeEdX2CTYr3jn9aVttVyok8ZrhbR1ADs+QAx9ygs8wbcI1CaSd0+yj5s1dUkt9bGBVHbWtszmHy1WAg4Rln3iMSRCmqCRXVI5HMYEgBdwY+qk0PEujdJjcQBdKf/sMpHzKsA4yEzhtteP8Na/XzUKLHR5SoWUouwBm4r3aNwUKRoCsWLIXziAD4NVbNnDHCgSOPMhFQrqRLaWUnl7cKVOxY7l2sTa+RQnop2sYJgvBJfIMmnJujhm/dibooWNOzeDJ1nc9A4LboVh916iXmMcSJOC5tB2ndYOT3Nb9LQwuB9GbO8cUdROkCaV04ZNzvqszmbqIpk3H7u3nw85jmVi4dbGkejazLRlmWQ1F9GQ86HK08ARGszyG48GMdR/SPDb9nVp5MNivr+1jhAyQ2WMuKFOmdPH1ZVptRo4EPH7ciOOnq8YDovVcKUaXe2hROe2IyZVMMMNn4Gp0SIxcGs7aUlV/uRzaS7jX/D8aT5E3eNzyIXYXNfr30TgI1cj0aF5DgD994O1MQFEMTwtLQfr/buQXWi5FN0K6yt6vNUxUdi2B2FseDdh+xPgK+3RVf0Bu2fAHzMfqg3jneteng0GxrBxJ4sFOoZooSa1yheYXiV3OSD/tDJDin7hQ39mye8VIdINbtvsmeTzuDYEZggVlmyUbxuJJ+ODEcsm6oEVPlHRHnb2VszsV0oT45YAAObgRr30qemzpQQ3tZRMzIBC68dodkeard2MeLfxln2wbV564KuRajfVyHi2VTV7il94obDjcw2qWUtqIOqjs9toAOd1MRxOlgvmuqoYRa/fKtUWoNwQ1t5jsLANjA76gUTyYMyCylgYNYQyAQrmDF4MA0jbdALS8t4+Od+kHE0f6QlUxRV00gIoc4m0A6IfZfJhcbDfmiMmn/IJb04jI6L778fSK+6RUmQByZQsa6aatD6B2tQQqiCmhZEzPQrwBw2nAApPDmKOdWbhGutRtElin6Jt7hW9i1C4Z9od58SV20tlei9j6qGsBj4rEYCNEF6fBbmKToDPN7Gi1WLVg8NrZe4aF3IMFX/d+ZSUHLFKITeWQy3GPojYvLa684qNaxaT4xQkvEvPZ91NwcaOGuK2IB6SZJjuondLsf7qEMB0VkbrjTlUTAZWT6wMxsK1vTbjJ2gY8fWwk8207EeohGG0EWQe8avxH7P9sW9dwPj5CHJJSpbueJ9TY0lftg8YgC9UQZq5XRJ9cyvLTnVEwdh/VrN5VkxmS+AFZys09CDpheSi5G978jDZPi+l2wLdEWOlDwahjYogTU/Z4k/GNPhhfFSSBGdeZFSTevOhS4O8NcEwamrqsP2V5Q9pv4qh0Dy3FnILrVMbwD0CJPKDk5frYW/Q9nRfcr7GRdOtbXgkMYeqyCzadpFwLNeeM9TEyMDjrz6xGbRlE+5WXQILxW4hzB3DrrFf4TXyOttzRmGf8xoNTvblRdiKTUYoSKcJY2IPWyEFekVexx+KPoGQW6bRhbqkJkTMfXKYJxHV1n4pFuEJQGQT2ujWMAWHNluXfO9yvyFyPUjf2DdDO6+mYjdmcwurqTYPp7u+9TWaVHQryFzGP0kQjwcBrf5RnVQ2EMfpzF7idrrU2tOSar3vEDDDU+/G9tcaqqCaSBfqU/W8Zuvtu12pjMYwIIF9BnEpyYZ+uzYpy+0ifRqb+jSZItPBSl4tylsVAAPHHcoFgv4CwuUsw4EYsHakCpTeR9sgbEx/4RHx5GHeNIDpwMgYKqBM962z9+PQe4dSD/5FxJC2SNaf0z47ia5OXthGResnAVp5h4XrSjRZacX44SR1covjvMEuk4xNfJCq284h17blTkqnwqrCu2Nrey6+uv2nn34ZsQNJf1XN4UF3Bpz8J0TzzjBrWztvvORLiebZ03ADR7as2B0KUhiW5fY42eXkpJS5EmEPJp2TkP/06sYYyGseHhwCCJiER1kCwVtXmx8/x2Cm66OZB9Ls3nKIofciJ+xHi14K2DqWY+yldesCyrtKRyRDGbtEnUjvfQw4J7DZS8Lm9Q+Bw5zRcC0/PJvAcHBTAmPVYCJD1O5QgvHvREtdfg8u45QF3mbMyr6tFZK7fjM5qQpeFy6/37sxeyDoI33cSG3BhhYhpgTewSUKJscGRaaLw5DfBlhUrOvjDERMMFkq/PCcHnu0TirmEPTNtZcH/ASUNObxAxz6aU6bjafzLwUQl6wHsk4XD36IW1UUmkARNBGeGVdmK6PSkOnFE40C6E+g5Hi8gABBHznRANQy5kBcySbPbQQUFQ55FEQskwEinif4IoEFQXz2p5+eYYpj+BypDkkcJpWVA3P82RBv0EWrvrhsOB/x2zoNCKWuhgLQX+R7QFWplai3uF3OVxByhXxz5VWHveHJeP4MRIXVzcmFJPHs831rgVkExJBbRRQ8N4REhIWjtn5VdQ+GWZbNhPn8mXZe4PGOJzWPtxGm4kPwEFfPGJyL2BO6GAD4MF7wqRXy/AM08NgnHs8nNw7CiJj267mqArsodVr5IzNvuaQKrIRJEA9j38JmPegzdDEeTLX84snvM6pOGOzw4wsEVo4XA6IfRFmeCbc05KG/0g0/idujDQM83h/Qkoyfy9k4/bb0W6fM8fj0l+mzhdgiDSnNG8TtOPq9e1d22EDc87LChDAkmQTgGg4g2z2aKr9VuatDXHbH0GctaB0sTyOy3KDiG0H1TJHMKU2X6ubigkwdzQj3LzNrchCNDtQvOO0A1pBd0IfLjey72YLRJzNr61UibOrp6/U+NFGyBZZR4WcpqHjcBLDQ1A+RQqjseywyCCBYKotZfTC8VmpeJgFFkIRbmQD8fW1/bdXrsip78J+pvTh8xDgh1B0/2ej8ocetFX1hO/Xu4blhT04TtyO+JaNW0hWrgZasxdW8b8u7G7yXYC6HYcf/AyaeplwYbwG3pI2XA4hTD+dDWtKkuG/Gz4xzVwhabZ2eWSUmpysdzLr6OLIP6F/rwLGyFTBI2LS4CDFllaf5E28MGlNRoy1qjacsbFROqIQXI89n9lLKsw6JanB+GrqImAp1jTDFXBwMQdbzju8ydIwi6xGfh0xtI+QUG9NZlVnLh4/puBSzauM+vdQLbcWKZCarKOQSYy8MtPJxOEjaPQfZLRYLWnuw+292fiE+FSxm5fSuVAXChUqwoJN0LUjondEJC16BYHzrWQWunJhRERisfA1NKwz4EubC1LeeKmRc/CYe2J/aILluSd1L3W2/BjC3hxIRcsPzjAoCfNwJP5I76SogSebqIIg5AR2oDpMQ6PPBwOGuZDKEmnljCZE2ZV2lZQTfNPcSFPLWZUZYHvsA4/YxHKyv7KE74lyHi5tARynOhrI/RKguDL+7msSEZ/MJvwsAdZh8t/faxC+h3VXx3kqb1ngg9zyJ5eE7niSsKB40nzPs2hz+0g4ap4MGx7nIenWx/ShgQt8kFgrbaVrpRzyjf7tbV/2Zn3LXV5BKeRtdqWfRjNLeQyasU3XYKaVxthBoHHN9S7zoERBKJoUytZKxmyMApi5WLcHJI4YUu7Cv7K/OYWcfP+UGF5uOZiZzRnRu7NDa0pXKoFOrOQHGdIB+dTOkGhuMTgxlyhcGrqMTHzI+U4TGcG9JZ15mr0aQTz1OQRW5JnR9Q1wIJPlOyU4IXWoYveA1h/HM4ZqR/5BK5odG7FST1uJ0c+AuqMhTDED2B2iOP7VNTfXJ7iniYxnX/qj4/Ho+7Ozt4dtYveBX3GTKJsppBtzpUciwS7BoSyZyjA8Dj3nnh7rWYtt4oby78kEm5YQOGj3T7vtFFwtG5/Sn6O+5E8VVaQXfFKbptmXHF9njTdhMfkNGAd/IRBihQWTEfnvYjfqNGLL6LaN0RJ6d6CTInnqBU5kZPV8DAVeuOHiwicUgxFUZCgN5kdlI0NRSrQuM5V6raxqTdAd0bLFqngTnoAEDjqaP3cOpYYsJF21nmr5BuhFLBMlbuGqUZRnhCiOEGP+RA/dgZ82tNad3utsIkC4YteHmyrPvf3RC4nayGqMU6rUu4z4k4A4HvjXCX0HgNlbwWC27Ev8ofU3ND1W7SprtndZIYBwKG7FhX5onxSRYrk5H2PkpFwjCReJo2aS9Szu5SRZ8T29uUZqo6i84g8fMH7HteXBrokdbw3Xkqwn8anwYbKF9YYSyXxMcchLYj5RnC31djlCv6mhQLZvgNPhM+MZ6LCsK25Bp9rJeFUtNItzuHomtzR/3DFmWLe9V6V2Oh9OA7OZYCrODG8Yhk1u7433WoNSsLQ/v0udwplfeHOtaafAvC3AYj81yz4fIgKcI46Xu7RayOqSf+m/xGtBxAg8T7Hksn4wX9ioofDOYm3v/wNAmk5G3MNAyK4Y1nUh891uTdAUjv8nRioW985IwtJdTDivTljNrmHKIYm7g8zCLo/p2XtNiDyV/Y5k+9jKRzD/d15LRLixZUheV8f/RCSTVwUeSGpQDbYp9ZTLFUchU3pvVKRowGftwK6nurIbLK97T0nH09KVl+n7IgnyiRO3ZALGbrMDzMfar/0mZiqgkwpGvLffYDebDX9o69kHZXYY/vxh7ClH8xS+0Xpa6jV4Wxckzk8w1MRZ4av1+PmvnC4l4W1NwcyYtdzabZXPh33SPiVQ4y9ryHKOEmohapEZTRvsIbtF8NBrwSi/7OnZpHay9rHjFAxh38d36ksZ8FT68zzbUQHS0v4nFGlePGMXhZYIP5x8aUuJXQaNiYkiWX/dFGQ6UAbSBTheByw5WKAwEmrxlm2THoS36nRYotLoQvlUFlxMoE75sdBkfGW+5B2DOEE56vyO/mfuXKYitwPOGNtXKTdHh/Co0QIa0sqkeykkVgN904y2hQA/p0yWPjAWI/Vz9WsxcHlTff7eFYzH0Cf5qsfbYOZyY0RX3nBe+ilUoyuKwpmrmFfDsq1NIfYr28RXdV6OCDbJx0DRAzQze0aMSe339VfMpdkCI2g+rpvgNFMDOXKf3rvPVpOPdbltrtxRd1dsdwyhaxoa9veTpt2iY8xf46PhQXQmoa6SXRykYKFz/PlzFudgpN7lBRY2x/tBoBnH2uqG2WS1eD6r5d5mRNzi3MRcL+2ABLRRbJ9SmoCLElPJ5pfUCA4qLO2L6wNRYZ1dd3p6dfD0KhJxXG4Dib9OmEsDT8HgNYFsWZGKlQZ8Ml6ej8kkVKYfM/yQymJU8iwGl5fO6Q63lrW+XV/klfqePD8yNdnk4HsMPWgYl3+q4l9gvQA57QnX0Io89VeFqRHPdsyhbXFCdKVXX+c5NK4Yd46js97ZYDj4DBqLr9jdUa3NYin9tuGNbVS/KoBF+ZX23p0yYPBH//a6mOw4l8VfokNlV0riGIdTNCiWC+WGewAaPr5nixNzYfAd7Rht3e8s7IeqwjXtuAY+m5hjwNskHe+clHWSh2XXBYapfHPS6fEV3aCCIuUCSXHAa6DPVBRri7xjxVKsSchgWbdmVU6Zo+WkFjs8DM6PfsmjCZGmxi085vYh1o15vwZ656mUshmhX1WX+EpuDvAwnz8uFS1DviZA56Dk7FKVBwxs+1HsemU1ad/tGG3cHwhNaWtXHIKcEWoxTVRoE6noSlfP44ggwII//I/poDjhn7W5fpoN88MFs0Fgs3BI3T+s33+Yksy1yDV9c3n0H2/zXaPSTCp/bj7ER3WNBOrN2LbFxaaMcqmaCfyGomo4EyYoHiNfg9awhTkgRRamANW/5Nt6ESj//LsUlz3mwpB27v2XWpKnGXpO70QkIyFQyT8qBN5osyPBwcosFlf6sjsN96ZZzg0TGNRQpbIB/hWHmly6VyL62KbcOT0s6atE8ORQn0g5e4kPLYRhEkSW6q0s+qeo7FqtWVQo0rfKH49MeOlo5O/TnWkB2Qlt6wQIZWv/yRwAc+jH6xyXmZysLFC6eLh2IeJ2eXomxD44akULs+LMg4yvxb6atO/3aDg5mw3GSHWt+YtOnK4PJOjqsVNA5fB+PMzJyJoWxGAzbNl5NDTq0mOvtl2ceszBDf/pSBl529gvh7hX7d4dAJRWo3pBbjBhn4+AUe8NDaJrN+bEqPceYuc2D6j16tXm4oBMAC4d0FiN9v/DOmMv2UimIwU6q+61g9wFwZSEQ4QLwzVUup0z57iijMpiKjrnTSv0IOxlIbamWp+29t14q3sL4acR7zFIdrDIKZPvQE6NzIM+qmwpToV0apXWQ7/b72O4Fon5hiMh63rp7wCOgfSuCy44o30h2FWWXSLMEvFNWdQFYFum9lEr8+s3d+ngwePmFJvelPwVhGHDhdzy82eaXZ8CtAd7/eaH3DqP9LeM4cvK2ASKE21IsQ1/lF387zZgpJwLPqnBT+T+66PXYJU7N9WRBq7z255hU7xeTSEa0QmODlIYcr9M33LcIx+YvLFFyML8SvNNvixmPHBqZsz5PiZFMIBiqp+ieW7FRTGxjM2NJEYos842h36vsVfmArmhbTrVSASe82rM1Yg+lgUIJY1e6230oMw0EcuiNqgyNL0m3eotPZGQAXZ+eitvDsKNsZLU/FAQWkyVbxd9LuLSAi5vLz5+KLJNDy83TDSLxr8f2hnotZxsbBvVFcgsc2+cZTaoMxbBFwCyKwzWqPIuCA86kDYnAG0MgCTSCOIXxy0uk92o71Z1HOpNMetH65QQwStC97j81lBMigD2ES2t7AwKR2Ni1DzpYpdoJ6kQCusOJyEXYNzo1PYMePEebV8wjctrSSjRj7knIAuTlnX+4AZtXUQv5g0HrzhacX4LwOza2tl2FLgx4uxwmDBAlx7vy6Pq/w0NlMQ7QzctMyjz7Al6diP0pBmOELBhzA6nt52LCBKMRHNY07I5K6gGiLkR3YIUgv1YwoaiES7Zj1gX/dxY1IehFmg0++BMld5Vx+/qlNvgwcs3Ud+0DWBKNmDS8kQWKQPax5rH6PTO0Y7XdiS+A/5KH11TKbW17doSPVyIvpLi/zvxfBnOwfFX8cUHB4x3V2jcwacY5ZXf0mEMlt1fnvv7OSqRgPMfrOyVEqDXasiEozk7DMLFquCUlvZhKGkTkzDmTR1I0HiVkEX4G+t3HO2f0Nzl6VAIQpxbGlX19OSP/KUbv20+zTO04VuIijgzG528fBeV0qmULrqg4Sl5icNf6eQ7f79vneo17pDOVDJYhJcDhTxk7XJu0oD5oHWck9L7I1rRr6vg4ix+wJFobnoQMf8BxA9Xg3MBYZG0CC7RVUTIyT0A9ChXveBiV+e6TYUQwUgSXb2xKNB0DAOYRqrUDWkCbeQL/QnUtCj+mqMKKf6d5gr34eaxuvvb5gPhvNoPRIgy1771xEbclAZFQ5XyzuL94keWuZ9wedl5a0mC53VpyjYa7R9l9dh0AS8X+Dx7KAKLr5CCccEB/JCo5wziAXRuh6tRHG5H+ml9vhJbCvXTCT/lQvcKahSe/NcBamOIdQgufsFlEb9/L9succZ4S3OrnD262Xh6jijotKw6oL1ludfr2cimGzaZ7nnrsDtwqaQ+TzONBx5BoRCdx1w227xt8+Ev1yTEa3A62eW4aI6YjDkM7lZarmQdgjP2XuWQWW9DkhzvMUdf/oZDI2CuITERae5+P9sOX/mx6ZQFdU4Q/YhaNnD8zYfRsbHeHKTtlUj64EFbYr53nVi1JI0vf25yxBAduVScHJCIIpDXUk3qS3q9Td7mCLllljuMnU+9YOxO+POjubJ9dSOZUgTgQGizndAGPwv32mwID4KLXv6mjQGRSv/z7r6K9Xa/z6ek7erIIGP+NgAsKaSIBQXthH48XM6KLHBCPW/eHrOxqXzwPpffbocFVxl2ZrY48mYArJJyfnSI3HlAoSNuDPnUqDVboRbTcLCJqR1IPmgl+QECR/CNyTkBt2nVlZDqDSKBBm1PnQSXgEuDP0L/UYSjXChZWdk8uEk2B8wh1AWZZKm//Sg8t7xHsKKKCWhIF4mvdCza1bot6JcPXJjVAh8SeAlnVrL/2mnD9cRNb7ZAPCLqXYwCmGRW7sf7/pyBN5aNF5qEkpXFr0ohdGGCSnncYuFdyaOKK+lLMxupweClzY9A6F9zZG0f00FrE8LzgitA3N9SEZquu+ts7sDGZLB8MkbAKvN1W6f8GQuqA+5rD8ZRn7Tj1hWZV3vYPFNnozlmtf8IXrSvXyMI2LwyUiJTyzY7rLHSL2q3eVYHhrMRL+xWgQ3Kj9ExmYogd0eCPU+fiEX6QFGnf7PyWzc5JjpsIIIMD0MymEavxW9UzwgTYjbW7Z4xypKb1SZAFEqAn5xC2KRgQyYV2Jivw4VPZsYIQts1T8ojRux0nioBSx70640FY2vZk851AL6qCDWUANsjNZXwj0AzZtEKSWZ4mRMFZ72dmpkoMoDvEejtOcvvP2VVSXj7iaIm4nbHZ7HHFxCzlK/zGotjf/VMCHUg2GKs09weMtMyObjx8FoRCfuPxwPgYXHjRpoHfCfd6b2aHl3+PJauiVtSvTK/BLHYxnEGCpyhfOY8li8BKsXozLSQqBgOP4A4XQeWpjv4BCLG7UMTtMYnnR9TKyadKFAA4b3cssK+jpFmV+Psl7dvqp9JMWypph0KBgWtaLbbxyCCNysSm3j/Vav5zSNAoTovSoTQp2SfLFLTCf12c/SRIn+BD2eGMojMx0BwV0QZH9XWMz2+PjQ2C8vCLZAzoiJZomLhpZkO+KoSfxukd11J/KmlLeq719R760tfXcOEWGfPN/9MwfRvbtfnTnrLFRxVm3+fBU8bF+UpdW016M7ODu0MIYfJh+BZP/QjkkXKX+nchuTlL/qWoatIgQKy27VqL+XgtYDUXg/t8yTbyB8wg9wOS2XhelKn87RANz0RKtHRo2SOmUlAacD+H3aPmKxawSeAWLKrURGYMSsm8FZYidapq9GaI2yWh46TIvD2a+NJmyOXUadXk1DMGadJ90XpWAGbcxFQiwOLkEncWw5qaRv/8tcanpWieH1vkOyDmymZJDuL7ov7bwjd0fxYhlArbdsJw1n1NB9/wkAAL53hi+r1OUjuU2VO6TsjsEv0qEKKV5CAxV6rp+wbYFCeHpwdR+XiDlrz/5jrxYIRQkyg42CgdtkOBq8BKtTgFXHqMQgcrYQ3d+zCMlqwtJCUB8uYrgavAJrE4zu1deKwct2Rm4FlI0e3DkW4e4xXmCV4nNp7INi/2ICrT2607KyM4QdItpvDOmVDZlYHJmwG92Qf1O0Wnhx15Mx12bfVG15gEtHE75+AgIgY4GjRzE6Qmw6fvgWyfxAAI8AVcVcbrWurnAPAbcLOjYL1KEqLpomksWziFBMWLOM4uEe4+5droIUrrrAWFPstyRchlrajsVlG0nzFgAL87hMo8EelqODPaex8EeHGCNJhqGLgDpPKAMnUPeNQNcaVZVvRSiavrPo/VyV8E7D5X05uTqxA6/qWU171/NarR/p6J0tOECmkJLpK92nTsNOjBC5jQrjHpRwokeRG9KAqtAA+MH67Zho6pTxnUePqP750qePVhLhRXXzHp4LKAgB54oCIUOZIo5eliGCFGGkv27Xm0kKEuu56/a8lWFAcrmysEyOnO6Iq61Kr8S/0A5Xq5QBDl0SMz4EPzEUA0H3jkqYWHLIVSYnmY7x36ReThLJxDtPvcnNamGDnj/5Q2+oDfQKX8mUEfkJIEgGs9+r5ikifoSbH1FBP8/YZ5Zm+6gZ1gi+P0VEuzsQL+1rEIRKzTp0NzjFNc1ARttnSVbt1kx3KJltVUTQk5ATP+4z7ToYEePkbqQ/WZpLkzJ4557ZFItbmTUDBUOr2DE6Cl5iK0Hk8XdXjs0+JkU4WZJcQQQSr2r91o5yU0ZbA0MXzvxRH7Lza8LXiCGc5ETwDEPYsylg/YOubQw1mONAHCaQcTh3KUP6bqPE4WbXTu7OFyDzraidp1CmF86vX11XMwPhL/+M2gt+m95RDqxMDJLF6zh4p4+79Fy7BiBeKtNaaDiTTuY+5CeW6pleRjgvz9opWYT/QVQ2DD5pnGiDoRIev4AgnjHgUvNIUL9MrXJBT+L/y8QKqwdRWbfiMcvHJuSyS4mWRVrW3df0FVbrjlCUH7YYcZOJ2PxzKXw4y86ZM3GIhW1EIKktGQCxohQUOj/W3Tns4L+SNjlNeLIXa8AqbSHOYyJUKDgTX0dHnFe07ZnDfjNU9WxsqJk1ZKGzccg60B7JJuYUJnUHHZNt92SDBzIpXVYZeHXboIGhwDKvGQ2B3JP9vUWSuTgFkdz0a2NtOWCzwjZ5exLUE6lTA+2EPUMwTgoNKeCd1eiyT4Me5PBUU8ydSIFFUeQO1yoeVC27BqSDka39k4n4dvZMloSVjSRz1BsMkOSOZtedkitKIROBC4FymSN8P+SdIp/y+UtKSefpNHvn8CWdzQis1s9qwklqKsFTIPNZCzPaU8zk9IJ9liWJVillj02ABXD9Oy4xDpkv3t93uq+qIVoNuK1Al1aMGYXQ3OTzOxufT5x3fMX2kNsCyFNlJ1+thxKfO17WKEQ8fKZg3/FpxYlqNTZRE00lUwp5tYHuVAmFapqAvRXbYgHUUjDLgawyFORm12x9G/V1tuuj4ukjZvFgjYbhdkP/ukkvLMUBeje0fUdmeWxxsmHit2f/q/xsSect3dPPEzuWMuj41vea2XeiEBG+wzFzucGcHjYHmHlOAj/7hFo+eGJ1a9iqZhR2O7l5XK8X48IyEcvGURLrzcYqAogZR3+HHWGvrZB71nKD1STKZBMyc5JH8HBPE/LFFsKm1PCEg9lZQLBntwNUJuANUz4355pb9x13bAj7dq8nBzJsh7wwDp5pGulDekiZC8DJWuOS1quFK1eR00UUbWmt4GgGuao13jX6eSKVKZvMdllnMTr3e3rT9YGvzsVIP4kbPHuOsvwQWJecddoWwOScCHBA2BZcr284CmYHb9Y30Z6kggmgvd7sBinV1HdDsc2Z2pYHigxbUODzn+tHyPIohTwg6x3uMqy2BAKVYylXeHju9hlOoxLrPP/6L0JSR4i10Wg12mLdIpuzbGP0XYJUtwf2PD2VSYimHJKRp9JUtOsJy2TWc7UvevXfK5x9dCiDbMZbW/AZgCe7A6PeaWK9tx1UcEoiIcG4L9g4WzbNZJ2DiY54kYCN7eqenYyaSJsgA6T7rtEa/Tg73YBunsnqVksS9qxRmvetO6JYdsqstrjaNkX1QSlvNsXYhNWc0zTVTDJm0IaFsJT1y7HUORztUg1rAgIRhoawWNAQ/MHI4YqYubDb0fpaq17/lOW4YxKfiRoTWdfq9sbp8PEicbWAkdN8mtzdSWigVBBvXHt6h4e6TTUUEqH9MHw+LKT50sW8cIpgpk1quTABFXQYf7kujBpOy91NPEWzRu9Hv20QNjhBRZY902tlCGVV0jbtFB/TQXB1lSCKR/jl8OznHLoSg4gpF60QF879RtXbUXZP/h5g7zvLWJxHe5iXAvG8KkW3QgcREKza0bKG5ukWOxhHP0xaZdTbYQ4otSb1mr7qBaPlvDy4uC7gi/mrkNlzQJzn7hjEyZ2lQw7O6X5LQeSfVL+CwvMl0Dsn8xnbkEEWJT/VQcFmXvLzo9QWviUsHiRj8Nc0MyyTOGeKFrhb48C7HPRPqM1Q6figq2mRTiL1GrQoSZ/HxEO1J1aklHaauaCzgkM5AMXttrJSnnkhC3fa/ejEwZ2RWghGT2TulnPdnhjuLUglGzGC3x2CbFHQWQY1WY+0l92G/zmFdt9YdPgcPJsScBCcusT4YTpy04MDcWLfzk4UW6xjX4lI9pXbeJKJoOoWjgEpJ8zEeUbrTzrqjQz7l10AOl9VupLApHVF+T3eFiQclE75/r9QP9xF1HQ2IUN3S7uQ0f1LYPI3c4MXP6WWMQZB8yH5YjaKftYadJCaLPJcohkrGLm9JVB8j/gMCkdwbg08rR5fa/FhnRxPPCJyJfV5tudrzbvszup6+JeDDFjeaIIDY7Z7WOp+KlrYj4LQitUz4dM6K/4a3rbOL0bkDYRvUPooVqoSp5YGvOOUY22x8lZSkkx2GDVrWgyysr6ngb+6SbjPsVou3aJtKfpr2tgULA0fHoXjhTnUWEFWFfAFn2qf7p+Dtlrb8D01Z/Zy44wSpCRgjLrhDaVCGrdtDuSA20KvM9Hy8ICQ2OqcFidYrnE/neaCLEvfMiAxk3Byv4zhFQ7dcSUUTwfHTwahs+7rkNfkwnb3TY0jq3unGqy1SoqoucBe3bs5jp1QmO8WwCz17RdTFVNYGP725kc2je3+UANjtaLCWJdnQmHTA5bPKn9GtBE+bkZvPB1weoLhe3OmBTUE94vhpVsL6QT9SsVW1EKFoCxClJ166YivLa7tGvAhuOkjpush4VYfxRxn6fE147R6z2YIPgI29/LM1nZusdGOycQKZ/W4m1I3zgetorhNiwFAWT1xpdriMU6rCTSB+2EWghkZGZJfQ6V+RnwLS3TxLvObeh5UoZ7LJcHiQeOMfAP87wLaH7ng2n5oyM+OF2yCK3mGcQQaVf1ag1gSybWXmxSUogRIhkrGzV2AUL4TjGJZl744TDk/tvkIdAQT3zXzPhFmqLoVB4BPoue/Y8XEZprTXbONrIASt5U04kyVqxBICKZlVWBspE2gYmx+EuTylrT30WqPSei3YBjZk1msnbBwCrD/tVj3ScTjir7InGJblkf3v3r3oLGc9zVEHXXlcoBSd1IY538STCQBneZ49bHVYJjtDs77p4QCEj8H+R1X+LX8B+OY3/YDMab+x41Nbx6J6kYNEDFPCQVJ75W8SkEmQLTM0MW5X1LAWRZWcbfb+W+oYiFU6QweDawpRpT0qF8RPWM/yYW8/KhNV93eJMFRiq1CvsXB5IQ2QPf9Fm5u5pRoxQwRkysxMwWHpcwnNebN3Qu8rx8lV+hO46QdRJCrQ0lc40VmmIPUfHjuHwjuQGE8Idx7O3VfdmcEZdVaZCg2YxlbdScLClv+oQGq9u8CxtcgQyP+Z4fs9EqqV7H7fNT6NSy2AdxzDjDa+uRi+pAGu2JUgmU6qITEkjGkYLkAYTCh9vnWqgxgwcnqPCkH8Pw68d3PCoW0SXN5ndPDui0vqpWMmjZNtmoiY3D4MI/oxYdMkBOhzRzo7TPg3bAHPFii2Jp09MJwuD2VGiT4RQ+dN1UR23q9DRMBgOchd6L9C9AI1xaHaGilSFr5vFdxpt5GzhHYIjSxkF7v6Uz15WfiJzOApGNlGlEWfGdrlmDttMWZOI26LLPhmt7g3ZEimTEaow1U5asiYIF5O+vrDrfJpqRhQzOMUFCF9GKh2Z0SbnIMm5jMyYadxvJc+pIrLMDTvXR99JhGdMOcC1fOHEEIThpcw6QGkpYhKi+4PKbRSWDtD0feB2LOsBQUTF1E0TD/t016WjUlag8475hoLJJZmtdYHuvRsk6BxLnYXaeAdsKTrZURP++F2FKFMluNLKvHTVnfo2Q7IYj9miYqjV8cny/+oU80kGmShLc60Q5totD1hcuOLCniO+FWZfm75uSfps3ghh7dg5Bw03hHWvOnA5qEHud0DXc31QkrmbLqbkK9bcyfMXrSuUi3xbFxA4g6l5NEmrVQ1lufEPNy8Ji76aQHS8s+y6wgGstokxMyRek+u5lVfSyfl0rJW/kNfxlzSiQQ2ndRdnL2wq7VYZ9WtXOhm0KI1/x9bcZsunKuMK4lFqLy59C7KnmKnqeAFrAOCPyT+5Z2CS7O0hu9rqNK8IAFSv99MwsHKqWytt7wDUQWBoYWRA2nuUHJyrKsq7izPZSJ5VV81i2LaLMJnKnmQfvRx0iYWQjNBLPXwbKd9zJomtQZF5WDWJVDVys3cfLFna3xC4sFN8PzXGemNL3fPgNsVAr0N/rWXUgVQI39OnD3BcDRuiZyiyU5YZg2nM5iR0sP2aEd1ITIr1na9rFuw4P3vnNWBGUTDEqqEj2kFM2z3iz77a5fb8hJ2pRcV60MQw5s4OIlTDdGo8jnIBRxcljRs2CS/mLCzXfqVTcPG5DYNqxs7+vfixP6AQd77mM77S6us/hSAg2BiyZX4OB2xWHw/qKDqeeianBMl2S3A3X/Hx5m4KcAQzW9SXgnjLcr057EZ+art0VjlsvL07ULSVzspo6+XfiPyWSw41AgwZ0C6hn+OapT1qxFtpCTvylzYNE8ex5i1HiLaPPXBfljoiiCC1upztSPKUJcFTQ3Ra6Wdt9F76jR6xLzJYRSALm25kzYeYMou3t/juTmbiVOELpzxsYAH35Vm+gLbcHBkvviJD0vAx3QIxwQXhPY8/AfrgP0IdhL/t4SUIYlVrgnaaFJaUoOu1Pw9t5p94R1nfywsMdjZBFX+p9p/Z7MOCxHclnUgOhR4QsdnZ57crz3ga+erD+k5deLv1qQdcmuFbL4eG+3Eobn+1eBykDEbCOKx3u+jM00bS5gCzuhIyPGuA/VZbZY3aUkZhykcG2bRP64744k4vmPULEpT930xqwRDOIpyk1eCbtrTbGCgaUqJ+TLetYbJ1+EqProgUsEzXELPink3SbD/dXIJRd4rZPuz+Ol3krv/869CWDULQKthBEigc2garoZH5TOnx3nOBe7QIuCYy4Wanavs/9n0dKPVM5E31TTyCdFc9xq9KgEXyVbdPj6o4FsI+iKbhvNa4qCdFZj8tEwQHOHsgMQ8HeUugq4OHS3JzH+C9wHJ7MLoSY+I7liTnl0xKSpckgM33VPVfm4h3QjKCkEkhWuoyYr1+r1K9LI46o1IaAiDkVSEBhufgTBr6YicC+lAT5VgtIn4ZND3tYPwKYEQE4nhgLf2WbJ6dk44GAobJuj+7FAwJqhBJVA+j8nW66RysBW2KrYd/CSDPs/USMSt3fQj3+z0dgJsOSWndbchEYtR483aN4sEb1EMxrb52+gwsoYMBunQAOz/rbq1foVN6rSfpmuvhxdrLTfW+7v01geLXAy+BSDOyTRxzSYXOpu8YsvYD/UJ/TDhB6Y9PbaKoho8iHJAh3EwsPQkB2PKeORR8oY0/UoNNMLKKWKzm17ESKHy1QpfORV+dBZvOfKcM5jT2KpGcnRCoOLL8WDKmJhusd7epn2+ja6o3KtEkxrE4DNl80C3pmep+m+xLyjGf0jYuutIAt216OehdevH9/PFX0b41FjKDKdWynHtKCIc70HI2llKfBiSpp9JUudxi/9P4/1WsbttNSpHyvku4WpMaX8I6kYo91KVt4HA7AxWtplM0PyiaHCLDt0k129cg1HKOV1Ny+e3cQut/oom//An+Mwmi8bKcbEHsD5tnN4ioQk9UL41WSPR5VeXOqCdw83T/UN7teMz9CEje9cda1JweA+99R/+HXJyDyEFACbvxR3umHW3z3NxvHFWJAxnufntvsJksqp4Kw2tDfQZLRweKEAAucRHQaBuDiJX2l+oUFCTtlzf85mV1q6y/w8xTjE9/0quBbIdYcdCtMMRjtoHzVTWkR86ijCmXfjmI3FGKvBb1dmrxgZOeL5sPwsO3AxmkzVi5EptHdP5sbK+77NPACDjfN695Wp6+4FF7579cZIe6gTnUK2iMcNlbqvyqQP+Xw1inev8/hUbs733kvSY5bm5OtVs/OV1oB2xnuGSg+fYGoZnFUMnklbUTIVELgpRLS8X00Nw+S01beciE/zgESvsDKhFmzWoaINrU68Fvs5pep91cDZ2BetCknGEky2o9/2im7oplOOjmGrCEKScOyH4uvmmdAFXGi8utigzRFFIrxHIM8OmyISOLMvxdyQm1xMUIxzDYADs1iStSjPjF486A3RewCchPi5Yy8NMU4UtuJerKMHY2juppT8tP/uLB6tBYCSkBcxnPFf3OQhTFsrhpyR2DnaHsUcQWRXVp1BpGQSWx7lPrS6sZKbh9R1GJPJ76yC2Yar5oW65pJvR6nexg3uvfsWJq6QW8NULpbLMV4JgMKuLrdXeBeHek8GRDaNvbECKwkwmFf4K8bki82YFa6KskTxeZe9MvLWvRzl1EC8eXxzvrXbXT7c4dZCfWqPtNkjn4sAQN4OmX6KhA1z9dmaIblXaFVEM4sgxLyrNI6BesZIysu2MMwrEWgbRInzTygmw8dmbnm8iFSFZenGK8jB8iuSN9o2BJl7Ayk2jKXncSaZuTxa+mshgVE78kwbTHboKxYWIUFhdFEYNCnxk/C6XaN9E3FEE4HSr3ve8J+oM5dPLSJdNEus8p2QJgZDThDZP+CjqMshvXay2UsXafacr4f/J3gWeNYMfYJT3LDlNyDIstZFDucrBB+rMGyLwyuiqFUv+ZmP4qlRvCcirjuGkf29TeVh+ZZjITDlN49M3t6Nnz22UlQCXmKmTaHKiXt32Y58CSXzA/49QxsHWylWJYPHJdlCbFKC/xtzjEnVCJQPrV+BMXX+NKUzUmNfs7Nf0DW1Dt0y/5yKLBlC/h/yK8fuMx3dAz/eU/mCmJCIrVGAueDBp2WjCjf/MaNi9/haQFMe6fIBx3GuQNjKaNPipk0dWHONMyMbblfweAaWJ+4NB1wKjpzNNXdAJzlVpHbEnw3B4wmgjaHGODzPnZS4mDEtLMH697aypRM0FJbDXk476A9RdgNP/dsyqmdal48MZYNcXLRmIvad3RGjTDzGizpVusZ1HhJ04m+bNaL9O2lxwyrTEdE6b3EO4nxceG5YDOqfBZPsc/R9Xxo4gcaqwYwbEHCYTqq4xyeMZnLRS3vrpmJdzymt12fv1VgmdlSNd1FZOJSKqjHk2dzpEpwVeSHieseySZweqD+dgZaoTGg7s7O2ptPRbcx5+Ui5JSmxpTytwb4TdFeS2UqVjTJIZiTIeo3KEqlzPRlVHfGDd+lNzJ8gMnxL8237ufXvyZRCEdVcVo2sdiNnzM1a1hwa4E03kd0YHPrnIJGBC5IrdBFIlOeJggAJngWhtWaHCnKdCi4fw4P83YXdYJWbzO7bwnL6XjV1YuTeLOd5uqkI1R7DiM3paWrxNJCHYz7bigKBZcj69cGC9/5bhLv4rs07WO1tfZhD0CCak5CoMDC/nYi88VvK8ySGtF0cl7W3pmgcnT5RWLo6EmwGBqkU4Ceht9pHmk2sLuhQ7yQBlSVaG2RNS+ozIRjcIwSfjh4Gf815y/Fo35p15oYNy65IMCZ8FtVyEAThzl/Xdvm2Z2ty8Qr2mIdqceT37Z4EzcI5tAPgS6KDqggc9ZVmoUSHhhWsWQBaJyspLT0mBTE5sg0hQx6lBQTYhNZ0It5GdRnHAIv4BpZNlo5KJe+1Ka+lf0bhBoYXUOuHByZpEc3Na3NJPZAKgC4UzPU1H92pyYsLx3afjJ7h8MIjIXkie/tobd5Otz/eAukEGPm0LupQ4Rn41CbC/f0lS2PEQagjZ2VIU4NiUGRJc5Il+Cw6ES/OOyVX4KSFHOwIBn1W+Zf/kXJJll04fVNPzeHR/tJB3dQPvUlw1+FZ6G/MgflWRjP5lBBaQpZjdPqlJpSZznK2BlZBf7EyCTSaO3VhuEm9+4yuRVgpl+JPvleeoH7tVZr5AGuMTCsHqTYRVF+5LXg6foqEzDv5ItlLdHixa/MST8uzjO+x1DE+xMDSQ/Uo0t62HNOpB6bwk8U1OYqBRW3RpEQAp5+XEQg4IdJRWnxgoUICOFEU4Y44F3+jcOLRY42sV2ChCVTxgyWG6MWURE6raikl7xpaXOGPtEe7kJ60pGbK7sMWWgdv3YPTvZtBkS3udYsvunagCZ2YAx5ZcRixx6eIXaCeS2zKqC+P8Z8sGFuCRiHtgaOJWWKzNMVOUyE93F7GKj2deVGcNpi79RJ8xx9MQA/e30S3Zlls3UgpLo2tSyG++sCgEeWUfqRiHZSC2bv2O47wsHpWZ299K3p4UWoJuClxwXu5vtyglClbFIA7iO158x5F0MoioWMoufO3UURvrwy7vwTEmZgoR9602rtkZ+Bg2kbeKUCwxVd7/q1sOZM+/i6+HhS6iVjdjIymMQ2wDmfXHrUocpR6ftsriRoULL+dnFFQ/oPJ25HsHg6wV3A+Oifbkzk0mmwO+c/YoH0mjs5cxR16Ilxg53DE0ZPABvtN9vncQthh376GE+w4cCPyY1rhV3qQlTm0SVw+iat5EitD4n0VnyiFACmyYRmyIJETGhUgYfaqkAurtLQky1Pm1tfE8U8DnfXo1RFKu3wTy1BL3xJtdgYIQUD6KP9hxtJWnfaceEbvOUekgCs1oXsLHKrViGu8f0ox3JqqJDV9BzQR8voL4U7OKSz6vEco3YTduZsFCmQhoGwHMYmyo+++Q87oYq6nlYUYTNBs9WhpiM91J9wFuJR/pLaDCRdu1LYzTvlir57eqBNiT0HM+gWcpN/KNZVfFPM2L8JwlwcnGiZ+ozzuLiZVJGgraBdfbSlTp++vOXWOXazBccgtQY5oqbOiHJb9PXX+nVxHI9wdABxfw3EL/uTOBrK74dbBd0JYFGellE2VDVrziCBfXY77N6E7X1vXIjlel4mL0QSIftaB7+RNLIu9EV2LLKyRcldF+yWSh8KF11aRSYQOH71o++T3GlAP9IX/hC/+t9gUu3wWzfSzMNsKGeI5TnPJu4wZVrpRL/T1ay8dUnDSPugi1PVWOTYJtTUnsC2xcXBIw9ySWVHLkm2M7LFxfr7BgprPvr7asHyJJ/LpsQNrR3sipU4jWZ96iG0HJnRIq/UVRJHeAkh2sgsXvtM8C2gzoYWwZQut//3rqQcvzKEnV1Fn/UdpjOo5TL72mDdN78ddiA5NO23llntfoSCclwd/kwUzJIYJIm0gqa6tWKXdxlclDlfSObvPDQaqZTb9LAbibANpFvlsz5ryW2goh/NaJsyg8buH/z0OIfzfSqPXUqHuJaj9+rF9i79uldKUzpKqLajUDAs8FepsfG3f9XfgxWwItZHZEoMkJOBWVS0Lrps5FzjIbcpQjWZf0a8oq6ZUAJnWkchlfqHpGT3w26go9hfyswYC4smoDjQVAIrr9t5HFgzswOtUy+DZuciJPsoevknzYftdRGEzxNw2tooSFTb52wnUJaPnkYc50n/RMDhYyR3nqL84I1ODYe3UqUY0OAaAjsg46cpeT/rqG9KgjMJOIn9HnQyt8HNJ5vFvv1qn4AlcVPbm7djO7XFrmhqiifR8U0bn57YnHbk8Y4jb1sdp5toAesiDt73XoXSZu+8LQ/vE3c3JSGhgzADcAZ5AWMvC3x38yDXVWBZALN+gJ2AwSfwzfKC9kQrcA6jOI4wn5g5UJzKXurC9pkGCvhtrlTOmAzeC+CAfk3G9ziOaXSRJUcHKqVmV79QWUieswDnT3KY8HgAt/o2CJ2jjbZf5AknyY/uMl3xlkL+FlbifbUtNfMPpEjLDcx2YugAR/Ial9lak+Bb/nNWG6JbUmOcxenZCk/GBQe3L9JZFlbC1p/ya8/ec2JMPk/DW6ElA7FUTLuoNJfFe1BaExhriwp9xR4eesukk4n7tNTWeop77pPermBEKLjiGnMvLy8frDfmm9XCP4bhESdNn2imATAVRExtR/qhZECQq2DMVklMMQVbkKG4U0rl4//35khWnAmCBTKCgsqQ3iFRpxiQRYC/TeyMKdoW1mP1KXxWMmBImKgbLxnKq1zNZEQ21FVSWEQ66+LkSU403yvWm5QPy45OjB0z7nGODI3b2SJ3E2DfQorR6Zt7ryj4cYGoAoiSYPRy+mQlDU2SF6SeXds33OxVOm+oV2HdFX2u+l7cfQiBHfW21yjlcWElSkFMPUtehLyyF+jZ6R9qLqqGbWePEOD0jj8/U4bOp9ASC/O7KwWSRMLG4GZoJXTCFo67PnT5Yq/SuIxdDORvxufkg2OKBdZ6HUu2MV8+2ClPzz6doqdQkT++tqgz2aI1JPcnJB/aw/YR6I2vkGEqAJabrVcvOXvCuSq5+JIfDQSoOn3dvbDQ8tra9rZdSo0zUpZPHiAg08I0DcflW8AxHnHRmuTFpAIfD5NP/oLP5rcaUJlHJkr8xd+/LtaugqICAPBO3PUX9nK3CUmbNjlQxe4vtbwF9ZvTJfzdb/XLw40mJHqEXAcwTfX/ftkos/cX1ii0woTTK8NBUtspsTzZcxopcn46kUXwB01Nolh5iVfKLY52tNIHBuvh+rGkpEcIBu5X7geelilMaQxGescm8wb16yiJ4Gx6gEJ1KNn+V68ymiq/71r3TUGBlRD4IJNTrm3sZYNHEifEH5t1rJOSm7ldx1gF54ZWocHObIuvnPPrq+6qg1KldCrNwx0i4G/QpSeaSXMSEz9n/nfb9O6bNW6zOTQAiIVT8JlVxWA4WI9V5eQUvpr9+Khj3dnCU+5aeaNfXZljU5P3/332Sv+usRjvyO0F86Vi/b6UOEfuQ9upOLd/KMn6sWmaft2Edilsi2NUsaH/7JuTpFogsKsfqHXKTYO1bhV4eD2VbYNXVndWzvEeJU0WwBb3EVm0kQw9eCM8++KGYnYdDjhFIBvW4qcTcYzVVDPSBC2o3MtnlffchINtmVjjEINfFBNGEpWNixd7wBCaDcAq8z4WIdtOVpjktpyH1+9DlL3bg+aGONGtkcYz3v74Ni1Mjg7DwbUAchrlCsg2GQiMz2HxxcbSzXLomDfbLTrl5wmX8O+TnksUyf2bENQYwR+/RlwTdxBIKmvULA4fCfJo2U+c/pNAiQBF+s5qGUktHWDfzva2nbTLXRuS0JAiLJslSMgDUV9fZxtB9sltPt93TZAWB9I50EkKTCsZhK/lb/NAby3BBmzKSlcWvXOt/9IgHvKjjk0iINJPq5v8iBsQuwx0XGlSu/fKq/3C6xpgks8e4dKKFdzKGrJcYhNHhYlYESMYEn+0KF1SkYl+ZqjtTjDDwkau6gRnuaBE2VU+J/06nPFAp+Mb79laP0EizUBfkq/5z+4zTxl0Uu9idg1bIn1mIjDbY//gXucECxaeygw+oWComFJiuOP4Jn79QhF4HZTXa05sOVuC9y/BEDuEOTFe6JK6Nn6vwCXyFVmZnYtL1tCnbnA18ASmLvl0szXixcEaO/cRoPRI2Id9cLM8ANUY8phjTo9P8SymNSf/jrzOoGtJWmi+69s5xlXk1oGCd5TRh1R0GJweUB/ToZgurGf9S3SZNIfysWZZ7oIQ3zrlvydJjonTkrfKCFpvelcCjxkUi7Z7mCVE133LOXwgc6BKnpXrXcKKaV05njjWl2wW+x0Apiey/pTgFV3O6PjtckVHDtygEfUAg2QYsKQmPfPPAPcYGwhwe5TX1mnIShU/MRy1NaAWo3/37CgTCdzQFq2RhMLjBhAwfvY1I1dfGEICsEjd+IUCn4osfupLC9BsAifxl5nAPGCdf4OkJtAB5vZGm+N659XJfbFluaOajOFy7V8EV0c/FbI5U9znrKQAf52zbmVO3CAZ9Ktebtz2Ksc2RkncAex5BD2DmpeHlIhug0McatDMWCE5fNaGsdcryvaF+gjBdKO8f2pekAU1mq8cjQj1U7+f9Ggj/nQhQzGMUKC4i+BlMjOHREeb9Rgo1ZktnJMqANpRelL2T46pmUGAhyDyOBqRYrzrE7UKhkdRBmcK7YF9n13MVDRVvRbJ4b7Zq0O1/TfXEK2XQVV5/AVa9WRd80dYUZQ6pyFSKCg8bb9BcdBhkGW7MUTujYFblGYmNDF09eRM8QWf/Ow8GE/cA5d8h/ukSm+iigO3OaL2agrOCVP2j8S7AomeMVUbz5NcIalZHgcbIJwkPY1IXwCyR4pDxE+w0h+pXcO6hnvPV/JM1khqd+vlfiSfpbpQteXa7fUu8FTJT0yB36nPAb6dasqy/KPsWvJhw1fVqw9aomSryqsth3DecezO9bJIHDqmJvgkL7Zk5OJmgQc/66/q4gayCyrAOi04hH0geDR7FcQ6+oGjWKozPtKv8bkuZzsPN6PFp/Vy0SVWCPeP56Dus4Y8qt4WFAqwz1I/gWdFaMPa9Y8fqK1RYgSEctM3lirZcBuGhGQ4E7wGyoopIIuGkk8SHezeACjT1YUmToY4vFlfFwjEGSDUBiA7dn/lAxjfeh4ot3aX96nKDgAKCiU1XVZQaZzJmO8gKDwYqsrmKT1s+AtUzUD6RC/W3sjJ6kPqIOOPEAI6FLfO2F6DOpsOlbIyS3W/atjY3oAUGy/WlZScLxfxX3lYza6eBUoQPtaoa09dOCNYFjxTPe7dE4DM+w//dwpDr6gknTWeqc5bLJFT+qGrADXoGRX4cQlJ6WUjJPhKT7ogVqNTNBEojWS9IzH71A0D/7L2B4FMT9WGb+cRjgeCbLIUWPgsWM4SFj5k+uRDtgRuFSRf9mLCb98vqruOzOalm8W8LM3VEZF9S3JhEW+AL/i1/D06XfOBNh/d/5zRP5v9WnQE+imkd3LYEUno1fFQdetgnbPY5hege22yVBcfaCy3OQu5k4EyN4z/1VCUuo5yzutBvfIwzhl0T99tgr/gkI+NTnwu/9VXCuxNYTExCinly0HGnMpfpZX7hLaeQap76YY4NHX+ASEe4jSXrzby6ma1f7qbaVCFvQplog2wGVogvjrvzvHfAk4KzRzsDcA0LEzUswu1RHwUanX253w3OgI2Nk+x9K3u7ADaDgBFO/6xSfzyythQITgS05QdPEO5bkXjPQBnHOh39cpxpHJ+ocpIvyhX2WRaXB1pCYl7yQSlQJaVG30CKAD4X9AV+v8WIwKpLY+rLyXZnfcPb83vTLew8rFISOgMrl2gvo9mkmMyoHWaChpkCjz2fbbQ79LsISCGczQs6uNVboPa+dsyavHMi4U+vCFLRehFqgpB7BlgepkKa4BPLMbO1Aw90U0QmAjXC5ngsPVAK277EaZwgoM7LfSsZF39HfVgvmnUggciSjEiIkZAb/UHAxg3okWz0txt5EAkPWDvzb335TLomVx79VgwydFE+ysy0iNxEf3dZuze/RHtYHMbpaPZF/khYd1VYbVS9GBJ5dkeHfQC6+y8sAtrVOZfj7K9jx9i6vN7LWhy0ILpKzt4TPAbysbAVF86ymrByKK8xuRgdp/yi8eCaoFo+z7yQ2B52lcgurdkcRrdmqrRlbSS2VMHSMzRqAsi2RmTa4BKuT5P56w5aIAU7pg86KgS+ovh+j/obQ305a/bGA3pwjQ0HNXXXaMCZdvBKoMogkuHgOBsXhPlnhGzf2yF270et5/BdsTjO3pErVUnjDFULVIBvosA6Lb95u4tkOruVD/KXTwIcMG0tg6M/822HyJ1LpjpfJ5mDjLmlaoTCmzPnpxIWodaISgbzIMNSf7IMx2Tu95AEa8IIQKpxO5PHeo4wiMxw1uOUnKVmw9h7CfUHQrJPPkSLe1dZ/P3FHh2qL6YzuRzueCa131wcVnhhPcm3b0th0olRc+RgPNKwqmqIHNibnh0B4WFGFflvTOnkpRnFxZtp676CQCq0YYol06uUPRWVcYmj2WcZ0Hos1kIDiBv9S2lFqFrT3107v3RMG0PxgMsCFnZkt7/9qvNlGMeLC8q7BDp3NBMt7oLPovMOrJ+U3E1Qo5C9uMDYZROdPIrradJxgQGg5zbPQV3gjVh8HSSJuPfcNZleapeDc0gAMS/jTULONFqivyd9GJmJHbFznnU2UeXwOkTg9CuZktK1l9A8Ryzg8eKv0AJvlrnjy60fPLXQGnjisuDcX8X9iRxJ9URjnQ05b/QiPZsmnVmZrbQIBB65RWkjwhzjjcq4+MMO6cEpgWWUODnnqeTMdCHPk/psVO1zMNRhSWt6EVQwZ0ZrihAacxlso/8LiBWrtgFaBjXCgQVy6Viiy/YrvC1dUeKFOAPtmH+l+2/+tGqgEm5R2ZYpU31wvX7AnjFojL//B5Lj6glFM+jGeyZICtyTwTv73cvRyJlLxMteARw4E5ahQByw0KcemvbZYr/9MQ6NTGJ17qg9I8Yk5q9dLiQ4zLiijna6s+vwCwHew855elo00Ydsy0OnrM/aRiOWS+SyRy5yUVpOIrBGNudMDNHlCGp9QKv6QiQ62xe4cmdsFaAiK+16GsSwY/7Wz3JfnPOlp0VFDGDfrX7hhnOYqud2fanbodDL5Tv/AdZ4j5Rv6L4HpU8A4TPXZ64GaowGVARsorimEz0G+es/mORjMgb9I3Yo6VzA42DByt481R2SksmR+/VNY4E6XQEn5F/GOza7gmsjE7iKhq9Igl2IJ+5IuSOPfxlzAeDEE+k8kMCB/dGnkgwZqDvD+nSpXbp7HhfJnFKhfJkTE5ztyRx3293dM67l755BG2oQrZMWVIK6lNtuvUEsiB0Mo0qbv+rycGN/86DhMivRxx178hC3vTTj+zfmC/6+tJiBX6IeiyaZiRD+ZvcspdgSipZAvYRFvZxZxr+1ckGLNJaoJXPNUdat71yKc5Oj/Uqc/UDtOtxL+ejxXQOPHHXsVGXR0dn1hoiQmH35dk6/EKzUMCLFGRVjBHCY4f/7Lfzjy5IcOg4Xi3EB9B3X3/bX7zK7zfJ8JK5T2UEkZcdPGM+ZQ061cu3pA49wiU0LB1QfwNbZQ0encKZp8QmpFEuT5ohnJUhdbwJhYdHqpsH1ob2eEoLtmSsdpb72PQo8Ca8ut7I3RLwLW20fBLUSUuy0yMAWJsWWdzxQt/oWkBHFTg9QYIfazc+1iVWIqfEyrlGM8C0WSymT+6jFA7XbfT4xw8koVfXgKY7KRVJ3Br9gfu3Ec7lT+Fppmy5YkiDf5C9jNT66JECXaK9tEruIBbNAFb8JfeoYSLHpVJtMGuST+VibsGN5kuoHLqLKPkK+kTQk9TL/ZHG2CYiNybCvHvAOyaCt/+DXvGnNkxMNuSmoEQRQwmOpWauszsVnqCrEf0qIEGwZFczvyUPoa0hIbvKvy+cnGNuR7T0jqmggEYqIyvRY/nZytWr+m5g1/6NsPK7qeo2xWNk1uSaN30F1+bDuDFh2kinMJtjByXZfQSA4rvAx/BFD5MVFV4dnpPBemxjTOFUniffjJU/BkrZZyQKnke6JgDkRQGXeqyUUpkAes00lRNAFKNEUMZMWTf9EP2xZIkmI5FreGJe+X8vuSjb/O0zHJcfvsYWZjtEwiEEAIpRECfcDKUbrrbOeXL0WwDiJS5NwYNTms+EQPbZV+jL7zV1x+4Rq6W83shXIlE0TdSCuWQ+sTuVifKqOAX1vVSadw5UqS7UO1LfKFdNyqr3vyqTZqLgCbmiBeJhZpbG3yuBD4qCwUX9x0tLSOe91DXrZJTtxTPZHu3ErXAwhauC5kZCOzKnXaF1Zt3sJsiSV1h/FG29Djb8LskPzj65FCRMu8nTky0V0zy4kZFBx2y+66zcxSX8bQ+sgCb/AuoS2JjICE766TkwvTLgwA5t9X/3k+F2nxry/3rfTFPAaeqLz20NABQub8ZI9vQc9txlji52ntPcdZSneGYsmsmR8NNlwqDkkCnDn8OwmIW5nXGlm/l3Tt1Zg8U6xPNVAiqzQHM43n2rHrbH4Zj9jqQKOzNaYccWSLByoJsyE3KLRuZccJLoNrZeIfAHp2/mfFCftnbKYLs+QfjE66H6/BUFIdL4rOh74G+pO8rEs44H0S9c7hV3mstEgqL4HVQ2C9HLiGMtdROcnyg+l9NOa3u8AqzCNO3FRq2IkoMjKj9HoX4DnV7DmPotfOhDaMlW3562OtWBLvlj7hIKyKjk7TJsROFipfiPcVOxuBYpgKl+ZJT/PumkL62gf0y3Gnd4AhTT4k+H6SKrDX8jYBW3JFjRZHxFJqwpp/jqt5XSTCZraZZmg3FKEOBum++RxIuLSd6/8ZeOOd1OwZWt4ZkzuxMUdOoStPn+LIypBEM7wFFY37pKD16wbKC3+NBCgelBoTiFxLCUsxH1YVnj4h6iZhcUlKLePHKNYoh838J+vhoklxcKN3jpRbQny7OYN2Swsy6kpUranPLh1ZwxAmhGSLC+8dfwiQOGT3XVVwXD59ennA+GMJnMNtnEmOR2iHLBv2DFsheOUDRv5LYC/QY2flTHejie5r6/PMPxO9odjWE8h509j6iiIuHTkeXhWoPINgKylCgAToEKih5sSAoCpBbeHsqD+F369D4qUmPTbYf0VY0ayG0gq0A7uLPLoOhS92sMiVDJ2SKE/aRrq60gwVPsh5p1VGcp2YvkVBJmVHpv+nn0E/U3XUaUb2tS6wdEDIT/q1ZNi24EvfPCsQnzeDQrxrio3h7Z3/eVkdjd7Uc2rz1cgzq3rAjz4RZw3MxIJLduxOjY8moGgsGQQVuUE0JoNtiCT3MnFa65cXdKZullg8ZmlNlSlpBqjAihtN9LFou85Cl/iCB6Fn5y322xRtMzuv4+FwwrronkeP+Id/3zmf7mpqbZ39oCsGOE7c3JxI7GnW9Ypus7Yxb/kat3uhpCcb8Nz5KZU3yFlArtOEv5erT1ARTYtgA0pjQ8mgKxCTfsB5wmdJT604/8WpgW1yuplyNLFVckUpIeghZujVd44JEqkKnSMzIb/uBxDzWJnpaAASEPpWh2Y4xOHynoXqkJjUer7YJIgo8FjLaWfGRazjRqOJoBtM3LftKrwooioL6ZjWusGhFQeetvDvw2pclpU5OmO6L5u1tEYHTMJIY28Jmbid1FopiaQRwJRHkd3Ct9fWagHwBujKU1RnYSWQUjEc3bNmtbwt+tDauPVOfi3LjWp3ejPaJdjqLbnppofGYE+eOVXgXNh7YX+iQ0XcVdcmADf1ZD5lIqeL1Z07IPo55hPMJeTTprDXLzT0UoHUC2pgi/iS3r0Sbx8wWX9LyCBuBBi/K0oMqHouwAigPtW8lH2xvzIGrrSUcXGHAMLNKRByBul5Xbo1bPLBjThQ5ETBTJNhEbzXZ1LmYAt+uNTIdn4NDffYeJoYWCXQpY/WRdwUS7nLIsaFA6PA4mIXfGcehEcgTXCLaZyI0R4f0UATJPnIcqF7QoUbF6RO2//cKKAJInhFbI4TUdvLa22HYKPGLAVlJWsQLIEH+hcwHpCRhc+NcyquGGcqx+/AoAp+xt67vVtG4TZo2m9hUVBuB5dpW74t/1Da/7QkyNDZ50RZz09Yo1HtQBY2lAShir3zEL5EXeRIP8AADz/g1A8dntuHfIPjrYR7tvN9hBGrqFI2IejSRGrWbOVUtUFEgUzWV0pIx0I7Q/KtvQI+Q9vgY5fHs4llluFtrDWcR42uZGleir3h+wXcYi6+74uahALLFeTNuOnW3/LZT4kyfLYZZkA5t5sqhkL/fEUpzHlWX7StIaO+GNUDI13eFlqwjhsBqjq5vtKq1aqTT5jXj8d7SGeUpydYwe4wX9AXWjhAi4cSAd5IITLHNBjQLQVrUpYcLojCwnSKvBL5ScOWwbvdNf2NB2Xpgi4+TjbhA1DCY+/rpMkdNAvFNv6fR+xNPMI506Iwv7fDVBvwxq/diJw7hZim30uVT8s2p008lTQcclcidlAhAGXXIWpUy5eH1lE3c9G70puPJF4m8h2Z7WH17gC8e2/Nk8XGInZLctILrA2z2ceXbWeLVpFv2YlZFyUjVPlL6MkllDiXmHP1Szf/254vGHSohT4gubOHPrqkNcYhTkD33KINSz3gX7o79Auv9Np6/Wve6RPHb1KGqBGoZ0zxUjFY6wTgowT00uVQQbhiQHiMl3Sim78Y6RNuprQR+OkvDAMKM7vKucwTGQdGoOlMJTwekcbqvu81RcL8RW1XcjHBfyeDfiZ82ThGKwwKQBv8144V85VKZMsGzXMWumS1lTxiuI7xaSYr6Hg5i8/3qPGBqN2tyVWKkLIwhetH5SsBSbx4Ri7L95b7A0M4T1k8+XytswRPf5BF7NmGf5MpuNFhIbvu74DhFQ9AVmyrNogKTEltlAavziHuiOk6Mh67QeEJWDRK+ixJcSYnHQA4+38+2yr9wVm7Z3tcoC0lkkV+guYznlJi+53pmtzLJiliZmqxPCKwWl6gAVJ1gL8fW+tue6hboCSkqTbquOcrYeR8h6PSA3Mho/LEsWbp3boF2CwfHIv4Mf7yjn7VZj4kVmgQ2EEqhJAi7n5ADoxICP3jzau6qjYKRDdXo3reZ4jGtzsd7XSalFNCdqyyX2+CvOHlI+yqp/MnAWcsTxvLn0ASOI57wlClHpmx/hvvr5q4U4Apn1XnO5Yn84REFrYm3Wd9rAfX3pu5eeY3sOO4pIs9zfzZN7NaIyA4MsYkYUa2yrveZWA9t1J7H1+bVYtWlUaou4VrAnyD3/gpp/ufgSmttVg0YvbPX7JQuuktIcMDhz0Gv69HihqWv6z3rswKoPdEXFDl2XhicM0wxmq6LIWbJFQdn6U7gVgSb6pHRnEyvJ3aTFYjk+NuEph//f9SxK0DvebPz+hsT/e9y+baZLWlE/0NpjBy6dCuQ7LqFPk8ROOP5gFncyyI6wfUKqgclDOSnsagMvuJolsjnuhIGGEwaC9PtPbciCMUYYstjxRbF9gXfdy0yjs5ncmkatPeLVNGbtnRaF45dwEzRIAiJaWmXXyfjOGjSLRAIt7X7zBTiBhln0vvW3Y+lzxdSRZsc3vBXTfoI3Vhd05FnvwR1nUV6Reh/w2cGvYK7rm6bQ5jDPg32hPsjRcCAmwLDQ+onrygrSeqh2cRnPELeRzK4A/jyht3cIWGtTTM/NC2OWe3BE7DuiBdmrFAnMH/poZFZdtpbFY9jSwHRfwAdLtEyEaAvvUGRiUmd+X9lFmq66Wo5IGEko4P/rBGr65gzxFkR/UfTFf5bpbkaNInEH/z9taAV2jGzJNwm0WG8nlq6Ber5pdcZMlzMx7Dlg8iRa4Oz0sHryUUQIjQ16GeEgtcJsDqDUR3eXjdKaOkP5cKqM+M3GDkVfGWYN/VRIYFj5m/gHpy3yi96eV9WiPNIquhfr4NGIRNed26CnKhmNF+dNs2mBHSi5HeaWBAVcUP+BMxgikdM8QZPszLRdr1gs5x37rD6jjb5AYZR8b/9LsFLMgVnvr9zm/rGN4WyzQ2Brd8GK68wVFEJvh7gax3GlAHUCEolLpnIObjkkmM2i70kw4C+BTPetKfEjPhIorVjNbEpvBIq+Knwd1aIh2Gy28mT95y8Kj0c7UH6GeYZTIkIoYC81AXCggMmTmdpCjSfIyNMNxzSG5ePiWCNl34BNruNDrTDTf9ckFJKayzdAFIkyWTMS2LW8VXe5J14mJ+MiysEH1aDhl8z7sj680DonV9iS5R4nN+N+Luk+FedYm2lmS3XoNUcwxwLZPGk3YiAqw+0AJUggh63YGaKhJQiZF8bxZGZVMiqQCtbu1g+n0bfJUNfX5JM5QA1wQyNDr6WhU4DQ1ISQGAi1CJryofQKp14G10ymZHBa5SGE4+iBxoPi+KInOV+MWi+nanw+w/M7Rj9yjiHzJxN39qX+N984FxVarQk2r51u8QpL9bYd6Htiz2itDvnrGZkGC4z+1YtouYQJs5wo4WZKCjMuoAjJQWA5ODcSCel6Z44hyUWm5Aj1tIENLPmOdN0Uv7Mnd5YYzuykLWsxQ3lhzrkGMtBJOSVy2Z0DUWUyvVVyeW8PQZ8Dltesu5v1eMVRaboEWjBsb8Fb5+lTOXqRgv/I8NNoYcUbnoQskH1tnD9CUDNXllsHAZ+Tw8rGYtioXvgDPsWZoVUFbVdKGpZpi5Fc7rqt+djbAVj2RG41PbWX4N/mXYu/ySOBXZ+z9IcSPeYLpI8ScpcXuMdO/hI122MI0wHuM1qMcuyY19kAQ+++e0ggwzU1+6RoFkPWLi0xugxr/+kdC9n831ZiSFger2FkyzXXmzeWtm5ZttVxy5wAp22O0InbF5uaUGAJ+VdiXZN2VeIjybQKKEb/l6/oPOGlZwtXysY7g70M8qTJXkXPS4NLL2Q1Rcm6tgx8hOEqp/PvZzaduy1E1kRRFZlgknR7OfDh7zGb+Q4jKLsYKFV7RkYLEo+I7WI7ByHPZQsBcEgtdRiMWOjyJD0zrP/ElQA0leV1+RmDGnYpjnenEV15/yjGDLf6luy8YTuzC6oRiPYgnCL4GmK6uDXCn4kmv3Eb09fIWfo209BuqbhFNSA3d8ATYwvZENSSeV+GubR+8uBtlPwVFHcyiN1Gr2U5kwDiLqbSV3xkRHv3ei4AKFCkZS9RnAGOl1euw11Y0lZPCvKOqk3pLZ3BtfXdkAsaKnaGD8xaMDM6aCbY6S+Cl5d7vT1BOzlcravA4Nc6HP+lnz8iOM1mI86x6zvkaBroV8xEou42WidaDcYBLfs2L6mbY4aqQ4m7CYTBr5N9ZshqC5RQNG6RmbIxhtOgRc+OEcyh+nOuUkp3UT6dFMfF4ifpIv599HeNxyUwh6YZTnSVT3YYeNlWmt6B5GnCvnb/7my4Kgcc76FgNKV6FXqACyFfQ+IJsTjMzziOd0dWMApBVzsh/+n+S1JZdmuGShr38oiOyFxwhEuMU0lwzCg8HgLLraZCSMm05SiXG3yjEwWkxI0j5bzdldHMdx+nyJn7a+4OuNR4atpNWGMh4mYKmyfcLx+p3GmiUwLmpdwQdYptvtaCq8tJl+KqmitJtAQR4//DgwHLzLEfmqk8y8xC2mlohUXja8P6ev93vuXw54eWsDa4f2h3HXXjRtIDLpWcTgfRq1cgEuWBSvNOcjtyZOr6bfT/ky8Ox0dpv0afDrRlvoxKKMi63EqNy/+KhhkueUIq5BJEIs2xceAz3A2JmU4hqIoBosjC3oqTDXAkU4YnKFS2QfvJ7e58wPu26nBL2bY0TzrBpycTbTmgWkCC2QhRfetWFei6R76DiuDBG2OorPgl/U6EtUmMiEIDoT+CgZyn6Cz6QXNvjf8+ixoqRbxnWLci3933A7jCvP1ZuZdaanrV5GaPt6cdsLHlWEVwY2XwYJJ49eXqc6bWuI1aIin65lh+0Y3FngLlt/aXf+BNsL6ZAJ570z5j9zYN2F50cY7ok1KoPfXM/+IjwE8aDhBS7MmORp/2r6z7/ij4ocKE1anI8dxcu8X3qpmOSM1M8FD2m8sdkQIG/dQoOrQATS7E+hmSvo+AVnLjrCeWm9fGYXC045Xm31oqlWRznLIqiGC8i5w7HfTMYjkfq/KoZsLVCcl29eZafEatZttTj1HPQjEMiHVK0bAVVQGbm+D1NrNnoAOy8qlWNfCqI3UHszFx8jpwdb6wJulM+kMLQXTc6J163DfoILbucke3x1jIQ8VQy23+TSCIFXBe3IXBd66lQKl62hVLY53Ywfd4iuiihjNLagTpOdnwadHU/kvKoySEH4ku2n6kzYqOg3cT+duSTOLtp0jsnJ2A+/8sr5dM0St7Sgf8vV+h3A5CTMBqSeZu5fFuCmrj2hKkqmuPI52seEMy+ouFTlEHAtRroNm6gK/1pDSiUi6CYdDOl6680hB0xpagSiTs1tHZfCNJggPryjNDKDWdlgm84auVPBmMETsCPW7qxLiZ8uFngwxRnLcjkfhoOrkzgKhA8takReL/uxMYRl/TfRqIihrDGF9SgB0iS78LBA09DnCMWra0nDeVF1yWeqil2lYnAUZblRDOnBW9MguWCSA3uxePXjhroJxHlkWe8EvpCgn0JJWsLZp/gnzUBA+F/AtKa9r6kxQFvCgpZq8vRxBvKpymjtQO9gGAD011yEayZlz95wxRlEWJ6JXi+w2FTmheZxLBWD/aYAQa9yVLLk2a/LoBIdfGVqZJ/19Sm2ZpqL5qE1oUQQdXc8aa1f/g4ZjTrVYPikHV7/PRvb/fzE+WFc3Yy40hbrrUmy9rBGgHWilhhYrkBEAtTsk4uFi9negiQzi3TR3tDFONj9D4wV42FP4ehR6i7rUkzcTK52qBx0/794BUkp34C97CltrBkviHHi9kMnmnTLHAHt6ZJuD80SmGWHFLtE9e5TRX0uMYAdpbzKuYy7/0UKq79W/saVu72aM0IUZ7NvjG7g+OWbg7V0SkHxZ5QXwJ2uLMCxvP1QpFFt/1oe0teAY5v41MhvPopz5NGx1bIlSzVfw1Qp41CeC1/WhwVbt6MsCaEDT74dv86t5BjZGJMH4bEtbWJE+enpOvV42H1RqN2ZJ2QCJxWWTx+oKLotp4GVwnIQ5+hKKCReMadjWSvJldernb2d3SekPJZ75h2TEL/Z48JauzEG8TiDRk90zzkEL+3vCPjxgIeu2MWg41iQnbAjP1bvo+hFWEyf5eFSo+A+V3cmllEZHpX0ZOqotbvxf7cvT65HBryaWgTxjN3kc5YVub0dUve2e4brwNs8Vmx7EYXR5cCzkt6X8x1HcksafC6omncbllj+Ab0pUqLypTiRoy92llbf008rOsF1QLODlbFv5QQ/4JAps33etOZlvlBmc3ZCKsBrJCofStMGJnyGkO0oQZJOdxLsjo2qr6Fc7+zD0JgBFZTmSEY6v/TibaPkTLZmEbmf5gL8JEC/G15uXt8qgspUDLdvdVCKQyqvztU+3XKy961nTE42IYJIOiWid1K5nKgROwIK1Bcobqd1CFx3fYp6FVoBez3K8qerQzBMjJzg2+0GZElwoaPv/s+U5aRzeHsJ/j9St7FDoUUpw1uLTdGKLZmWKF0E84MKq6j4995vFf1EUmd6BkzQNWj2iXTxM/aycIEyUUWJdn7abteLAHODNLGm3l69YjfcL3fRv7RuCRHyooMQiMbYSI/EV73+eSqqZozh6v8CwpDqXoaXQ1SKw9S2VLE00Mfc6pmnqBhxBsoZ+trXbj6joFYQmSVdIvqkKLipZ2WXXhulzVXb/iodr4cZ2XBKA2gGZYmMVgpgdJdVHgQosL4PAPWxbCj8MSshRUaDeq41xUXkUEbP8L1HDZahTiHu6piwCmj1JhnlHLxOHePKCALHslafuRbAj+GBhrTwfycnmNa6U4Kb8/SlDdJKtXTT5Y95wSZIp45afb7JV0vERnHpd6gEpuJ6EHjvVJ3TiDlf3KvYJQRBAfcHqoT+AAOAMorhJj+BUVn6BVwHt030dH884aXoHebeheyF250C5QjPeflOMdjzTndpOEsvqNWUxFUwwjbTdld5h1fDsmkh+Sz1mEu9koormA82XHF2kbjq78wBcB1xWzVuQuYi+eACKU7d4v2xymXbBJhYFmClFDkKW4gSzFM0MCFLXC2LQP6ON2rjmukWQVVNTNgc1XC2ODPUftleOSOlAl5ct5anl9h/rn8+wkY6zZPVOtB2f4GOAsoGOtbyv3gVliTS2wqOunoMBokzB/kaZO/I7V/MI8KShtiu3wT7qFg7IA3YQw3g4fJULs729bafw0V1qsZ4T5TaWQnNYdOQTLm/If2EDGw8dmm063lt2s34knhvK6B/hgoWq3Bt97m7GtmvrYljiHVjdqFLsO2y13wiQA8FfYZLBk0k9KJdNWkoTGBYhKBCg838XQM7+C3Q0+P4+LiRO1SvecU7xDl37X2OFMLNM1MG8GrbAYpQUjmtaJVlCeybniA64j3+Ag94rqGAECmSIHMuF0SgDp0PKTBa6cAHjRqbZucKvIcLS2s2rXxyk0uotxVYuLXvEcTPMVaDzYOCkEaTu7N64Dwz5o06PSsW32o1n73ExRRIYdayQSVfEDjemsbXhvBQOfWYDJKtTETreIZgfJIePnns8kq9uMo+6O68N3EBag5/gmZynolvh6BN4mNyJ5UMeFNg+JtneXhshdF11aPN8jw0dsWEk+0KDwVXYXiTqjwcg5X5b3kMikqHj+xx7uqLg52zVnHBMeueUUi0Y6QNKhE+38PIyFp1aPZLqgKw6Rvr7Lronba24zeMiJdSPs5jlVN2Yb4SfLr2aTsLFiZqJ2Pj4hfJHEZxdUXRJrN4Ks4vK8VwUQwqt1+ZGjMYHYuqOzD2xG5IniziqOGJ1bokFUmUdLTMdXXMEC0mPIM001FL7O54BMRYr7rGZ/Xhbiw1yZgGiwHExurXaLhWrcRbtiuJLPfdu/kjrRWlsjB7GUxTLtwRWCjdqIhZaurLy28hkJZBm0H/RVfUdf5OXJGZ+73LsZRAgVz/sGBMvzbJsFdWnAUH+X0hObvCgWi5GPIyjXmE1po5Y/uk5nex1+BpgNHuhAT43IWD8XICI5FxLleQUW1hraLaa+VHzpb/jnI3VXzLGrfqnh0Rd74MiYuiAGDPQYV+E7PDcTtisQRu15eYw5mgYnbib7xJxOjXxyYbwpXAdfeb/HX4PZbtezddZqCbr+rR33DFtInJd7o7SI2P26J/TdBP9t22kQnAG4ekKucUpgn9Iqn/nIX5ZB/D+bii5FneX8jpOtLSankTSVO9o4v1smxu89RNPUgAES7v55ltdZkpQsn4aur4ik1UAP7UWnLucdi1L3lahnl2WlGmq1E7dNbagFnJPLq8WvYwil0klsPLsbYOiRQEVfxGn9IzgIxJHX1DxoL1FAxD1HbEmOHtNYlROstWV1cbFDolDS+Zz+yx4UDKAf5sNzaPdDDSI7ALc0xgCQ77BVRPTQ71OMSb/myMPFqPrhPBt7UXONHFPQi26H2+SIOYw7TvV/qXkos/jx+Po/ESP7q0JbDhRnniqfgxxi3RO8DXJTv48DN6pZRygAWmbXtSLIzc4oJwI5ZHiJtP/vr+fqAzjriFahOLKXBia8jtJ7Y3J2IH78QZ0+D9Ct59iZ0rAJoPazQyVgICCaK1Jzmluh9pwu6CbmVceVM5fB1hqUNjWuPejr3S0HobiKixO6Pj7jsJ3tW6ejVTNZwZPvs5NvymgXi9wPNTEzGh0Y3Fe6ZNUJEQ0rFDf3iJNqsaFCFNgtSBc5EY+9q5DgbOeVa1w0tw84z0uaKLl+AlajJqdUoXoov3HuJtXVoYFpWzTYYmFkKmwuDOIGvg/BGOK6hPnY01+tLsaz06mCpd2Kmp8Yb1eWUAvC/bCBUDvCK5zwA+qGwxNTbzT9N73lVg0Q9fxRCjRz9Y1UB2TTsqNWhi3hGftGWZVyiMWPHqf5wF45JV77NnmJGRvE+JZi1DleeuVzqr4+b6wBir6L2SkqcNhiylOtQnKULW7ZpFMzM28goCqFXbQE1lGKizr2aLbk+wWMSjM1vc6aaCNpk0rSxqZeC7TIaXYI6DAlEuEBoMGYZ8aauubtxO7om1CmE3d2mbcfSj+Z6+iWyiKVglzc+3UjhBWK6KTy+g/hCJ6tcxQPHntWJxob7vN0neVIHLxTpCBtiVfjkMBiTZoFB2qULV4P89o5pxbNWhupfywLuwuG0YGSJjiQ9Id1SM80L6lLxF3XINYMCKiLdcH6KhJ+wmsbQOuRgXN43LVn+sI7xKUHlIbHCw14BnRC2UV7QAggclpW0Tufg04H1ZKuWy5wXLg/j0VVZCfjASsiRuRnEeCSFtv+R7ZRsQ4yNmfheO6UFst61+YWSqnOD6Sc0MtpFxLGIOjjaSEMFrFreOG1lzqaDaiKTQsMtA0uU8QOD2vQQj+0buGTvNWi5qYr1wmOAcwpZP1AhOC75vbrvX4oMsfbjU9akunHfCcuDoXW6sijfHhclYLXhAxJ5qqGrDGOYAYKHqUftlHYZ86NUsAIH+1V05n+iGO+JGUESU5BnKGSPhkQnmkk1ATPHFFrfWEJdQeZv9YERsm0CjN5UfAg/BpzFAJdwxxFvI6K0dKTPbHPcL6OWSrB627/WNcIZznAFGLK77cyo1pWXJayiDZYBzxKdpL0O75lmRVBQH91j82wrGyYsMPJyr/aCq/rgRxsLjW3CLdQc+CUyQc8N8DCcPo0b55+m74fAX1BXK6EbD0M2+e+5DNzVps/5DbW0V5Xwa+oeoO8aIj+jHi4HfAcb4DniQuQ3fbXXYNBfUHunJq9uGauqRXDsa/8TUEUr1sFU5Wj7/3FQ2wWUUxiqx8cNflBJp7np+yjAjxm4JVAv0CTbIapLwxT3fGjzGQJM/156HNsXA/2Tjf5OC0rTbq6n0DDzULlXWtmtQkwCLmtwdQhU1LvX+7LZBhMNq68jnk8IhcWalij3huxJsgEuvvKTxoOqicjONtOlLzzezhY2kqhOsn9v2zopqPAuSgOOwzIhr2pHvWv0jrvBkwnR1EiSxGpGHeM1y5u0mJVpoubZZGrHj6e8AasreeAp7jWADyqcylOulDfNFbZQmkfOlGI1Ubfm3kYDG1my3OnwrYKJDtxmVRQTuCdrt3898Hyk3hzQzeEXsh4Op+N7hWkscmzKPrV335CninTNthTMHUk558xZFFPzhusMl14x2WNSEE9FEqOS9u3nRe66t70jihOtGuXPsXm3+reVv0n3ilrjDU0MRd1hHxB2flPoSuoFzW/KX1X1exf+8iS/AjTx5x45f7VPmHE+XRmp/8CIeJOrccp7+bGQhf+xNkLQ7E1rJ91TbWX6odK/tXADbZakQISZ8EaRgCPLh4oV3TtFTK2YCzPwGTMcqvAC30z3fvP3A3sJVvvBBjmev+gDkETjLs9uH0aGKBDDc2XkaVqiCuftXN10hpP8c54aLMT1C9tgPBOblqAhZhi01RGBFd7T/9CKBwpSGxhZeGj1WN4jtH8D1znWLT7R9eNo3ceeWnbdJeglpBj0yH7k7gxDthF6oOoX9CfR3SstW1UqM/uACgAW9LR0FxmkC1/WvFy69gKiEc61mBjHPeZpqhJDrXBB7P8R4RfxnYViwjWIl3vbjBOHBhAnGagCuJ75jDcvXR5t9dtgr+8GKl9JpacReSls2u0YeynSnxlJZr4tKbFnWVmBeWRig5UIh69XGYp32pzeVQ1M39hUQvSrMgnNGaxs/wXDtY9gpjvS7ug/oT45A6a43SyDIzxZ+NDOf97yYRHsq4ECs1TEEG8unsbynDZPE4pz4xxEQqNQGCBUEuHMDHC8tvvmE3UuuK1FYeg5i7QN8FEdv/4ICWJbkG/Bi/vIq6iDy9NUAJCIjHdgi/I0SNe1uysvweLIhcE6IMuwd3z4u4R++VvtOQbze5E6uLEgxi80nPKUgZY896x7rcONCJeMi05He9xb1AbZ6Gk/eSJkZsqon6h3VkPUZWdtB2aieoqNJZh4pAkiUNKJ+wnhAQig6CVGcRu4XHmoUgxqv0ZoqoJXLICpT9xvPkXXt3XqMxxBOm1Iwd/JueuISz5fiy9rbIgHHb4vXPS56uYwkvruUR35yfauYeLI6ZxMczl0EfvfpjYo0Ev4aqDEjmJNK2oUK6tRqerNYyx7H+r5OU4ZfYmsjyaXvQ2pN2YvKfgGRD5iW+jRyxXccPRijFvpa6VuItY0G/JOkh8orXYLlGTngPRkWfM9WxwhVkrXJR1U7wG79uv+AGoFOwo/Vt6v9YBXqy1PIopuWzE8ALtiORYf3RGktuNbsSJKhukG1UrkL6Jhn7yGvBsvbrqYw2cduNENQwYT/+5Es0Zbg7KK/TP4H5pBOVM1RhPZ+fBntc25BQYbHe+wkskqlMo6KLu3LodgCSy+zLkHnwaXGnZaqmAjnsMZpry9Y/3+2DMqJK05tfSYcAES5YB90u3tKTFDOrflZX/9Y7r4kEcxK3zHQnYX0OaDn7ra3+GlLn4L9t0nVKsgV0N75ssvttnIRnkYYzfJFcZK7tnnRAmSoq4a/BoTYPrABlm/ubu93QRYXLZuRzQGljY6TiOy6EU2Sqn3PVFC7LkqIPVt0X9VAGNrNU1AIva0nY6KG8x7EqKBT9uxKZ3X2B/eIwdN7GsaBrziYljVJb61cURJxj2dX6eDJqSN2zgTwBWe3AppMCI/ekjvCy8OM/Gn8DQycUKdypv4QWQV4DBsZgJNjqgdtitf+YrksCagxQETomVk0I5AAqpySEupXY0hL0Lb6yUQ4S5LEfDyhS+2xz7VbHYODivdzpCO5WZwNm33sa2lHlHmT56lg1+OLNH0ak2VxxSobrcdb0HQ5JuDEX93AiSmF1ueFCLNlxr5sfbmBuev4V6PmMHYoF8sfLNajMYrrDOSrnMf3hBOhRDKpzNpTN3Kajjr27uLXfZlHQE23+j3o/CIa0jXnodB8VDJfF9fCHCcN2z29Mx2QXftPi+XuQjDOiGWWooAGKxbRC6tsZWM86lGfGVg+DI/0Wa4d9fom7M6/5JqTSx4DXwwpOdAM19EE1r4I1005jDA4u7633vjN8LAzglSE3ECXuHGOCmprIbAWCpdObxjtb6oLbQhNYMYqsuRt2tQXg2ZsdlIvizBBVEnfnwX9J0Rm6B8mTbNPWI9ZINtqfezbUJkypUf9ozNvUM92pw+JyKTv4oqoRMRp0DDZgt4m8GlUbeN9YZKBazMaOMhREjl7hvCi07IWjI7d9+dA1/Dz+t3qTngzi6u1A/F8WAXujoFA9/lxF9WMbE8nkUH1w7K/t6KgA1WFFLsHNz32XyIY81vaYqPM7/geKbcIUMxZGkzpep3nm+3jj2iSW4ryLcsJMqcyCqzVoxWZO7vbWFOwZNvbqdPp/qnKWq89TzYiaOIkatW+Uu8IYEddVVJE8/j7XQn5aXHjP75/9qKj/23wlNlUMloO7T1F6Nt79pjW8ZLrsC/6rS2u+lBCZCWnLbwNBjIJs3zbp1i2i/GNOg9smOo93Obeya6o6Tk45WfWoUSlk3A7ICXEd/72440RaGs1pdY8Rsu/IthJJyvvntyK2jMKzRP0e7f7yhxxudn3QEdjA92brXTJYH9mEeIicXyG1fTFgPUg3ym56EaJGAxsoavt67EcGcAWq6zQJpJVtYqtxwPMh+xXTA1DW3Zld1aqxedJM7g+41C2doFvAOMTm714bOF5XQu9RPnCddnRj4jud+bUPRNYFKEuaVfaC/bjCV5vkKeDtrBSEaQ9anjielVXmSOSA9SrlKPtgk/uPtU7zIIsc7AdD++/3hZb5rbDDO+TsEucP8FlgLcp4j5iGfI68TxBNQS6Plq2WxVwhcQniHCzeauFt7N4WJ/0OxZbIgP5Zf7HCDwe6Hjus42Nz681/XhZCMr/ZEVBIronWSrA1UVTmmDKkif+5b4GToP/Bwu1guMTOPNmy0EO23uwzH0JTqy7Ok3FWrGKUNaT1UhxkI/OUooEfLkR/0XsDkhLQIiODcQh0S0VKJBQwrj3fmEkaci9ic6I7rwdVv772qoVr/5B8cJmaIQJKO/n6Ape+h/WRpJVD/Tf/mruUgzf9gcEEDURCeaThpLYl7GOV7hzWfc0A5S8PMA36glKR6JuDR9mt73h6WqBDbZ/QLMv/961Q2CeN7lA55r9J1zMA9w7hR0dHS1dSZnudrBJ9i1ljCYI1FELcZYHbbVq1vTiUy6JvGj19E4kVJ3nlXXbRvTsVSwwE4sT5o0tL4bb7kN0h0k6uq6+roQaQO+cScdcG9Ehrr8PNOuUr/Mn3eTdIh2io3/tMxTvqTIQRALbV3wZoUN36pW8986U2/lQIYpanAb2KDV2W7NaOLXf5u+mxot6QVoy4HwYhqQKkfEwWtUPK/wXmUHaZjz8ftN6VSIDyn2SGJ7ZEZgmgPgGd0ku/KiFRxSI2J9fwh+XIMpbETx5hffr7Hu4GdKuMPDEDn7CWDRTPJJd22SOluNl3mGnUn/RAD2aburhrTybD2IfuAyBMaJMCsz3ZAvU1Isnj27zRYD9c35aA188Vq0MEhwB7DIGawbB5jp9njLbMnYZ2EhDGbTgM9MrI1Nmv+MLToGtqG4FK7XnnbYT1rEPgnXs7/xQDhM/HbBuoKMXZOlSVTQgdTn+hU1i17XDq+pv1VIcdG5AsmhDGrFleUU7leIN3VIOO/rxvIkCvcxbg9RAiLD9Xs1oU4V10e7oE5Vq3p8ixZ6pdM0b1h1L3AE+RrKxS1CULh0Uk61QX/CXBH1k3XPHh9YAy6v8K7aHx3MEFIDL4sg293VY7L9uqe6CYFX2fhrW6vSn3q/zM59N3D8KH/tP/Z98uF8kAYqjUq7fQkDJHPtEUkfLAkOdrmkHnX64BW4dW1jIelt7j1vY0U6lRm4fZXg0dEtKdlayPWGj1/svN0rLLfdFnOky07z4ecvh8eM6JL1kU2n479QjyN7rp2Td5vCwv5ldeSb9MYa1//4dPnDpmog1Dhj6pIqtpELLtNxMtQJgnDAfpgWBX6Okxy2zA1xCzvm/k7f09kaaU1HuD3uZanxMtDiOECp4Kpr3nhCwf6CcnCqVsYgYUnILV/PJb4mEZ/uZ+h78ljZVtHHfPoATmRbgCPoAL1Xe7G2DE2f7LRuiI2i26DTQd3R3UetxAgxH6dkoCyRcHp/B4jD7OPQHOUUlJWao28E5crftqLG7HTXb1wXJykaVLUfINOcucDKz+BliZC1AAFrxEfrF6+5mFKJvYI/OAalHRoV0dmc1r+OwQTPyMf3Xp47A3y5utlk5JH8cBD8AVF7M0jFOp2gmDg61+A1utoUqyZg3An0zyYx9sJGi8pJDD60IwIV0nCmaRfLwXWjzgVaTTPPRqaiiS7mzNANk36tIJ8XUDH3vMMD/d5qauKQ2LK7a/Ot53w1L3uzuxqgYPSQRQBXV1hIakDCYiQUz4pfoumVPHB/83SRWW5n540+Lj/WnJFujYhJV4aO35dgMkDyqHzpp+nmY7DjuCl66eu2tsPRpa8Pz6CW/478L6oeSA/VKqLw+XYFiVWYcYqEe8uM15bOT8+cr/2oRNQK9NuCr9XrBEIDPCkq6cY83vYP55Gjdsypw0OIcqs7z9b27DSbXqJAey0qkz8k3T2aUupT/Re7mQ+6tkRLdM7jylDEsHC6eiHFpyQ29bDcAvt3/7PqV/tPnkZzBOWS0AkNHEDbBh5TDuaTa52y2Zf/XfwkzjjFN0nn9oDlRz8fF/H1ii14mRIw7gr+CT8WV+VPvvFAQ9ePI9LZ23Uis/0bX/51slAYHvw5YoDmYwxAGVvMxGnytBZa79Cg3664ItzX7P39u6H04E+to8xl1xBmdGSwlm4Wkg9pXQcTvq8ZCN9ycJHdYILYSQxg0COvLi1jEEU2vfjmvpm67pX/JBFZIPJ4ZvrUc5yDqDENFiFo0EJY/V6/dcsVNT8Bk3YDVT5Wk0KzN/FOfmbSHOFFH4hw4tBF/54Zxi/SYebdpwE1RL1+/WuLqgJKtiPDMfikcZztr198aQZ7/j5/3Doq8jowk9fDpPB9H4rff3oaxb4PP4zR+tAw6FIEYrJqxNMOfdBxmiOJa+vdehNNBtTyZQpT8Cb4cJTA0d62u1xsBTRTMKzCk5yI1PRs7qdvghgH8nJSGM9Cn+eC/k+xzJEaLiCnjFZDe28BeYlHUONo5jx7irgCC3JYFiRIMmJ7F6qQ4sbOi/RL/FAQvQjWX6L0bckiNpIy1KYX0vfrQiKAhEnIMzj08jWh/DDlIa1oK3Hnj3JHBowgsaYdlM341LtweLQpO/pWElxlILN5IjLkwgkC+Tb8wMwqE9yV+C6fobHtEazKYKtqRLJsDPh1CbxhrDGY0x/9jghcP8y7iGvLGsa8ZQq482vM1WQ0zk0JgArpx0MIw8vU43j8h0cHX5MIQrFzsm6DffIH37hCD0PlTXQVu8zv38gBny7WGitMV9naA2dKcZIc0lP9VbLUi+Ef5QFb5+s06hlJ47xd1GMDV+sIbekyxqofh/2Dmgi0xj+X75Gtfjs1kRWs/SVoI27lp1ufwJLKnUnzV0xeBxwprzgc08+e5ODgSlbSAQNHNVferzrbPgAnjInZwgghM0zr8Fpeews9CI0jzE4jd+3b6WsHDeXZ0MV/uRski2ye77EQlQNlw+42Es3d8yMM5f27Wg67KmI4uMDP6AWd4CYwtWPF3H0td69S8Gjs0fPtX5uog8xXPjvDU9orA9Zq/v/+Wr6/Nt5CszVrmbOuNsoFxEA9Vm0nLBXu2/rYV8PQw4Fhzs8dn3ZvR44MIvtRWNVAGvRyYEnkDfcAWb/sJyvKwVVP44wqcGrhgE3pqLcP01wZIOUcJTAQ4O35d/DGz5ZxmqnazOb8gRJ86/DbKSpLPpIQ5wylr12PYbMefZ5vJ7G2ME47lmg8a2951WIb91Buf763fBb5w2S1zFRf9uKidmNES2wZnBaxQEMCyflnRLzME+rmbaqxJESgCwIpe5ZbHUR7A0iyDggepZ3j8V65M8mjova9buNYUbIW2oW7uB+JcyvhVm4shnum83UF0sg/Td3qW56hdD9ScqXmHJ0VVEKWkNohCpd7g19XlXqIolxR2mrFPv55TZjyFrM/YLXFagohMDw1hROidDqdZbw8l6sVDcPznW9uGFWxLicNTkFar/v43mke0HHEDyw+8UExPc5sfwF18HDg414fznF265h2YEswe8nxdDeJ0jdjKuYFrHi2VJtb+NImtrW5zJIFNTfYNBMDc8rkVu0vYciETJHgPhYGCoufVfQ6r7UeXUEzlKVGPT8/Ap2ZmrxzoXqH6g8TdAKOvDRrDE0tC6uHjrJSP6319Zeo+GDgwAsBNMHOZNl6cCjYE+Jf3MH4tyRzJRlBnq4LIbOHcjERWKIyy3pIyqurCMRpSOMZZuI2+tRENzV3yhfB4IIdlA2cn9sro+1UMUPMW+dMMzLdUhDstaJXCc880ZWYiswewV3uPxqs4Uc048hkDkdpeWDxaCEXhLhjKvseOTEOEzfsKJd14dpF/Nsdzsw06w55AXkgsInq3MDN4ZSAkanZnRFQI9B79/oCTDQOrlN6J8/iu835FHj2yUDzRVSJvaLiQ5qIyRBTlgsrJQUyKGEhIknGU0C6EA3P+mqmvAMB4CdtuL78Pb66EgY6xNIy5MgVsdh03e0sEZWJ/w+bEN833S0wVWM32VYPoDLniRBDF6A2ONQfArnz4OFk3I3PK+fbXPlPDQb/ioBKXRq9UDN1OgjqTj3xjG0E5xC97OPohI7ndmbb/s20Jt6a04dZuDxHfOx3ApfxvWV1swLhLXoJ1FBd5e+v4wRXRBzb7dNs7BTuxXd6YbnnwCSB2PUYjd8ijNK1SlEIvhvT8j1DKyUwpm6KpusY9m96bpnMg2ypKw399W9FGvouXuJ1FBPmSGt2xyG8H9oHnevglvwcbnEza6fDhaSojTtvZh1kuO7oE4WWd+3w8c0Ddtp40mGshEX8Vv618DjC/PE1uyG7smGQf3GUha/ullNsbJ0aECT9D9Y+32CVXsGaf6RVZ/16Sdq0wPqeVteVZc2eW0UyKszsCLZ5GFH26EDUcX/JzYzcRaFbSZOdW39OT8x1x1DqLNzxF63X3DHtn3efWan9dFFAZk+U5speZj4NJQKEYAJSrrU5ipVcP0wLSb24Q7ySyNkgI+TLhPzlWe8V8U1ozE+u39lU97UInr6/7tXCZQdv/OVPoanPVuq/jXz7KKHfpFQBYTIpkNgYJnvN7Wncl6i2RqpVxcT8MzeysH6thTnKq0CXtf0iP38wEXAB+jyUJC5ZWHCYEWwvUloeh4R0qhfQnceMgC15fdDoV7ai971Ut3PQ4Twh3pQ/y4NwlGdsqyQw1+zA0goLrU/urPExJDkTexQQEO2QOBL1znh59biVjDb1kuVhZM4gz9vVl7XNgp4J7eSC0hRM6/9BlKz2UCDr7rgxk4uZuQT9qa8+wNvQogcB3vie9pau+zf4/FwhSMF5S2okec3ljOM4wun5GfKGTDRxUNNcylEtN+VLU8hKsnDhIStPsnEteltvLSxoWH6Vo3efQsQIgYlD9EP/8jGxwJno6WUHBjc/pdvqLOjbjhRTOgvCqRffbP0hZsEIpRgWvc8Kj/RtI3AFrCEsOGbBiuCV3nt2yi6K+88RE0ryZBVSTVCjCFbLad/warjK9pQRNGnQIngQQMkkDSgb3rSVM0eWVtsdaNRXbuIn99sdgfssfQMd50lOr4km02Q6QUxl5aun3FZXQMCVKSy5RXgWsrL/PxnnXG22ZyXFZrd7A2ECFP3UXb2xCuxGdbAhv5YJOooVgr7G+0yK02Ig+aA26G1wzSPDbOkrsB8gbwfcUtBwVqy+1uIOQpRz0ShHFDAmsBKdGGhWBfIkLiTHtT2ge/kLFmYzS/fQP2U9UnZrqZEUN3RRzugnLC0miGOmD56oska2gODtAZZJ7IRWpv9L8rp2AchvvFhH0aMjH7j6XZmrQRgHrx6WLmVqIBTFDGTalAVvZdlkwxh87VGv0497P3kmPAQ3q3xpdEAWvL4lwwTtDeMEGHdFBBEFqooswUOGpKEFGLniRWUc3sr7enx5v4jPadOEc03hS7xicmhemq2AgYIQ7pLxtZfY6zOLCLXgfseHfxqq/o2CMEr+ZUVYlhXL3z3U+n1ECaTc0dQpy9rcl74HduQsanut4IxfnWSD/P6KWMRDYCYZS89wc3vjNWaA23yB2OTccCYVbYLTOTrLaX+2eqYGJj/sz4rtw6be6QyqTiEEs8yaoMP7DHNtRX90pvyL+VGBAYx7XG7gsXwSpgaaBbZfcNNWpCJQP25LWGUDB8p/91C0cdzxZ344dvQ1y60sCuh+QOEnITf4AmwZ/HkwWsXSb7pxaFY2DbTe3UDbzcw3weWfgvpqxTiI6XwkORhpb5Ry0wN1aCT+Ryvn9trWu89bopUxIHdrDrc4RLWK+r86UYGE6ESHZJMY2ucbeWPjRng5D3KWLvtvsgztzyozOcXkCXsUudawDH6G+fRDpswjFqsdqdwjxRoyEWiFxsMr28JkaDnnLjJNyFO2qxm36+SpiNhW8gAMVyo9UQIwK0T2otyalou3ZcaqBoPqfr8tULT9Qr6Cw1YInSO90kXWykDXf13d6ytPaE2VtriwF0wpoe+VTLKANCAg0jBTg4+iLTglgV2r/za/fwraSKmpDmDWzr/4x62OF9W0K4UXeO0PL/dcjQGRV/9xNLdfpte7cUJOlT+Y8toaNvGJmqrkiGafiQUSPbCSvI/yESGN60P6bxQbXavlSObYWuR9m9h+2x5WY/w1hwqZ5BO1IfYWh+9kDyJAcuOJd3PJj+9nU3z+GyJWnwNVsHlLfWtP5zvaznAZ9g3sCRSifvkI2ysRuq0a6+gOq+msqlWFVHP2CwXnqRfMtVc6bLF71jNMB8BxPWWk84+dy9Tvo3J+6bRZswOtusBxHSfZ0Ex1ik5cxW7lqUWeNJETEoseMdROj58uKDZvunEdrKpIxgaH5glMgQU6eHvErC8FPoHKIS0oZ0QwEF7PI1P5iOLY8ViscUf5LjU89Jc5t/UmntT7jwq3T8GVs/jebU7XhGaZ40BdJAOVzw5vyYX1/3DCBPikCS2UgA3cMmzmjMDnQ2f60J+j1VlJU0JN8QFjMksyh2AKNPd61zAFj8wGSiHEtfQEHUJ1iJdpV+qNwkfRpZTwaggKASe/mcNui65vT5WtgZe85rhjWnNFy4p/eugcHoSOBA9tw9+aMZlGoARReKN8ywYmxkNohFRxTSPwIXfLWQyFc8S8KD5PBrTm1hzsb+geb1yZBiBG4/hjUr78r3Rwhsep1cvFffl6zd1J9qENkkV0cVPJ7yQ5XbUIWeEybWh0zRRjw6/a2dhQ1QFnFD+mN6T/StLtD6KVtsFx8DPsyAuQMVeEh7VBQhCklMhR+3jyRnlgBmjPn/rRh1k0u1tVnF7Sj3U3e/D/uRguE59qqaIblwR8+dREyXQBbfwUC/gYr8lzi0kOpDv6Ajnd49bsv6yF/Xc+USlk7bgB9Q2CJ+SP/JBP/KtE6TqmoltiGjwMfz+nBNKR5Fv7/Ndwh4D3ZylEnw9iz43nm6+MGJFs4MLsG5se7gWREAldv2wbbzGw3fNbfjrjutyGX4JK9juJQkSP7pTLTZXEcu72y1XWru7hdDLHGE6vKYQW7BG+hpy+ttDnfEc8W0uGOXWRoYLtZNhfRaFf0OhXX2SQAtKbPIsyRZa9yjVNEi+cnquyZWGOqRum43jzIqhafX0ee4knrqMuU8pvdDQpep86tfaYbMSqp13dlw4zPK3U9V34RoQns+vmySOmKaVtJhXVgR/qSosWE6O3xhg1rQOJXCYVIOeNBtXID8HgXeFODi5ZeBjCQwncByi7Lx4QpLgMHPzJGx/qvHCOci6Pzu2aQ6tk6TblZcuk9/DBBK7ETpg9JVO0Y0LxkLue5cjZDt6AS6Ztb6P0wxG7Wg405Ite5wC2V/iykEoesp3VsQHSNq5QFH/AXdr4TTX8G8pREh/u44Kak7FyQVMUtMq4FnVMVZGfZ3glw++pF0Z1uH/3BzdEyw55Mi7cRW/xRuohMR1CaCN4U/PLupcTuNJijv7q2MWKuFRn9ttzNXOQ8eSnE+ZYYoQojRur+RYmXfMp2sl9EaEPFK8vostfGeTxtn43p7fbtF/+x5NKtMgM2y5bR6dvtZYo+YeI2eN7UsS0czGxoTauPeg5D5Rhnpq1P8gTJHhUb3hcML4lYKs6KgRqzQU3vYiqs0CGhFZMD8e809Tyxc1auvsaYzJWqB2M699QXqQQdOMi92NjQBKTvXn0yJ1OqHj76BXfxjVTH/fWIakvDueWVMK71J52WdXV26qdMLKPBz361XKJeA9t1SaJyI71qcKFXC9gPtuhIoKvQ3WukXYZLp3uuBGHbN2ZEBtPpR5FfdGrqWHGK9WYt+aP91qB0RuJsA51exgnFEDdJXvClycIw/ago+TGz/+Lqs4RnRDReDgM46QP6fu/TTWs6MiIwPtOoyOZGDZL1+nZ3hZEZPg6N1/rUDLqfsZUuVIVP5Jw9V+UbUZE0SsQIZIsadgLcXPvNwnbnBtwXED9Jim5Qc2vcSdBXebT4rTOk8cN5lsWntok9XsxomYzFRE88UM3pIIzdRB/V9ncJ40Kt3GfJPUZAzwXn0/68/EZJJHIojuHlVljRR1ymmcMwZG6lSTzkAXaXwoEtI7mHh7tZMwgJsqXcJrGsi5IUV4JjlgUqtaoPvQQ2LVhc0iurd+9KesuucI5e18qGzurigc9tXTt/RpTlAMBcudy4VVbBLMakfBhe/qdKaQsNn+oeStiC9mrSMxZg2TyJpoQNntO/LDQikADlKNDwbLz/TVKk2GPhZsTI0VrREJFSd2VftbVJFt6RbWWFiZEKVY4Lv51OivaqVxHfgGLWkct+A+sZYjhOIVkSYBjfx8mEbs8pUtan71w6ZbkyhyR3YVrctC3f+l7rIsCmbXSFNMHfc07qZGgE8fQCXn698CAYbNz+RznWNn+gDgBRMjnqlzN//hAqib8gQ2cujEkl563DZQe2zW7hrcUwO0rqOuCrtFA+bh/2lc72m9SPwAWQOZv6yxEz7AWznXDWy8h/BpQvWsRCLVNJzILfyPDp6Ha98r+x/Wbw3bGXFlXpBkvOMjNOENms06g13XkXBfGRDQyeb3S/5gfxZBabr8V453/rs9ARWtHyWBIhXIowDgNwCuCbpV/ml/PyubTuWlpZ6LYW7TsEgOfyU2b2NTPMVUWT6cko+/dxqRa1u4Dzam0joKK5SdJIQykWNPAjcFrG8B8E+0yM/LYwReZfY95j2mAlJPLDdCdMuyYv4j3he+ZejjyejuASuS1QwtYf4LOFTvwW/5AeaiVMWRrFmW2o6P/24oriVRpeTRlSay60IfgoR/YcTIlOyNkT+9vVjvJrO7woMWe/RQgeVoNnYrIKtnacZ7tGdBWxWSEPPXdGH9dfSxiLMQMO6ime1SFTMFWS8ika7o29k8VSRdWsl3Yus38/sS63VVlcLhyMIXR4OCjHbcgsmdInS4TpahuW3GBYmBd5HmEzZ+EVL7TdPifQvALHGbBXgPis9/K1uEjQGAyvZHy5/AtmGc5yd1sslhNvW686XVV4fZ7w7nxQyacWplTwc1winj6SeBPtlvrsDgN1aiun6pZjBNZ/czwnYZZ5O2qhSJ/TmA9nmKelifIYWWv8WnnPnsQYw6v1iBJSzOVqcP404w+7RieNiLUYNAv1+FzQktIN/JhTINd6wRC19qoCa4xw6H2y3m2fhXlKFDxtHrk4ZurMMrfc0m6faiRdsec1a8sqbCLMj/3sOOFmUVouLkBr4yLqawYyx784cW1AVWPL+weNml+dhwc+AoSDJE1qEaQKPZ7yvOMVGZxO9h8PBKLB/3rRM6NaF+ObmRMVJJQkTPiHs2M0Do0EG6wH0vBTtCNOVWgDTi7CsJcGQF14ECftn+V2mcMiVmSLvz5DdTKUL5Alv0DYFfOHOOqFqEpOiU70VbGWDpDhmjm3scv0KZTVkOC1BmFxqH8VeNrB8y3MiJWeVpfY1GKs9Vj9uzu/UorADRuh9RfANive7o7cWEoR5vlvbBOC1MLJKT4nQyxyHacweF14ZL6Lw7IZg+FRdx7nXYnQrGecFCiro/H3OxmkVMeXWeUaf3GSrr45hRa/tGBPwbKHmBLXJzOjtMvlbXAykXOHGBi4vfOICZhhzwq3aKy/6gkzSXqElHShuTusXUb0qCwCoYe/wEO4qg6f4qIm3gALS59y09S8HPYTQgfrY7fBHaAQHg9r4XdoNB+ogOpDmG3A0LDjrfIHSmRVA4uWi4Yv0XdAY2aHWSrbOmzTodv5+1D6QkjKtAHPa0QPr+xMVa++0KPYijnWjGeqtjno6bEYzoF40nVoE2ifyKpKv16/REAoBxFIPK70C4ECroy40J0ld2GHYV2IetR0F0mzTng//91zRrspBLRVtDdUKcxMzOwkhdg/V++46ujnK8uU5/AH0jst2q+6zr0mu5rOWYPuR20J7ENdiLBL0XAzw9dmFmWi1bRl1GVjV8tIjQN5KtG0x4erGM0coYAWrqJe14iMxRzc4KblESS6IbZEE1nQT/C4ZBT9YCP15LhpTZ7FlBt2e2Bsl17r9tqy3wDlT0Nhsst1oZ8FX/gTilchaWtYgGgX0wYf6tyk9af5ADAtmq/7i4uloq2wlZMcaL3hIHqYooDg7awE9dDbZ//Bm3tb/so/9M1asP61SMGvO4hOF/Y79he5H5xQIb9IisaTJxhsP9rPotbm1LtyAyll/MqUeULmk5LpUut58Lp3FxCSSlqjs/sMUxZEcvRstSFsf/WhwYde33+h5J1l1dipQ1YW2/ERwC/BPnD5IbLyKwSzOM5mUUQijtkbPrKYthE7cQA0nSZTPORto6GnWXAVTurg6wRUOhDxwGQyk5UQ3ipAHPt3IVjnZxSxYo0ObNUZBfI0yZhybsEgNcZTEpGe2CbzfnHMcQL7h9yGfsVkOh58j6Foa19NHq+pQNon17GxeD0yKOb+Pfv/pICmQEg+cc00h8qXfbpp7Sm/FGfbE7dP4XHsW/PcY9vpsonhtAls6GQj4NQaNkU+RuKKUru6x6CZ6REoY2n+l2P2AGXE0/vZqO8DMIbWV159/YNkSEbJc0nJnYkfuMFMpnxQh3HZQXmoFRKVVP89iHdZ/yYRgBboiyUTCTsd5oSZd6PRp6/I1QS4Jofqu2g3w02tOm9h1X3r18ABJ8gSliQQKdCE3RVsF4f/R5q5Urpm5URhP7Q6caSzNc7woD6F+BQQt1R7H0Ns0UDlLK5v47/gda+Acbne1IqihQgP2QjNloM8cShX9Nn3REG51zgTSjKRrOBDT2Lgzmg4RiY/QD0OzWXsbKn/LeZjF8LHD69PnfzFpa9HHp3puQPJ5bGKxQ2cW6RhyIDirukktW5gQ47jxoItWRjpQvZ+czD5aqHGY4B/iKhofyzc9KDvAjYxirF0DR6N1odHxV4k010PbpJwlHzQ1Wp3BOb7dswTpJ94kyOxfJziwW9z/dFYIqqTMXDox2/fGkYyYfVGiNcS7sA3JDBqoGNZ0f8vVBS4mnE7aPECDLxR+hK9ZHuYsRhHYNKj2yFXJ6KTGA18UovrSVvPhJPD3cpm4Hh2jmAnCoFqtS4vmvzPrjApm7NSQIVc6u2I0/FwRiZK+gVVficb4jJf9U+1RA+Ka90cVyqutzR7DMDJ0p9ptzPthLR11KT2B3TEyZJPpclxUdMfN1562A7flSf1p9R9o93qnnZlq8A9q6kijvSzHUmKxIzBGggE6kJW4iywDJlPqDtwRLusr1WySCpgHNzqxxlXEjGS/rmmnyfsYFcLYx35+CKyxS1X+AA6ZElXIkzUPyNfFCHeTWRmz5AOQCWp0zLYSrSqGJXl/WemPkeKtcwM3e5UuQ+4b32o3oZw6o5YQUInGTtVB0fVBLlwIjPJt/ruOrKfv+2xmmZzNgFiC20xJ0qnwHZ3zcUAqyt4o+hvOSEtL+iCs7w9QImZm/5PKfrYrl4GGrIKR1ZclE9U5MJAH1AFywOY+cFNHfq7u4XINcLp31D1v1GGNgjDWxOuYuUetouvoyZrxxaS+BIS7mnDFivz1uB1nmkiiPM6lpixlqXv5I3Dt5prNOlEvNphpuIOH3cnGH5tRsFSLWmZ24C9drJcfz5aG7KlWQxeKbaWuvXrMFIpb/P4C12EeuUBKgBj8mvvJ8aoTqFkKvfyEaBy8jQuOKtTQrMFga4Jr1p8+rpim6XE5LQ53IvGFyetKkmbhfXYJvWacle0Gdctmx0TvpgpRnf/J+Q3aC0bz9a/W052LdXZx47h3mWiv+N28+gu3M/m1CWxGZPwobrvqLrxQUPua7jx31uMO25WXseL7p1okIxKsJS6ADtPojp0Mo9Mc1REkh7rOJzYLtsupowU4JY2qLPNZydofdEftDm/gwMa4vRRrkYrNRN31dbYQnwXHcCk6W2Gzpoeo3YbwSqVjJgsgcGV8+CFdAGxqx0pK4Aru9SZooc6vR1/06qTzeCIP7N/curnrx4frwebG+NecGxwwu3xM1uLSzVLz/M/1n18Qh2wsaKrWeAr8+VMjAEgDI3djnFhZ3ao5tvHqWRLZRePeLRCyuOoRCeL4UCOJqVQKMqKkramQAy4J1ZfRTM4mKiKgVdA41U+HLuB/3rbm19lt8e3iNKKMWeBwrjobS7SyWf32WmnDWNzA+uFc2HP+M2cD+PIVNzlfPxyprVeYAblm1+kCHNhpakRpNotdCNQNbt8PaFGglPSMGa321q6GzDyXuGcvYFYTpjMa6i7JTiOidWXUjBzkgSVPR/1+ORrDvRedyKmmdewkETYCR04io7d73TZQ1mcAHsKdeEKx4LcMFRiRL94n8GCi7h346Aucw2hthr5dC+f0xiZH2zUhWczLv23jDr2E3yIQF4Zt71VgDmltjUgbAoctbgieSAe6tRVsMCofsCzXBtQkZveCAo18Xpr1evhSUHJtA4cSU8ISqDifSQ6wSAKTdBlucxWrCq2z6AIkau9sws2Pesb/B0XEX0YKy4MZy/92FJn5L3VO0jbPLd4PhbDo47a0Cgo+WqOqkTCfvDgWC2a1bw+5sr1WFQp5Yxy9IoKiBY9HcVcdM/rOk+170OtxcJ14GjvzI4U6SJBTf095zNwzSqJFAOANcClCGFNepd6SmFM0Syj2vtLx6lnQ68ASTArtc8r8WD2NwoL5EBuaiwN+hNFO8jDCu/9W/rY3jxr3paVjPahh7E+VpcVQB32bKZfiQulKb0itF3djLkdFqo76nLjdPNRNYEHEYUrHfj1uvXJZK43gcW/eb6yLtbkcrTTmFXYOLYo65L0iY07kEJwpfIhrKgAcw+jpmJhjigQwzZiT0iinP6zRZ53m0JuwaSI0iZntbypOU+GzULwKJhyjkHfgw2Q3ULu6GS3HupqSUdEuLI+ufC+hv3jAse6fZXpZwvcjUUveKPOktofah+W4Mhid/1Gtur2LMDIDh6YFJDwBIsdRAebNEwwGdxu6SBiT0hYsgPNWBn1sFpoLHLPa12ZhyrAXJ/uXha4JbbP/VCPeDz90WB0niNkak8RsNeViszPWqbO3B33caOaMMq2PZmIQ95wnhg7JTiE1L0H/a4UlWj7/hDtyBweIrGCGao8GrCupo8EDkK8oN0P0wLMY3xbhhxei0EQGnI+7TxpcPaA6Yfw5DsA7ATIRV3VNyo+ZEpPmkqxxXTxrvujXURIaLuW006WUWqdiz2m9z7aZeAwx0sRJxAShlSW8PPKPcddshJmUnoVDvVnGZ3RrATBOlOFTrKxwIgiPphz4fVYS6sAmIPzd8cKB3aYX0o4qsepipbstIM91sBb7eRSn5rqvtLavyWZMIsFUU+WtIj9vCZepnD/83zmPFgS2rptxQIaK2WwBzJCaiu8AXbw9SFDO0ayPcMkno8EwxMe5fN1OtQpjYxrZQ20/YvFbr/Rm7FfzHtd/rGSCiRlSeU4SbAt+nBzM64D06dT1wAuRm6Z39yngUT/corwQIYlLdHk7rTLp3DV9gO5THRFPD0MgFMcnrtsOZe5QhSQnARxf8CPG787NDCxguLTg8QWS2tXo4PFURyGuNf6oAzS9j3dKY0O2EPrWumO8lnFdKFCn+rWcmecOin52pG5umQ4jTLzo1N8dhVKeq2gVrhsIcS2Q0HASvPu2Fh6kCfYHM90letgATr78gKIZmOURZD5bWLdIkqW3VnPew/4NZkUzSsgibRN3cbSbbBXV08kz58AevSLICbpESEBwrLYZeNxv14Hr3cg1x8aKqufS04sIUSwnVkXj1BLx+4nWjmGSeVrx1OsqDUUAvlaMjfBbNsmMUOVdm3QCOOQ1AaUVv8zGAChL1LcRZkFPQmbX23DqRmlqATQap6puraayuP1t6Los/gOyN6+N6X78EdhcePSi7U/EZvRaJ4e68nOgMcdtW9caTM87ODslY0sNBb22caqtfMLC/w6qTA+ixfzFA32Z58+0LMf869SiJYBu2VCzLT2PbIQ2Y7PizAUL3sk3XLYBsBOxZyzx7bbXzyzuKxxqzEBkRAyVQgSVbXsjuPimlvmLU+14IxkRMFEeGg7hbk7g4l3ps/cN/+JWbkzwLKGI9DAMk/ojxDK6ujZUpxI5PzBLP8nUN1mH4mzwmfWz1T6glAwEAJzxz112Zll1GOJg4t8a4BJFEEehnrde7a4byzIeBPxhZYd94wPxS3LbOk//prZdZK9doasIs+zo/7gjlv6etlwWFU+ulnG94/sikj3tVVMyxtUnxHhzivq8fibpqJ3QmCJGuj9ew1tJMSJ3NtPLe7uEW1PKChEvqo7x+zzM9kgh8Pe9qd0QNYX6f3WWIlzs8yvy2casJ4tlve4dCWAUkDTBBdH6cl7h3KdAtFenSc0vTZXrP3jinadUFSzdATSaZ7gSXM6rZHhRgel7V0i4HJOLmIlmy09T7KRDlarhcOo/iObm3HKu32lywTg55xXKRiCHynRNHgIQSQNa0p4rPtv0nBh2uYqkHHXA4fMgSNkx70if4SIDeYPY/l+yb1bS5TeCZvax8d2WyojM3nIEcZGVhvkbC/aMAzujDqaXrikMo0zs2/4KR3TVWqI3RZDZU7bh+3gsNb2xk3O9+crjJQgNA/YHLs32IBnXE56qEL3FAOkGpXTGJ4hjzYNFHcac5OS/rsfU9J7YQRfVICamZqLjDVmESwZ1uCDvUIB7sOpoVy3g4B1jiqwtc7XFBgD31FCptgasLswhP+zoAfsUuAI4P5GZ7zfKrCC/Y75Bq27ZATh94m9K1HofrOoytfxn/mILTn3YHtQ6QzCMARKgBxNw1O2+T0FMMjLq1wPdGVQ5qRoFVnfqJlduEfsgXPido+fLEaV3POKfU0Kv/S72p2uciO0YLAz4kTUogdkphzQp/6WTOhVh/PqAN3g2dX4BYcXal4Ahdmonb7bv6bfhdrxqMA1N9ZVdfRsCrhxvwePHqYx5IOfwDrkei5ZPMwQAqdbC/XBfxxkwEWVQng1qGqhFBe4iL9aslvAI+Bqb5rFO4NH8JvIKWXeMhFqI3HHPGSeivQ6ORtWaKIjsiwrVGlBXuIto4oZBJq2XgPmU/TUJX1aNq5pNoMGx2PY++4aAuz84GL/el57D2v40sSRxkFKeqI176AKebuaO3UNokOmXCTaKAqZeP2Xe2DQ6hFhhp9MuTzDJFbt5qVOgUKArkvU12GOzM1LpAwhFBVpnozT4cx3EqhApgiacA6PXL7GOcgi03exgr7fe8DuIr+HXiLX6HrLDJAg4EdxrTU4rXqSvmYa54wSdGmP78D9YzTyTjYLv72KUdhBTSQz43KI/cgSc7BSLDjgaspPa0Jm25wJj9/aZXcp18LZCMKASOFw80lKWn9141Oj6SfNtu6kU9WhTSUgzt+dpBkItzx8OFwlpxWMAFnGwWG0sEkoLnUBdP91g+9+Yzp0rPIIY0+VaCxjOrWlU1NVx/o6w2sdGO7mCsyMrWXBWcSJCRPMhTyldU2wKUVq1Vl1NfbFVYW6LfKMCxpxYSx8ldSCjYEdEapv2EedABElK6pYSTovn+psHk9YsFDh9uxnxWNZUVgISePrYWCFnnRn3zrcJ9nWHAu6CpTKLmj3/nef0Rg4GwCzoc0RVWfn4/WctABqQZ1DGC07cckQoZUZIuIP1yyfGBByS04nzapG5m2EUwRV68ppEeUrWPHT1YekwAJqzoKMmq6r4qj9KbxcXKit22mZAXawTlAffxGjIa3uH5bfAk2dE9sUSfdc2D7WvSqPWh5H7h0nQUKfJv88FP16C7gbk6ZrNKY8kAIeRuXE6N2YLSQ/L4zqlkjloVbmQnb4P4Ziw8OnNy+qQGnkW3Wh+HYIfUPzE0xfEUNekIvgrRHkpdMrmbVMTzs1stz1CH4PhVaORL/9qYcVsb8Ko0YR5c7jBli6GdrVTFpOtCd81EBneZm2JnMZWZagpNREGQsAsQY78wsBHkpXH5BpRAJv+Z7gTnNERALYC6wmCvB/0I231uTvTCDnftLCBilfI3CuxyOi9pAS0cZY9HcY8znzveRvvueRksQ78iwYu4f7MSdMvwA1XOIZ3q1T1/ORJe6SSqN4PYRTEu0VL1NKXafE35sZBrkqNGY6SZGKUPJ2iNekQrpAURAtROqU/R3eMWuv2HrKt6l/KfnJ4+1+Wwt8FqjpN+klpHR76cJEoeaaVEhwdg7riZE6eQZalQdzdyh4ekoord74x8PipFGoKSYrM9RhYS4Joc3feP2dRhGOK9JEYMzX6KcWkRVWzMpKZBq/vXgjX2kC4ETdj05RrQcnVKGJwXasDcyZdjcgGPAuxBGPidihm/ebeKN8OcL0sNoVMrw2X3dopQ8Ljc/eCkMgpcRZfIb3PM810gE/1tm399Glql0UVEX4SHCgdQ2GfuyrHAVP0bsrbOp2C/wJAl2QryJ0XPmKYR5weCqRQqaz7AWoe8o/lKQYZg9O4t9j73Baob7je4iiydJlk5BNjWaCHVeZFrYSDLdRkVfUQWbDH/Ls7UwSpsgC5yo0MWnEDmRGiMdUIBmxCSV4e22Iy2PFlPxNEv/G4NCE9lOnKzbPqgpirxqgy5Fn+ehyiojWPfPpphME1VNbwwJreud6JzIh4xm95rghcKOuKpxT4abJd+e164oIgORy//IZFqPIixMtUcgJY0YQG0ooKlu4AT1gvzsNwI+9tGONFMTLJQacwq3MYAEm7jgViEkmKDKPrl/WM9FbxyxhnTHkh+q7+zykx5i5DJyr4uZ8rry1w88g/YVV3qHNVO/omJialQW2b/aqNcTLK5ORdbU86REyajJSLL/KuxxXsjjF88e/F5US8E7zDlXx39E/sZcOzBGuqMpmAC/Lim1wq701xWS5DG+ndJSuL7fehFyjAioOAjHfduYrHFriSHlDeYhYRfh+pzi0Q83v82c0LFplwZ4f8aUH4PqHYClMYKgKTl9d5KDXZ2wDHhTV96FrpA3fglHIqZhJO1P2OFy5JgdW9cqPw2FTYy+ilzLjo5D3MLLu4FaebUdQ6C680eiNmxcEBBlh90q2NjPDtWb48JXsWIG1n7PU3g/HUks9KEzQmLqWAr0GxUfoH/snZbXZtTE1Eq536WKlY4ft3YSXpYDop21EQ2fS6odfsqD8/xKAVJeh2n3GujQ98qMF0USPABeLQpRlaHsQbaT+ajMWNopc9WIDJyupHdS5K/1VNmV3Og2fkuGBWFW6Rotj0sIRb1EbNJQ6VVD6XxCdLoj1Lh3ZuzWNLKmCMDDHr0kYwHhraxq5aglkpANR0r4gnl+LgYBPYQ7vKNpcbuzoT/Mh1lFnxBE3llpH6tJqV4IhB8M/Scd5qVDvcE7fD1IjLW3XCkph2JtQsacNBA5VaE9PpXfQxP9lhB16Q1F2ZZOrnOrLX3o4jBQTvPbZp/XTInVLCa+gBBwR9B3Z3gMLVWdO3T2Bt67OjbAtYzRWPW+8WOzAeJFG8qYmPZDNfk5hDiGoqtVT10tXGWteHwjSojuYvjptJJsn/e4Baw7kUObDVssnebNGj8ldhUw9BvaTs0IAY6GL+E+xpdJj5IkB4TXf2OTwBvKCN5r4qD8UPxHMoHzvES5h6yEhg8TZZcU4pc66IT2aslLNX8eWe94UPPD+T+aOxYHnlNqpZFI+1Tlpz+w4S1b3QV7QpI6T05qQckAcoztEPkx8YcePZ+gQiO9+NfQXeP1N293n4dKR7UTsDbXmQo2d4kBjpaZ6qkrWZj/pmUnKvRiHYQrrdaqhPEfoE7fE5QCWLB1bYw0rJgIRhbXu8jBlVl6N7y4mB9K41pmxU0qU7O0HjoMBaB2SlYzvJuYycVghbb4A/wRDlmKujs0glwKnLVR25JwSKMlJeMom6dpE5T6e9AaL+Skkw9xfW2uPGcxb2XA+qhtattepxzMBIPljcwR3rEVE7NSYDCf0IgBxKZR2uTxa5fmvec/AcWjJGiEcp1lGBtsTaABcdRyvTdKITYo/LCcmXmCObVFySw2QgjYox09p+ss0Vz5imh9/veFEc8ExH5gDvnZC/UC/qg5Y+Q2yHAeiAkcnKqdpKPtd3EGVPGFHS7mftKnBxddttcr/0M2oOJIs+efGUT7YUkJYIcYvdB2ceN1XcWjHHOqB76nw69/yUwdeylOZZ8kB8SkesaBnwoFUw0PzzY6L4+1XnvAAgy3ro5kN6EJvM8/8r9wfOG1V+rKecakvFyHLRxMHXKwzBUDyNn8JqWMbVZQzza0ZBaNghG48ODB7hdRtYb2jrWb2ytBowkzjFsZ2tnjtm5oW6ePt7VdDsx3I5Uvrf35ha8a1nWaVz6ZTsBDoEgIhQf4lKJO5RuT/JDaqc/6NXqXfdAvnjyIBOye1OKlXwvyr76Ux9GvBev+kbaa78uwLrCPEKQU6VlJk8d/MnpysQH3jPNdecp0+nqyRinqBmSSmIr83OHDtsx9udAMh7l13T3d11+pIsC1/RSRIFE2kTXnk6m/hOYO4RjGyW24PNEIjDQggUJZKx7gVtXqjO7PchopVF1EnIBpp0aZ2dZGmE937osg3VEA//8fIK5uwq+EFheerUzHnPjZbdAPYSHSF8goEx2YTdnCKbEmUfJ+mFsS25zOC24F8NEY57Qhv9JB4iLWIN/VeOecCA7wLAEwWpg5p1EZy8vfVg5dIKbRPk0i8rjpldqFadHMMk7yEOIEyYVzyotEB0rxJhgwgM4CnkSLFPDQJWzlHGeInvYbLX/92KKLuxgSGQ353EqxSC6b3wkEKqG5Cx7jyxWaNur+rtwQ2kGfU1hWB14LyeKkFm+RzvSssgK/Xz1h9xxDNMkM99tYNQUOKDXJrdgRD50l5aCFVE52yMAm0mE/TshCZxWf+9Ktnr0GD9+aphfvWhZBsETuNwhThiw6+aFEsIft7Ws8/lzMKD9rqmcCpqY4Gn8Xp9UVuF8aP+IYpgk/jM8GVfNzOPISoY45Q59inEOIlY8W3oq0nY9ZOc5TdhjAu0K2ARhqcQ+TCQtijopRC/d2/tIQ+2TLnwg0L1hSsHBZxzxGGe0dn6c/HappJDT9S9/E6HT684WctJmVW4aTmLMe0HiYlNk2J2OlTA/dbSMzh87DicwzLJ2JJ10htDD0dtrLF9+mLRuRzZNfbwDLxojX5YME8rGi4qh16RrTV3jhULTZmVAYjdS+II3Q2V1NuLozGJDO/bSfhItttNd/NY9PCY92qWh/kNiUyPmBUdI53JBGfePTGjkM7Kyk2Cs3xcQoDEVyfGsHLOh0aNdsuihKXFlkND7jlWb8o3+jJWuhFv0Os3EMICCItxRaveOgKRdSHB5WP0c6dwTUqOxSHsDBN/ZiaQJxNMiCLLgX8q5kAkBTQrd+m9px85hLjWZBBg2iwCIKdfB1f9rTWUEQY3EDVBfUn0qrr7dnIgHJM5OHzQA0bRAGAdL+mXynb9fQrb6wmz2br7fktov1m17sY0qPSvXUIz5q6/uL9P+LBBdLSb50Ed4oZxWpawchI7R1BtWo08/FX9boRhqIc6mLDhYgb3wbhgDH7/XLs3AS0ZHHFv9xdK4kBS9Z+LxhT00TD2jbMYUp2hTEYCDcDWLPzZgC3GEUHiU4uKxnlwoz/sNSAuNrGJoVFE3A9hrFIEp9HEq0s9hEt3ivzXzAOqsHp5Y7uOIFealp6cy/+itz9eHoX5qbDx8TNYObG8WE0678FtoCb5xaukTI82Os3/pI0bw3p0nwwQDk5OU0w6GiQkMp6u4dHCzYN4p6MpCR+zrUeY4XThW/mF4a0uu8BaM+/N1uMEXbvp2FbPCQpBDwrBTLrXEO3e+Q++X4jv34VhIihSLxLIPAGb9ItSDR3tOV+40qaAOgectFixvj8HgbV0cl2WUfcN+EXTCwRfVN+acOlbFlGHdwNV5gHnYNbedLJz9bUYd9DuTvL66qOMO+RJslmn6gue1dTSnlzTN2YCX9vdBiGUb08DFAQF/4pmFp3ze2nW/psZFmI4MfQ8ZvujQ8bn1nQZgb0iVtvRwqfWKNz3HEJtLheK8Gk8tWwDpiNj7rCKV+q3tDEVsiDbtvSDE5TRq3hMbvjcQCM7u3VK7Kt/H5o3Hm4Ec7Gp/Q1YwIGRoNUqqJH71lGQRNNk/RWk8LtFwz9ii3VHKBvUGlkAhhLMkuI0Xf76CCp9g94ozBIkulbeZDW26UE5EGHopbdf+hCH6BfFzVDdqqrP9xP/W68LKpEQpBrNNFWQvOy3UfyWNjSoZoj4jUtetmt1GYkuqjg7yxFl3BYoUbaztlov15Ii63Y5LqZ5qmcxlADMBxuFPA2Hj/9KpmHdV4RYElqJ/47DymhTFPFVQ/mi07rpIzlTzlf4aoBleE+tOZCEKPOt5T5g0lrwrfQTOCczyvp0m2LaakTM09WSaesLyFP3CWJgddjckIXWTu8yu0RItowu7+YTQt0ot9mdcv6liP5L2Xzbd567FZV0Zf5DqToUuZlTtjZtnA0++65XTLcmjS/KZAQqkQPfmN5L21JOF5fCrGWdkvJOb0GGkyNBbPjxT3m6lGkA08T7jWS/aOdCxIB7oQ5I9oy+p2N0gJJ4azESalw9gZrfZNEaokgO/h/pjiJgplkZzrWoavKmkkyTFTrFEWh0exvmIbq8AUWnDmtaTlSmpbskS6gfYwZnh59815OEQ3Bo2ZmjMVXdCoehNRyGWoTtCiYbvH/i8HrxDaSSy45n9VPCgaipTMKyuR3iYR68yiCzrHsT0LZKJeKifjPIXxxio9PjdvWIyBZXf8GJXs8hEbl7ZKKpcpEbQEyUUAwhKcbmOOLLzdjACkUIBdFB07p7+arlKEPviI78HZ9N/rhJ+wpeTR/kgkB3zQSaTyxz3xsvN0R8hx4CW+y3pk1cFQT5G4dHqDU5aU6GSAi25XCWyf8rwy2Iip5kWeSfAP4/ssWfM0xsvS7bS268Pl5NNu/zgdFgOJZ511OU4voelVM2I3hS7Wk0S5QZN4dEj3/anJPOF/k9uFcqBvz2AYeWBaEivsV8B7rvt5KFzyqBoCUJ+3Gszt0QEp+/QfAyUD/rCD+k1onxEfSXsHjED5qTzonpXBo3gMP5PSgtX50tUMvt0ZckgtY41pLfn9H6u/6yyWmnRFHwMiJsfX7+i32kJO18Rq3rnvj9dKs5HFO8hie1EKCth05ILwenaGcY9JKHR45gqNWUEkEZUOtJJsHJvTHpO71XW1NNqKMorkh51TaoVaWWvASMU9xiGthUzHIZiP+dFx2hQjWWzDmUGXK9n/Lbj2b0EOpIQxaKZFGeVOGgS7fPaj2Oa2c1pTqq1TMp0mfwWzOErejTo9gUrV6vBckgIMWJfG++YbLMqADihE/reXWinFF8MZoH3ftEH+JjaUpGZ8LRWyZ+m72r9XKl0lajvXkkAvTd37kQXa/stklR1/mPpobm1r06MpWcd2rFQP9xyTLeiNcYF+GL4uZ/RqDiYS78SljbFEVROS+8QCbmzzkMErYcQErc+T746BpMFET1RVllnfg7LEOiwny09lTspleuomF+LVOYOh3BQMS5LrLBkSHQZQYkkTp87+bpl7a+lSepK2QgOZqzjfp+V/SqQdWVlUuEqEKt9LGbWzzbBLsiJXP2KOuRscuW+nFmwKANa9flw6GS+F3MxE3O3V29D3ERQxWYpxkBeQciTi1MCiDRRXH2360rsH8o+H62dMR7Oj5mxi+w2IH2RQvq+F/GVEca+fACg/I+sp10N4IbD3weh9AIZxsD232XGij1WTO3DOwIQHhinKorKgjihF6ezbqgwcdGbfbo9LPLBU8RJRh8BbgMHy4LIsMsA1CnZINycxVZRauNpjC/H1nleTHPTHsb0i+6H+suqeQ1D8hxwfeZfsgcx4ickuaMoZ0ya4hMGOZk94zXwxKmpkxiy/IrGuV0+ydgO7Q9ulCGGCmy87AF72qtR/KlNClBRrliMn0EdWQMWNVNQvbMwHcxpMllhVQ9/IN6TwoeRFDoJsdD8EgxId1RudoP8dp2LrgvWb44JYFl7L4CadnL5hi4hCUocjwhKbCXU5nyrPq1jYpN0znPCa95ZuXGH1AxFkaLURS5+FeoMAHHEjtozKTvUC5UOQ7EOmNqzbbK8tF2vmheYdUwOpqAIIBdVmWDvR0ce4E+ZP7dPRIVqJHjdOHn0817FWxqvaOyykkaZty+RN9YGdr2Ga8B84473tvxqpVIlPVuGdylmPFEI9F7lytkrASdV+rU5sK+N5FKRr6QFlGLHnUH5ThXKPLfQRgLd+XPYNdfSK0WIZ0HHO5bclr2cIqgF3/H0MilhThLct3ND9K73Dux2T+FnSA0J+n5cWhqR6sD8UQMTjuOnCnkrFDA1PSCKPXNSCTW0z1C8/CJQjGaAGfyE0BuLarLZDk0yaJwn0NT9WvRTZ23PT/4+ohbnbchHuNeOBLVEnXREUH+eOxjg4sFjIqG6u2Lmr5RUasj4wRyvsKOwfAjqYAqxswkV6Aw0DY5/rUXynuQPCTarXM12qAaPlBT1Yr5y8yxBbuApGARSN67M1X3OQnJon8RqYNHg3xqAaCbcaW8Oga2/bhYVFNWLpz1xP040iy/0sbEGj9VvZaNhvfBB+qvYMiGHrqWatlTE4snaqW/iwvXDgC+fXbdkI3RuAWyhs7wHXJoEmGg8BpdZEjE3y9xrUnsulg7EGZ+jXLOlYkS389AKN2Oxn+VJOnqGx2WTaewHTtXp86yxaremAHjZlZq6qp7hMSbIdjdrv/NOJEcIaz+BU1nFMBieu7rW4xfukRImEYjDSF9m+j9sZ+q8ZB4csc+2eR/upAWvz78u2u4Sl+Fo1NHmy3kxl3xl1PzwdZgSkS2nvymB4TT9j+doT1oIklEbGm9o87sOJ/tJv5URRMc3gASd1A12X3wbazHDsdkv2v6M5Z57pZYWHq+wHXGYN+/0+mcw2N9EaxOSluD08UPE/lvhp9N4gXiiIfixTXG/W/fPBVM1v5pA4CAxGdwei3/Vodm37VaxJA37NaMJzVbtc1eKfjxr0G+0I8IuKTJPrXPxva/ycVwUunRC9CsAEUv1JGG3G2twjQ4IsVp0teqD+RuBSVWcvLVch5e712VVFIDwc2Z9q3ZqFhxqJ7E3QA4xMESBRdUukYmlocIz3aubX7ke0W+2Zvgr2+OyxISap7gVyi9BO1M8J5KbUhJWWFeTnij6n2c9D/mJwPD26uHhTYZ+zJgWJsRY40NBG1sJil+VDvCd/ZUDN4D9PtyyjWF36V42Wr4ahrZyIHpckMvo8sPm8qh51ng01slD/KEhU6wAcBcNyso0lJibcgisgwb6gKERDLxbU5KGgGsQt1bjeFUFe7Le5hoqlcVPRDf3mYjC23w23bSd8sx+x2rubznNKIFN3Nm1tkNFBrM/CpQxmlVr6uyv1lSHAGlpj61xn99tJtE1PZNATwyIfetbWCqM5NMsmKnovUz8Xf/zXuwvXKPg9T6I14JgzuSoh2pV1wyF70xUfDdteS0Jk/HxJci3hehtJ9WjutT08SPPCyCe5TXQ3RHWu4H0mTC9iSYMPb+P7JLSeUzPmEfDbKeV56jfKhalx+x0LmPKiGWn8qra20ZO20eGpiEeezvabYZ3gzTeNke47/Ynt66sD3V9QXJOn8qygcfn/Jdd7zP0+7HOqWV/fi+OaQVCI4pj8PgxSzFQIflJ5BwdpFgEAkMUMummhPP8EfzqKjP8WfWWiEkp+LqrzE1XClzerUr/+9qJxeMwlMzGme8D64gH37+cxihb7CNEPtas5ipDaQpUsvnu+N0uipibEDvN8jNQ25UXS0SKeC6Exub/yPSELQZX7E+bzExrhuTkibxFbmUamizJLS2WNdDsZl/DkE8XMFs+HJ3+d3pJqy2MqyHobKREVM2f331q4oXRpGSCEtkMMDJ6ADdauU3ChJKuPD4Fr2gSWqpO86akTR6aq/dTZBupdmiTkq7yPzPQlnxiSa/IEUnY1Nmjrn5yTopkbPL9KKB9EbgMfXywDNF0WJupPpcUByj7ai44tvSWeT9P+1yjUOD3z4AZxAOLCe5Z0g/LccJLhTWInxbXUZfwqZ1mxqls3Vn7sF2bOk1YWGDO/nQSjHO/5siX04RGd3NhW1q+kAXHjnyzFWuusOazd/Vuk2Up3FZ5oVq5rS5A7NxbWN/bMdP2Nm8GjJsaqwCCfNFRGPZ4/Ug4V3I1CoWE53qln9L5zhxf0sGFbceCin3CC91YUrcobi0Id8uA078Tr3/T/19uwhCAqb2g3sfPPC6a+CmjxBt7RpCMXwZrQbPYAGr8SzNT3gq3y0LCHyWO8qUYgDXYBkh7CISPElQqMpOko6zQuuEAnTMD9DZnL9Z8hPYp5q27MUN5YXF0sbzmdVczVVwIbe3N7jz7fVDLPlI5wMXNX7zQl0DfV7ZjXwnN1YvOZd7KUs1yKGujI1xWUjIKV9vnGsox+gMPcioyKI11u1v+Xx/xXzzmjnH6W7ya1lt7IgRYXr5UYmAI+Cg5rWZPr+g7iwlVOj5u8xga11uWI/m8lwLhzxndT1aD7G66mtYPzOTS5S6eZoBbhPh8p/aKSXAW3D45XNUdrWv0chSf74LoKvSC+MqfnffZINYDCe3A+xDxz+ShPCTfC+LnMj3T1ZmK59DG27Y5zTIUHWIdSp37GaoP0o35d+ZSOfCd5xNtG1i9feCxU3cgO5+cgv/KUQByT+zv0RC9YzCDqnSVRGe28V4jd/ewGH7k5q3iNU9mLM81HXaba8WU2a4ULMCZ2Ns0hd1TnIjyPBp1ojfcRN12QdaPN52p2Dzn5kO1QDH8mVbAGU+GsXFOvQCyKILOgUYpbA+etEzwDe4Um9gzSzt3Rj+2xn7e+KptgF6RU//tgw9hBSNvPlYYRJOPq4OpWP81A+DYa2siat7YvB8Mtfs4NUS6MGH9bWj0nddlm7lOQ5GNt8w0CGuNPpjGsskcRXPZgAIP+21IY4AHKjKLoyzZosYPpyNSbCl/vXsDn2uw+On5vXCpOmPkXd9x4VrdW6Xr7xip3IF3O2XG4UqCL9QWZTo0brDI3J6cSTQnNkTByeKWSJ9iFwhAY9f4jLunODn8qtBdmXp620ip4mdDl7p506pNfOvuAflgcD7kDkYu27fLc0LfYsCVAYkKmDghaZGUswmuFfrxr1uR2rxXt1U7xixEidEoV77DShN8L3QOMaupjnzUEieEhnptPi4ErkQTHCuhtJlMPFw00WUMEY5ovL9Mye8XVRU4641ECSgrSGc0g7x86Y8IXzjRt6DYN1/WtwNy0V+anhZ4RaO54BhziJxGiyDlCPkC5Cmvw4z1b32DC3yOI1Scsx1vC621YVDHWX+P6vP2QtxMnxfUYr55PzJo0DQfZdANfYjHp0nPj516U2LW20L7L3s+3zCkQJ0faLcSRgPT3uvzT22SVtKzPa4nfLHAwqav3nd/LtOUEBZJT8P0+xtGuvvxY9bQfPmUQv5q+ymCajy+W5LRgFp2wubV0p3EgK89MXu81M44hCqe1iaDRHj5tfXbIlzbyrVfKrv5BQMLbc742UaOpL1yhBGsV1c6bJ1y0n6vr0gtLtwqle3HYwYar98ymesArjXfq1Dl78oDDHYZd9sp3J1Tn5mVkPSTiJJ9pWU3r/kPUnozSgP5mKKh7vPp4yybtbRk7dWnsI+hbNOvp86gFuC3JHxSGfRtWckd7ECjhDAdp6MEOtGSdV62RViZZOfIC37He1d7/P+IuCXHaW1hcs76ODYNz3hlSEVpo6SexPvQJ+82S8Hgb10bd+5DHG9aWX0xujAtjZ7F652NxxVDpgq7Jnd2D3L6HbLABk75LOUS4hzgdbR1LeEjwqnhYT7tbIDcl8TcQGdVVF/Ldy/oWtyOgTj4DQPPnb8rP7tyO7PBv1EhWIBUjJCpolQfXMjwfUCoEI36HinLoQf/lgRC5vze7lH1YqPsi7913OZCXUXMiay98buzv9nhC4A3pFEx/mkWWc0d0CdcdwLWpw1FKj68bOh2UB/XDgRuB3ECilwjAPmlNcC8g+4JNrAXeC9TXvSIAlJx6/mOBodSY1GBpMyiwtcAE9JnhXHUThPoOYQtsogo8s/bvRXDBf9fKlPPH4cNr06ut26tpiCqj/gqPx/Gf41cpQHXndwJ3pnkiNodEW1NhGuBDQtgh4aZHqro5+eg503/NKLXohmsVW8br6lFdbz1KKp1igW4D5/aAaJFLf0J3muQdx8t3P5Msp15X3XAWK/uNsbyucxD4bafDOPSjWp6CDM0m7uEutPw0t7f2LASXvnSTVB+SOrIrsfN9HfC8zvEaGHma72H/I2o/UIR1yMDsKzYxmDWVUQFuqTP+AZOJZ5TiFCbcJzYgrEgfnpnfHDXmnVRCe5r3c1QghIJULExRw1RJsSk3SOX0QTSbqaXOLv24Z8lAUi3URNUSc1VsowlK9n+cOfmnMXaQZicXoL4Iht/zBb3LJ+pA5HHcWTEQKTUIp533LpZc8F+p2DVN6VbgeWbr2MqDbc4R92yFinH83srArr2naC8AUY8LUmj6mwBZqbKG6aYHw2rGH6ABpEoSAoseTunBuJ0ymBpf46SDe5hDGXFOL31J7tKdt2uYsefZnaFyJB5rx8BvJDvhkum12I5HItybELCwK3iZbeqdpCJSjGa8dhvRMIqOA3zPuyx9rGCHYq2ya2wbtdovv23xrwwCxz2GMCei8BZuphGgECJiDVBsknv+wEiZNX8+bjSCtdQgczOYiQKOzXSTpLLZCRmX9EOK+fPMVLzdnNEgO0KkE3cMaH/u5j+da3zyBYg6ylhPZTSu7z5HYHUnz34MPN59TDcNwvu25sJP63V6PUvOK/w/xA9c/xp9eVD6LT9bhmFN5gZZGxOAFpvw3AWsmVjRaGz0aU8Ql5FvhucdFlx+UnG51t5pH/lSMQToy+dBG8i0hf6XOw96klBuAQJMtP/IqHxdDYAbYljsypqqq231x02o7pI3LIdrxurogUVPid/5HTmjnSxJaRbC3tbBk6+a7xH5/V4R+f5fMynPnnlCMcvgAQG/5kxCDdVQzDeLEDV634g0ICs7ZPUzfClfDRkx5UiPH/gsOen5HH2C9pZdLtzJHXxPAyrYbRSN+ikx0AvyC2s/ZXM14Dy/kb6oQdWx496cNlS6e8DJtXHZ8czz8VDpJ5WDTatAYC6BV3wj8x1h/S0UJh5EgUKoFswZwznvjIyRg6DeEI94WI5j1G3REP0o+Q8KdtYRnS7ZKqroxAOmbZU2gnKLkYKQutIP9yO/pluajFucqiCdmdCuw+vNJUMhZw9LkSOonihALq6O5eSIgnWwVQj/JJDaCrkqBog83OI5La615aCKJNJV9YA+yzy/YVL9KZlqxgTTOGnOalOAP4AdIYfW0wcR1VNWyAyYFpFEAY26hV9NCc4UzDm4XzVzkRajkH+3gFHr/MJP6dPlgJXmyuXI1Nw5CjCwrrjz4yna3W+PYimDh/YM6iAOrO+BSXAxVeV7rXJAqFo8rrDUZ7nbS4gZopmCRKfAdsdQEcvwIEQ96ch10ot3/xVL9kMbLm3f3BAX5SXl+wAqhgxdADnCRQkDaRKvyBQP35ecp3gdeG4zrMR5maMhiCMTZmcmoLJ5tA9AnIojcaOciNGSXYMHaE4LA7H4qZOKD1fCCsGbuntqndwPrJEpeUSmT4ZNSSQwURYxJofruEZvjgJQ3aUBcH/gmLlYcyYCvBL+HV59ND+mdPXRkaxkdyMiYrxSjAH5oa5JcLqaoRHWeT2705kq/3FvI9FlJ3DL9STWqPjffOb8CJU/LQ2YvizMz7g+bMRyHxaNkiTlfRTxOn8/Fof7tU7xzLvef9Ar2Qns1Z8psKXseK/JD31kNQVVF1QoCV1Sqsz38a3cx+7gfMvSJBsax+5mjfHZC6Ava1hHfVoJxTDJtw5NLAY3az/UZ26+4RixzCS3nNhrZV7OKNL+nfxASGMJzyOeoHW77no8cJ70nURd8pqqtFcPJX++ooZLbk4mFrs6wPo+GECqv16D+oOZjYY++3vohXKC0Y5pNZ5+yAH0gcsGXC6U5F0tp5oi9+BRci44cdnD1DW5FZF87JBye3LdYdaJRGiVNgOdjP8qwvJWwlbmfRPUoREpRVwiAR4NF1MeCr5rhcVOtaM+tJj5ZuGjfxuooqCNYvYaygXdLmHENhHjK79zhI/DHE6vwm1JqKwd2V0pjcS+rZwiScoPozd4xokGeJ4ICZe2M2qGgKCJmg+SsgMeAAprjLqn/f9vdtbvwkfFeJThr7+NJB3ahx0Mkw26kpuA0bx4DID1pd9X44t5E5dlmL0zfYD/I3NDrpKcV/cC92+M2F1pdiYhZ29piUuF3zjUYpirTt4hJisoN2JruXNGnmlBxZinQm0Cqnhi3+bnvMvtDKoPjkjQuZlXacXkWORKHTw4CCVNcKwW3BtP3vHolCf0AgM8nWQckEf2smVL1zqYyooWre032zeayPBY5yPRLOPH2DeeX8pwSaNf1iLPbEZjRUsFWpE97yVs4QHMSwg2NJWc4x4dxqojcr2tkn2p+6smpiLk8hm+D8JsbmjdlA/M3Woa7IDbYroNLLsYbl4j3eBYSJoDl+YxPrlcqVgeLzVep88c9IUPDBr8LfDdyqEEvX79/jxPhOGKIUAq947hSTv710X1lVkHnQYRzF6LDK0xxTv/FAZxa6kMm8fH6NCRxh4MwLfen2zk8vepOmvCYs6HajiNbFMPPY9viq1I+/YA40nZeoET4C2bJ22qOKXJ61bltfBQaGHPy6sUorIGZWucf/5xgVCdwuQZ2agHOTzr23C3qB6wpRgcIBlFBviRH2ze+YWFfKRrp4DJXFOqNwuqx7kXBbLo8uVXBSL2myjkpnfYiOtdFeNiHJDAxUocADF6wzrp3SAVr3tyhzHHNKpuOg4aSXMqNTgoyiNgbm7TtJZ26TKDy1rf9z7QzcUQA3iLiBMuafx//B6IBk2fVOZaNmn0dBQ9aoo6gpUuwf/y1hpW3lOm1g1JkUjCIOg9RB1VgcGLQJleIClej7ZrAK0kZ2yDAHrGpPTOuPdcrT6MqIsjDLFUc+x2Y3jup0hzwpMdLEO1be30Z3zSxjb34UGO4Vqkti6kE3gcxJwCMNFLA1H5otNHXKSR/gH5pCHNuC2812wREsgQAHbP2rvbKsLoTKni7zMvMDt7hzPS7iOlWmXt0GocO1IsPeD/1JQqPe/hA7EXehRiscCPR+VWvw6Fk5X3aW62x8oTyRRxskfOjnrWwHYXh1lZ5uOMFhXtosawh2U7Dn0GI0BoBd/VSRY7kInIvfD5g/ZQPmMn2rZPXVK4Ka69dlEX0NxectWyNJku71LrMlUz7ZyBBgo4ZGWrRwVgeH+KjgvPGXn3VAR8X8aS0DQzezOTxRCPDW8wkMZ9c6GhdcqhRxBjIHQ2iW36ndRbm/mI5D9XVg7OCAtXNSjATwRjbLTji6ZmkXt4/yCHAnfKBGPaa+yQlsH37KuosG/7BVCUE0dXjHTNCww7/J/BW9QxvqAbYwtAkWRXCCPlJ6BqsuFAgoLrSBojTU9G53IbPO2DpWHpH6hTRUpQxIl0jz/dd73teNFIrPhytS/RomsmJA9/jxV6dSvj3WvNiqXakQKD4c0ojIBFdQR8QcCqiDnFaX5AvLQINNbbiJ7SNIXe8afm7BxwNAXYGfZIAzGhWITL8ONncSpLFMSz62PiB2JSzH/9HEAiAhcR9G7gD2BbCjYQzLAlzhsRmSoEYJt+oll/5va8pVAdM+918zKR4Zxx4wSecshHA2AGi0dAwuIX3e+y5Fxz8o5jDcYOjLkyLYRnFVHIEO3LiKTWFAnh+w/abP5Izx/cPez3xGwgXwIghv0FbCdllQ+AyErq9vfelk0nn9TcmHEawUb2C/uP7p+hDQrD7dlGr06w93exg7ROAW3XaIlhxoq/aKL27BLLWzOqJVYPEjv3qu0lqCtMIK8nVBZcA4tcB1xh2iskESs5H6baAGnkjSBWD90jHSAuepCtRAF9ugeoDHCCxA256gbi8kth8ZGBXmn2jlNwP9mhDI/k5uOWuWJfskNS2pfx/8zQx9HK4oNJkLaD8Ua1SFD2bo0faUrSKn1ofM0L8cOraAGTju3XIxR0K4kz9y0pjAEO6aMGxz5O6kmjde3fESEexIO9+9Gu3hdt7rH7E0gzG6o+bsPRqqjOU5Jfec57pstj6bQV6N2sU+5IgDYCCtBsq6ZC5TUcYXJCinYmL5j18kI0kyjtntZspBFWREObu24E22AUDrjTk9vNEtsJRKyXau4UkQe7HS0z4SXsFQ3G/ubLmpssAuhPWviGuRyVjc+iXwvJQwwt6JuwoYvDDjZMYt1w6yY1jFvwc14T6HAVU4tOElT5kxY/7vU2pFaFYS9msFOECWcxA0E9A7F6OcUcjauAfDnPJN/8A3vHzFbp9po6VkZEWsjcjNdCtgFU4FHjj6fs7kUuUdxRAg+hPR/krmsz9+KaAaYsA/PDXZR25zKfiaiufcpdHB+6mZsGdJPd4IBHGvM81jY4npIgyoaSSrZ5NHwhIAwHYb3dRELsFX2xlu9sy124EICt9BF7GAWC8p7MWcIWIDSQvGMzW5Tuihkt42deUjvECNCoqQr/2ERXD/6mgm2G8+E3mwoC5rwrrg1apDFETuuOlMJFao/qeGn4xXeZ9IPEexOv7CLuBHDu308pLMmrCRNOUW+XBZE87BjzwWBXuJMzXeZNWA0hdp1haVZBVZysIfXprQXAGH2zTs905TnHys/FNzWlsVgf8f3STAAtRbgk8Xq4KLiCFL9PW8o32ysIrm4G1JVXPd/vPT4kZejgmM4yYrZXVH8omLTAaKp+QhgHN0i+XpwhMt6GHpD7bHf7N4gu41IoTm/b0oX1E4GLwNYTBevouSo8JwWIfGtQab5JymxOSSFSu8/jkFErWGyL072aXqEXEPO0fx1zrlK3oudJStnfIqSbJIuUQZJ6E60bz7M/Bwsw69XOAdORxZHk+5/YFZshC3IAA1rWqqg3rh9hB+hw32tGJkfinRkLaphve/K3sJLOH/HpjipvZJTFaY3Ak4suTKzNZO34URp7T668v0Rb0pWdevQp1HHdTTMprZVdhFG9W3iOT+Ox62qZHLV2xFvX5WxpGKmAXLUHmKT+0Vsk1YB3fHMPAJi6GUgDAfj6Gsul/H4Ac5SdarYKikcOj/JnROmXqBaDacqs8bpr8IIK2rskZ2ayhe3lqMu2MiKjamOPv2GEcga4SUdXAv6mY3qflyf9egVBnaHHjgGH8j3gF/N/FC0EKFMkU+tiMuMdYofapZp9t7xmNYdHl6rHpk7Xz+cUVS3n+VCYaQulcefwjAlw5TE7dzQfbcv1Cp7gtwTPO6Fr6GGHsCJBaFlVUSv+YyHG9vURqJtink7r5StAgxOlc2f55bSv9DMhJZpDe+DcB8MAgvVuuVB24I3s2zCG506RlgrCZ6D9W75BgEnxn+s7tf2j3aBsHJ+px4pls7VSL747vurSexP8PPPwycxtnzuAKbTqSdth3egz4x5eZKlICAt5o6MmnLBJ/+Q/y8V5D2tzgPuRdbn4p0rVipe8NEsuxVlPB7YwvdITSYkrnQ2/wIJc5x9xDBsIiXbog8+miOIvaOUkz1oZ0sebrhSxI8R/qMQ/luWWqjfR0dPyHIbuxP0PJ+JpWLOo+DZ5/kKlNgbOdRjTCMgUTj1eDPd/MreKOxB07yMYzum1QvhPrie+t7kvvMSt0ZEMJ3sHqL5IGmH2gud8TZpPfGl4xBTi8MUC5PQwJpSXufXzVh7lHTNKK8h2ZF12ZPCwA7/B0qs0pOao2mndA9Qi7ibOYcMMg8m6FQaNeKx3f/sHmHsxeApOlQ7bG7Pi9ZBD0DWd9KoloQ6zp77kH8S0rc4O+dzFzXSR08gHdWOPTk+Ufs8v3ciCgyC1TqQdFhXrrUM6TxDA+6iF2WXbzmeY9W147Lt2ci4ciisP6mngy3T+8zjmUzc1gEJoANtgcHWmrxhh0FWJjJGbZvfB4LhJz6r8DHfNJ1ELyVdGLVVwxHh86eDCCjxefuBmjQ7ZaWZtS5++57ytxL3QDCg+HN5c4jLUa3QGUmjhh4wOHbyvEnQNoTrRtM7h2Bvqc10R2FF53uEM5lFjdtrkTgB1jULSOVh0YC1mn9st0rOX95NgJdi7LbXxxDeucwXydZYtSoMf4euAgGh88iGYE7o5V/4OqumlVSxCzob16jvoNF2k6wtkFUGB8tsVhxmRLQHGSIz8t8i7SEOtqEnHhkYfxMWpOuE58azOiwHDU61gGiA6omOy/smT49+9a2lboPz2+I69liaDZKDcdbgcggoDsLj1bf09Gy0KL0jpBXQPzKj7o0WpKmMnRPgyS+XczjU/oRX39gQu511tlsmfK2Bk8A/ePPo4Rbb+Rb4tgG8doMbr0NnoFIpIEWPVqLgafkQRRZDsjcfSu0hRyjNDiLV/YoefGWC4d5ZsxUgVdqhZdOo1Gp4Hfd8ewIqMb4qKkiC2ZBBXb86mPO2JiOJSAtJcWDr7M2pRH6liPMK1lQQuaC3XHCuyjQGYi8+gzxl3A+HRJEel2Xl17RkJ0NxZRJsk9gTFbIRLX2N9S7e+3KZy5ECQl+NODwqxys7uF6FWGekfbpK7zmkluJqQ+aKtikeSWcHL7uHwkQBjaz5NMsQDIoreNRFmyTQYyGj6r1QuUI83roWQsCz8erS5eSFVZxUjuh/32gw6ArIPdl3r2Dc9SqMrveRNbM6DqrzjuwpJ/I2Z1JHh6rqasFlyncri57wffDER5PcyMK3Ev2FBOxsvrjCEkgk5cPJ9qM6I1TS7FzeRA4ittha0d5oF8JQdXlKpMvh4xfwVo0+pKIBTc4CBLuPBBquO1jyjW6LN+UCOCunh3louB2d9Yrs4NyM8VYand+rjp3DuxknAcnFtughWmd9A5X4QlVIKWLfLam2dYnI16lQAjW5LQRgdEzFLxuAwLnxQoO/eOJK/+wrA6Ki9NxxiJrIAwHmgncB22jHAFmxVbGpV3wPM4tXJGd1gcR9Peg49ZGd6fr6qUtiH18HORpA3gLK2kObVUkMDsccJsjfN3iYuWi/mNyKWKzmwpH7WY1LUf5vn1TL7qde+JnAhHjUsRdM3KpRwKihIBRobBOt6f4g240BLniDdlYehsfvPYEzBPBGD7RMv4bCDkgvQpBHwXA/zNqCJeV6N0YjBMOUdLKiTLkxpO5LWzj8JlPSf5yKR/Hm7jW0yFLUIhpVGm/urXAq9RYkdzyYzGBNM/NwPTpuw4xNHmy65D4W95Pp12OHIz5ug5Oz7c12gJraKBFD/RMXtUPd7mFI4cDSMyQC8d7ko9kqwJehQNR2KaeujIyVTmP8FlBjINtnc1rcWmWiB83pXzhsDMZa4wlAAKXC9b8UJ71v/NUZiRFxKZyAXZW6j1wveYspUHtypKKRFxS8YGNWAo9pePB35y7LLkxlwMHcZbQ56EpGqDGktqmRa8l2I08vAIfBVRTJWbV8G5GI+o6K2zKAN9ByFLrg6cRZQ8K4GF6QbWr5U9TdqXMnBy7JeXFFJ7aTgotb046PoMXBUaTXn3lIqJ7Fkh4nfUk8haPFcKE+QUNksbuoPGa/VD/UmW2CdFCGjHYtMATxr2wxyC8CP0Mzktbg/htG5nByTIyxz5Yq7kZJX4N+eVPhnQCvtG6RgZMk3Rd6UKMBpoJqFSqafPaxDJknlXQiZLP0MGAhgzMiX6nf1TGeddJoEUgTlLwwEv52kTK1pA+ej99dsmxp8QSvlv4p58Hg4RnJ0BwKpXD1nkN4Qx1oLbVJQ5ZM90OkR8kPnJObaoabJ5YwU8+dk/6SICIWRGd7EVFHoeRaVgCcoUTk5gwylW6hZJGlEqtau59sBRaXRG+Bg+MOr7sExKGMV/p1cLEhTQr/g4oHBiZ4CUARD6E8yeI6WZFVfkIF8HaQRi3TmYMYE6DIEYwvuWwfQU/GQ0g49w4HxxihsQHg0K05AFMVVmwa7+gfpWwpTcRtROotKdrDgCf117h1vS/yl6qzFac2HWqlPuMX3kBH55vIGVVZSrxgtNzrCfYqawKb38GXgORSsNm7ZWLtGrYrIy9odYIl3JE3mZwsh3pKdYFT2bbgT793fCldzC72bcyvaMTNtRKvkuYZRjZLdfY4F38/tvcwWyH23HB6rQZpSz2RnNPO3NWaIgPDIpWIvE/A5bEWF59rDpD5tEPE3vSOgFQ9Ii+6/w+K4d0UFqaN8z2jW+mqF9sxsjF3Lz+MevumRKJQzCR6a16eqO1CVco7APK1NErFzByVkJpaias9teysFHGZmCZFO6HxlFkUQhdbZLyYPhC4h1JpcOUKRNxsQ0wUXqjfkgdsEKhKm6YFB1lFWE69/rCfYrNROfUvFZjRptayrENQ095qq+qOqZekqQcGlNmX5C/esw0ly85WnceFgA260fNL7g9eJMOAXsJrWyQhUA2/U1K6Hg6EQLWj8mDdFxI2yhn4xBkbl4RWCzK0+6uDmIG9QN43+sGO0z9t5wecb6NVIfYhAH+Hm+DP8zi6ughl/raJeXXArfDN/bf8Qy28YQNR4WSFkhNIv1FcQ7cPyLnWtFzmERmZ2VzWDnbeLfwTXsL6X7GUEp8AFmI57mDVHDXsf9Yarw5JuzWCqKPQTDChY5GeCMQhwlXYvSwRp9Q+GRawi5fe4pxmrf//2OUckdXbt53ZR4/TL/EAV6Hsj4c2sIhP0aogENYv/cMk5qfWZk1Szvm4aMhtlaMMBk3NxvldLn92AH6Je99SYs7ck80bTDTI+4YKLBGvjYoGeZK1tVQUSp+c1ZsTBgm5UAuXRYI8Qc4EHN+Q8LkBEVs/Hd15RMqqxseXeXQWorbkz/vqHPsHbJkUCzeehRVa6uVj6+UmrfUP5KL+W2Ddq5bYmIirr1R2sfaVQjb/+HQ4NOOlJvBJDFibvbeNCltwLBGFsKCezU9ti/YrgeOPYRx+CI3U+qKdgz+BsWIsVDIoicb97UFb6SP0qcUumBElBrPW5ePFr4hqdjEoqQMDjpQWnf8HKxLevw+xfIo6eLFlGB4ytlqnoyAi9nJNu18nrrgO3Q4wIkC3Ru6ZSCw7Dqm/Bup6CJsnBuP1j86LFrQW6fPE8R09LdnZmnFIa0mRmSu59J6c+Pm+nHmGEuT/s0eNSQgs8NNvbdoXAAU5M+u5pgfT3GEEt/kOYwgzMFuFGAkJaKbI3gwNfezmYLQZfccaiVdPIO5zX/HNz+/GbXkSxS0U08YvnhxEhCr+xicPwFhrAsrSlYLOIdN2NYs6C9/WrzBWI0X+/5Ocklgg8+3sqGPy/vo2A6/Ehzd0z/hRDuU8hfRBJTJWY2kmEumwTPJGQcgge6B51fSpz2PpwWJMLwjWJx1WYNNx0KG2H57KE4S3zt2ubA8xlmSIG7Nu7D5ob3yj+s+2778Ydore4thzfdfWuT8FR9oJtxsYoM4Vs3anoHIT7cLeD06eMKR2Ac6MCA/ByTznNenubPy13scgwb4c8wsdbzKTZiJ9x/sIZ7DHaitXoZkeenBsMFaOqnz3QQcL8Dfmnslo7JFw9FtIPt5zd+HsJdZgU3pTG3oZ+RtHodGqRshYmg/zLMQYULYgY98DNT21c0Xq8Mov4SXSDAbsElrW/HbQHSAhFViLxxIH6H7nd2NsD2Ucr9/crKjyHCc8irdu6GXERjOAL5ed0MXIIW3a39IEg8krDELmXi4wDbvzTw+79+5XhQqHfcSJQXdzq1f2jIOZQVgMS7ozF+axjgsKaC1CvjA3eyrgo1aHh2BnydMJaA4Js3rqNtzkh/3vFx56V92E3O5Z7TBcRCNP2kf3uPbkjUtri29Sg0v9lFhv/+5VYE6YhGUDVKwFIVd9gyCjSJlnMps5xEapo4d6+fx2lN8FDRtxJHzbRWpei+WGrjZF+KxfcEGrsOaC72eyNcynhEOyVU0uybXNIhmVpxKZ2ExPrTq6EkVfJ9x1v+bQkN+a1qawWXjYDCHt1NhWi8Yz5ZFbZ1RhD0EzceETlrx4fE0TYASuiLr8bIlVTkRI2dPc1XExDnNOAp7vPm6XIXztUN4Zbhxw2mVSDG7y2fHcA45dcMX4E+vlRW3DkX3VkRjv8MY5EUEpgIoDTAwKOg3sy6G4A6QSXy+HatoRvSgu65aLVydYeXROcgAxKLThXFfu0QZ7uM4q3R/sgWKkFacqnI+p1IJR89MzZWl3cNm6qEK+kdgzSLYEO8rqKS81+MS18dVTJlSGJ8vlKyyMByGU/XJ0QCOZpga6Fyi+ebBERpwV0KveAiPA5nxOrmuaz3kiw84+veDl1zFzzS/jqH4ZWsNIs1s/4FEElievkog3o9ajStAyJ164GdZIgaxHoPdQSNCnPWqOKIaz7NzGQbg/T/Y4O9U/AVUcuTeDRJ4HOxjtQqF0vMXJtOEdm7go/+tyTTmnQKN8yyFaz1HjJ9b/XGxqKPyRlSQgc5n6Vyos61XUrBECPu/q8IcE5RNp+AAUWAtpz3vOutsv4+GdR7sCPejws6mUiAIJ9O4nn5Ry/7SYpVbtxhQK9+L7t9uOUPmdfK1syBG03bPL1XWYz9kVKQCgac4rzpwygrj6aVyEyMHmzFBA3ZmTDzUtGxx1vKYdn4IhwnatuteWO/n0jt2xP5pQ2GrlDs6OTRYA+SHt1ycvwsR7m1MBEnequJx3qVvOQGljjfrbxOkzzqlcgn05wM8O3snmdTn5HvS9KCfGyaxzwuq95u4tBWcCUkDtf+iMXp6WlU3rZodBm9ovTdgKULQDYqhXQmeg/hK3DUQb3cZmIvrZVvXx/x2YLEFA1ApYq+gz2TqQv2LU4SG1gz5Sh+SMvu/UKzJQWd67Aj6qzx7tU241nosHK8XiYnQePrY/1sCShJduaMSAr9cRX5CKrq2eJxgNOVUw5Sw07kgpC29D2KiEbnK/HkUPjLBkgYjhGJswV4e6wUcTIiEn512dC2GykB9Uvh6cdx1imwzOc4+zI+gxy1JFzM8tNTBjbSeuJcavK1hPGeF6TQhXcTgOx5JKqgnTb0GhLf6OBR80Kn9Fo8s9XLYKtf/eo9hdfuYn9LJc3D1wj9FqXfiOcvoHxXVh2a0sNJ0OE9TZWEhI4wLZqpGeg5WCbetijdgD/pZqrJDcGRlpqsx6AuKPz/frr5/unaChytstmGkM5Fl0v8wi54vsCEov0m5Xf5mTH3O1UPmsVPsdznRE7yIPLbPeKclYWqAkUPeUhN8NVM9AYNoiOW8q06uutXFQpNhstn7ePBKqEWt9wZCFGWXuypDJb0S5pLVzyrevP2uyhEyxocASIbxcK79rvrlYUIsrd2Ga5cgHdMpEOVqY4t9aCLrFf2bDkZVc7mBdZPcGz0wbgv9dZBXN6mzQ4HIA1+5jST+j9MCyGUCmNE7kP/K4gKmiYHzr77AJQrru8+RO/17W/3oHKf5GgAMN+OoPrVK5dbqjzrgWWXO771+oq7tPL7VrFPHCeAjc85NoqUFTMe3WmzJmgZSORDS72eo+Pu7E2y5nSowBQKta88t0mJjjbC0bZdjIGDgw/UD6GoLf6WoHRrl1SCrAp0z86PlkcopaKm9jxVcJfJd/rowiVt8p72WNw/JZlcwswVfzTzFV1XiVfuLF+IvogXpzUfhJnhI+Ve6Bq6aCL17cvSlAdGuHoi2FzbFbBgSB2gFlyCY3im8Hq+LXrM8SaOBvdnhoqZirHn3Ists5V3/k3Ipm40DXTXcFPvtw/WDBtDtUcTgun7sv7FSztSmMBuHgkGiSBwoz8N0xuDfdRFM8BB1eotyhku52DBswExoqv1k3Pp6VjHGpXurNYEDCeK2Reelvw/ZWhmf+6bHnr+stcdRA5vBCUxyy0+Sdwkoy8TTvLOM+SiBxznQ1Oqy1NdP8JUr+EtloIAMOipmVwkjB2PHW1qsY1IBvIdbEQqXje7zAshA/AvuqdVOWn6T/0bqSctmGmq3Ef3ISsZXssUiwEgysHYi2qrF3L6L6gE1GyvgClPfsepHcvhgZEQpNB7FkEHRpjIM8HI3026LBcx85z6gfiSzXYVVDqEAZQ77diT6Uqp70yGwrIipfOwZeB/2dr5A5qqAyCXf+gQ+D+svu7WkhmsvCYZUvDbZJvi4UoGWM+syV9FNtu2OdZ1Ikom8lW+yRjVilG3hsDnHqNBq9w0eDbpSvB9Gm+RhJf5mRsUEb2waxN1gJwVoII4ikOrXyXgfAnws6I2k02dDhUUepSqgyfve4g1eS92aAxD2ECMnQdNCXQey7ryHkqjAdN/Awrj8NhHuM3p7LkZZFJLfK/+tc28QW+SAipltDHlwSFg/aw44IECTX2F//g6wwXhPc0TlQ1Jjeg8nrHNg2kPA2BKMINHzqkrkYIYUQjS2yH176e+RXXr9B3oC/pe+PvxwlrjhMMnBJRI09cxss7KG1ZBcC/Jb6sYUu8ohy6X24GrX/YqpGWdy78JhAO3V2rr2OlfY1WHECioUfyST96g+nFk9NE+pj4TfhAVWWkW3TzrbC8Ha0hhYZvmhipRsIK4LFiOFzicbwDXbte7hmGO6cJPzDxafI4EdWTLZ9VVn/76krAO3XnKXRffDiEhClXlxesNoAiYyN/EUJEuXVRXx9c6tfBkHCVu+hP64IYTcPOXuuKxIqe7yl/X6G5wCCB5cjg4qId9pQ1MmYMS7PoRXT31zY6kYx1GHFU8G4DX9nt2XvxIeKkRlh71Kxl30P6EflkirYIJyzzR2ViU+aTFqR4x+VtOYWEDBQKas4nJQxK1mzY5duNtU+InLPRr5iCMuHShqg4dPgbl42aQCnUjc3/4E+9Q9Eah7HX4wSfUXUEKW/MGYHsUISuST1V6TphSGfaxa7lFJwuG6sLjNxlkkparScSXHGUhQnTnbG66UbQLtaCNR9UY+zvCeR88jOw70HhOH2sqJ9q8vqSSetrIpIhmlXy1Iqd2z5fQZ8PNj2w6JsgK7gW5+BSC1va8z7/5Wq4PqIDraqT42F0Z6MoNXpLbAGI2EpN6gd7Alr1c+xMS28ZPltwNi+6zKKGmekAsW4Gc3lnfVPrd/3HnMFcjI/nQV7Y828Gf6QEFs45z8CThgyAM3FCwvyD9kFIbW0DIhrOjzSn7DNl4icuBgnekwNde++punjcJhubgslzqky9jlEs5LBbfMGdmK7jX6Ki5wuJCtFUk85XEVEn5pYC7cS7j/OnsCbtYgGwV58LnSfiafuxMfMvTs/KgwviXI/523qzreYRywYThtsX9grqvu6oJxkQJcVyJXollX2Mt7t/1a9J4a/l7jjtdwt3ZkPvN12pUTyuGxd1oG6W7Q9gZxlRPIRU9pGOTgQUyUIKh+kndeRaHPicgEhPZcw8vy9eJuZIa30hU7eu1JKM4lOVkJRvLacCzWFHofVmkgCHw3/5rOYc1b8vepJsQ/GWGIEt2PFbVVLcoF4w/eJJyGU+AI8NRpPjjDEiBFFKsblMSt7HwxK6gfoU3/zjUC9qF3H0SD0vjD5S/25L54sbJy5Xhf1rBQiQ5h4LggXHjYBu5PkzYLvDgphX9E68ywfSppy4qw2D15U9AGfUSHnGWWq4niUAhdO2tIlQPPYuM5uOoG7Y4kZEWMxwq99lZ1ha72GbR1L31XTdChhXoHnI31JJovZcIDkvdIX4dpevF+rZ/cH3C5PSjk+KzPbp4MizeyjKb7EFik/KTxApthy6NQjnHgNC+tvbdktoJ5VZ/CQVHIhk5CoCQj5F6zbOFZZ427IhjKaToq4mC3g7yoxFOwVFLSJpc779hVVgr/txRhc2Ls+7CYPWq/JsyiYgcXjisIsmBpSGB0FT44rEfXKrKI5yTXDGcVTyyUO9yQxQgdkNr2bv/Kt0CxSiOH0w6O75gP31ibmOFHHYkyhtVpJZwhUUeaEZiJJoi98Dur4Q2dGm2PRJVsvuLH/TZZyu2yo37CJK86gMpLkfjD0AF4XF/9sZznzl6tdiCeQUCj44S/yMZgqZT8fQK7rJZJzD6vfb8a7aPI5gJOoMQeDQ3XPc/Y5G5t/WOb2FkAz9aPfHZ4MYwtJ701eCKYUZaG+NDSEa0RKHLtG8fu34kKN0mLx62jJF6H5RxmreQVXkweDePASs+8rHOcbjXiijNEu9ahLjilnXq6OtNXvPsSQi6mB/fUtRpXIAcfNrOnS6WXYaflln8/jRC4YttqszpyLbxdG0l8cwA0cU9jk4pQD7ipHdqcqyfkcOiIpA3baidpJsn2pl6XmsoxuCOqlaaJmVsPg3nyjLd50WDtB58hKFQeMXiysmQiujdjOWM2isb/BmapUTf4jepweZxNg1Az3oeyPTLqeomo+loohYis7w5iV5aU82i89bAO/WxHloIgqXgvdmN+L//K1H7eJI7HwzCyYtxxASs8+zOWEWw4c3iwqHZ98EN/v00/1OS3es6arNYPoW+gaV3o6Mtzzc12Aapo0pj77NYSZMiUcs34OVrTHYLYZ92rx1vAMaIL+83pYq7L8E/G8AYftA6ErsJa0/osRyC+4IMt4ZwOkWaWLg/W7gESb0fKOV7DHMqdliDeUCVGc7YCSvyi9xMuZ6bUg7IfJ58JBgBQI/Taxc73T7wlQlfC7A5fINT6pWFrqvTWP4NTFomC3wn6BPmIcF25yrwKKbWxOOAOvz1y0qiRDq3eVEopeWrtg+zWORqvuK14z1gLIhngqKyqN2go7WdMhYX1XI7JdCq3RZnVYUrq5jm1UNgqRnknmDp7kAjB3+kJxR/y8T14Ime76/Hz+4QJdGl78PUD5nIlHK3U7s4bJPSz2Xjwq4EsvKAIvmpr3dzrJhlK18ITS7lgptyca2NB6tbt9lR0W3/lilyJeXmthdjU4W9dWV9y4R0n2UeVsxkqyHcR8z0zGfgK8proIyYF76At6gE6wE6eoCQAoixMfOOrrJjNkx+5TpIVNOZRIwOCzf3z9KFomwV5u8uKMC3YFqhAPmhSExQba76AyWmB6VhSksuYHPRqiX+VQ9J8+HIDnPLmP7faf5tqlJ6S3fgoIMo9HLLWweCbiwxPblX5pKFXbxPSw1iWoGhsPseiESm13jAljxvE8VGTGOXiabd6fwUAjUrbu/slBAcFBKAYpN5zn9DK+oaVY9ZLl/wyHe/tfvC+UCsBHssANMxflOI3C4iaV7nNCuRwTCHbz2ZX6hsb6tbynWvFw2NdoDEZT4JRhpJyQyph9J5r/4vQytysrwDYN/prvBmCXzDqeqmaoqrWVRLBMmlp8gAN08A9oxaV2tOWKvA4l2PHCkA/rdmsbD3Io2PzWVaSpQdKA5QUo6PRNVftkEBnDyXiiXUx6agr9CCYYULJoeMwg96q2OZCo2X/ReLeTpf8O7tqrRcrE95JEfdtMjp8lRVPRpZD2x/hzABAekEPFnYwR+Xm7cM3JetJkQed0P7x+R76fdArP+hGMfa7CiGF+Nuv1ptbCJwpVo9+FEuEIZou2iS/WluSQvJH0bvT7kW5GyR10d2tDBZZfvjDVxaHotFY4X7L5RK0u6H6P8xDKf84sVBS+OcEfoAWwQHp5INKVhKZMIYckagLkgixlAuweBm377RA35U4fR7c6gcxcO1B3naKLkJ80bh/6T45dEYa8ObbnqH1LSdXyvgAkMksKBaRdip9BK5BiiKHiozgAh8l3wWD3QEJzzlrz9WL9qJf2mH8GtZJmcOlA20WquDJ+ccK5cIUly1LOKzg8ssl+q7BnVqH66Dp2ps8orrPUQo+sOwN+J9hKbWexp2LqosGvS2WCa78aIvXOeeLJK2zjn1LBxFHyeH5BrOC9rUDtAdw1HdOYKgXcZpMZRJQrLOQdZ5j1eSIV6RbKWipI2uXUFoWmmCqgrdtCv8baN/oZe4OsaS5k6WLXk4qys4qZ2uEy9CpMtQvLKJbGqJDHYn5tSC/gpUTU5V/ePn/Nozowy9P1zs1BUr3D55rQPMbMYp+t4hHcWpmAnObY9GX5PM4QsjT66CUhf2Jd+M5dlLDJRtqmMMgueebQtOYrODVL/5ikFakwhe6/U9HAtpbnGO/twD0QdtPUw9/wkoKXPMCEJZ2TdSkgavM6yodF/lc1ntm7LVBa6xkjZ0o4KLM0OKZUW/5qgCYFyHo6D8EbrcKdakMmylBt6nq75H4lUS67YuuuQ3CkMmvvshr+MXFwhwe4oT9qQkDUgjyxRwsEbBs5eMawHbfA45hFkwtDcjtVbUdqx1OYgTg3FFRGT3XDl/WNgEwXFN2akkDD27LyuGMkEt2nj4bfblZEsXy7CGSqBH8DMDuXajpB5kBLQ1bW+oPRmyCVzrwkRk2Or0deBOJNuP/ilkA8fKCWv1dbm3h6R2Jp+LETZO+SpvfznZhV36MkxgQHH0SS7urgJAGY7zRvtmelu4Tk4yPZzllUgPoXE8ecaBEEGhPEL+/lYf4xMxCOdL6h7GopukMrmDhvOb3IzGOxKEFkloRKl+vRPeF6GlBiQ17Gr1gA40yvYgAI6Db1ipxiFWm0zA0OSRlhl6v/VxnMLYly1qDGy+bwWc4OVsKJLSHXTkjiSUwCgSWZi7r4aGdEkzYgAr5KRrbSuChBIKrhahrGwz/0vyfd9vj3Rmjr0E0bHcIX5hgQPXTPyYf5E/zNhbxnfv1YM/fgabUI/Uxb2c9zyQTZB0r6OwMnUDTxoEMfCAdLPOYcNxGj+XG6s2VXdY7qBNd4al+3eCbLt/t+hKFGWS1v3G/dMJBxn8V6tDgDi/SmHkhef2O4BEOR8C3AJNIKUNV9erBoxC/adUwaE4kwUX/GIWY2ZJad/3VPmIvbA5wLFh43+qPoJ9iVphQIWKHuRZDCaYE5praKFQom6MgHLawZeioTbNvEnvRX5E65fNjrhJmO8w3XXuNaKc7oR2KZlZUbhBmaJybyIBOzhJWqMXSQelSFS09uKCooG8+RAl/wpCqak5xFVjakREJ033xDgcKt2zENIZ4n1y+SnVITX3TktTI1EH9QysGyCyhyo1uImqBnjM+jixr8QUS4d6n+sbWNcQnpLM8jpI8fn2dndtRphzYrqobAwXiRNNmAN0NNSHpnbTHY/lVm0XUQ4RZ0KTPU+BMUNsBVMZ35iO2KnvA8I5BXJ/AWTok7LjvJiOfZfDv6pXXKkFCKIM0WrIW8Z/ig/cuutC+2WEGnxEnBsLy8vO26ruDZYyNedBF/wzcB4OXJA9LhMwbi1uGbDBpdoKZrrXaDVcrRshSWhM57l1XIksFcBPK9uXn7ElboOk0qqZVFxz/O4osjL+KlR6OxDFSABxdTJ0Ccv6Zk/OSrPo3YP4vlpeRuKYAUG+sE/dGY2vQQNS6qHlD783J9JCXD93Ze6e/emz9X5NHmOQiaB2S4wupu55ni/VOsaOdTPaBQYpl7GRWcvRqJujMqYvxqFHtwLITdv1IgTkh6w9GGZzTbSCbVJKijIDTiBomqZ1QUvS0/uLxr1FWJ6iLUBA3kmfKsA2ZAKCa6DAFWLCVw1zfKhAaa2uwMGtGk4SwLULVLlNYClvM+sEcmQl3oJEqZ04aEE4tz/sUCiaKQ7LdSracZ2VUEE1SqWDX65jm2ccpy9fSA55tJzsoaZAuXIt94O0ISc5QIKCPvuSOSQRWrehSZ5PQrECz9wqBoq/fGuTkeStu4YlnN9MEutfmLKwv+yc+wU962bl5VuWIJn2WqVCwxkscLKBDBunWzzpnnqEwnX4DHNHaFvxxdkamVMRGFEMplm0Wwq/5S6bcYUu8UsfIoBi9SnX7iqlTWoGKDMlx521mio1QXKARJKirQVQJ8/m4opgsZ0ZwfaX3LRRIIny4WyJJAQtC05IBSGqUdDI0zLicrp6tj4RMc6ZPsuf9rZG3ZTTexrNIdHbJbfwCEULAN12iehRAO4JIksG7tDbzs+8PwBFKxmlGGnIrBX96AvFl2bFUQInhiCL7WEp5zcbiB0rBRABiZZPCh5xibJZbmnmmIRGdMVi/qYCVCHyCzGujF4xMha/7M7Ji9OwzBpf9xI2uzWwVwE1MULbCF0iHfA7n/Fd4SX5GmB2bv8Us9PKsu6UQPP1ile1gEEOCq970TtHGqfiL0DUeOsUAql8ecxQBcfz7Vghe4iWBfmk6FY45yvIUlJ1/+xxE1grzPuj8JzB+wRxqEW9CFEQsMpRfvMmZLdOLdm6+IZc9Lqnx0t6zglzfOSA6VwtcfeLh0JADG0oB2e72sc39x+0hfTFUkCRGA2HxTJ0v1ePam2zkYJWsIRgeIQirzLf3h0Wh2/agh1ooHEQAoq5bRUlJr8NUU/y1nbW+wTVD6zdpaI4eC0qfbr3/eMicT8yBwuV/caobz1uWJ0oro3ErryLxz0wqu793bDxmrny97ZcVIOVQfclAf9biIaNZJViZJA3T57hy/THurquW86J5NT3VOQSSOqS0pacCbNs/uh2PW7H1ZeiAOUDZXdzDPm8R4pC1xmrbuSK21KaBVgU6aN3DYQgW1RnU5492O68AMpyQzlp2L+bPp7xLnYHT9MzInoLh6Uy2Zqr0ACR06gX5Wg3ey5aJ8THX2x9uwgYt5w84PYywg7UkwZqPxPtZFjMtMBh4oQwWuxY6X56TfqztUdEJ+dXb4LZuzOX//kmCWtCxIAcA4Q6w1pY0+akDbg0qSWeip4aWoFYKoHB0Px7etkkq8U6A78PksXJJjGe9YHZ+GoW4+Q1bmiC7p6ARTQB8a9XM9keec4+cuHMIpgc6Udb+1oGowSLwLL7sOa/JBVB4/QgYGUiV7vPw8Vuz9lUpMRpmr6ibSi6bZdfLuaxSV0QEndGsHC+y9jMiBP5LFXLfT19s1JnJxxMDaMs4WrF2TnCSMUZUIi2pxI3gPs6GbPObO83L8+9zzYcpoBKerBScXocn6Df4EbZtg1HntBIEwZ+jkfSPKortHARfAPdH2uIAVrwJ9Q8hpYl/baEIBIc/IXXP93KFxkvTTcgiGVASpW29crR5CILIhJpM4Ek93g2G90mgGxSYZT9Aaohcs2if68LWcy33B0AvwiGbyvjXleFO1vm4HhtYEaPLI2GKQMxcEO43yNkA6XA++QnnPA1Bs7VCIlabiyxzyM4gqDUVqZy/ARXdWcsKNXDv11t1kHfP/VgTJWXRYC5lv7vhzF/4U+yQdZ1Y2K/i6CypNfVXFa0jEPwbZJzBB0buvrBLzVJ++EHJdeDVeDIJUZ2r35sxelx9pjpZ4YehwG3ILGwtyzp8a8zfY8BxtXc2A2GiBmNA45/E8KRxgBqkzCtVhT+vp/qrFZ1hMALESvUAhzKIFn0LbFwEHaHbx+IhOuabD+viF+nWCnHKKrC13ya+sxOcETIAToJYMYdPCrSWd+stP0iZQbkvyhU4WiZ7OgFKTr34PZr3nPExuTmmup5K0IKYNW+iAaWfgkyirTiYkgTJJnC8toh8eALZrwLmIRoPkmy9vC8uwUNl3KYkuPAAyFaGE/JYHgnt3oSdWav5WwZdDU1bngkkIkIE1VGkKkYkHpv0F+5W2PwDSun7Whgxz7P9svNAFuRbIMxE601e0e3WvRXXK/0mKkXtCxWZDQo9sFWs9MO2y6fWwFO+R02Yyfd1H8DkwCKSix3pwsG3dW7O1wCC0CHwBnxPiijJFZJO3X1+/J3jC/qw1HQHthQ43uTYL4n0i6IsCr3AAhiEli5WIWOaMQ2JHTwSqATKLOcjTgNE6+sW1Fil+FmZPHJto+v9kHy+I3rOEi/TAbraTJfDR1hY6PM4/KExaKA1BMXQkTJqDnF4PtA+rKY0JTCZzOqb9ZzxjSUbiRmtki9UnjoaskPhNWQYDa/YEnVI9JltAizOnkxduFXC54ntRZtQr/7u7nPYhYLO9clnlPol0egI36el8YN+6Z4sOUGQCsuVQOfJJTQB6ly4gi+VP6oCL53NYK6UKtUojhahNYFs648JE3DQVZPDNbDqduHbHbUOPVrfrJh+yOBktDfoVUzTZWFfGXlcU2l7ixj26mwj5CEiqJqDjNKxbRqeiK2lYeNUbpJMfa7Y70oCUUYI8UOd2bY1LqjCb/jDE0a2ebBQAMvgLZjQ/yZ5IBt+40RkTTIgt37mJ379JYmaujLWcQeEuwakzXmZRIQLlWkrAhCJSJsHHnLBTUmnMz89xLg845shx3wlNXqcvDfQ+PYwU0xSF8LZJcDM8E+y0npMpRgHftqBoQzQN7Yf9HFhsqyW6FP5mTy9TPLsv/yVmDWTV7zfJl8Fjt05xD9Y6d2wFJiwvmF2qucJnyzK9I8NdSujt7K/psD4MrBPPHjAqnIN70eHhp3AK3/ub2ctuzz7pzNIkc7ncPbdQXD9e19uh48gn6rDl5yIrDGMcWvqH/Pn6JSk2wJRWn1xU2TAgEFQDmjEaxL5uo9bLpWnxJl9RXqrSG/M/m5+fntOsi/D9FvD7gsfIMcwlCYZkgRlaIL6cxIiOEiGiqR4Sna8zmmqztvtMRUCFdBORZSDi6KtR2CcXeLG/T897aLSKjJCbSgMoyx7b5QySXO90cxBooZubRe2jjPy6kkt9Ilo9LrW9qeblB54DmSH8oe7YfpkBJxIHTZ4EyPUvC+WaWYGtJBrB/9/59cVBStJ+Uy+w3JJ/ItHDYF4qr07M3xzyYRiYxm8UBEH+TFAsG2oBpH4nlFJV1xajp+rNkH2gXWtuS2xLBKXY/guwfCD2qizTAL2YEIqoN5uC2AwkhEAVTxN2u/OlVJdghXOUsISmv6kNtXpYoUFjyr6f78x0W024/fs5JR36BqzGGQS2E1sekr4z4L52ve75h4NoRLMwiRHvkuK7vzCP4uc/tACiQhZltaaxm12DWVHY9xduGQq7bWBGuxiifgUnnIdxKLYoIGb+355o0qg4rA2GRwJ4T/lq+Aq3go9m/ezVLG8KAM9qR0tJPKfxAnkiaaTbYQg3zAWZKHckFrccFbwXGwW8+CmCvcp29Lpz8n97GtEsnn4c0DX2h4Cm3d5Hx0JTlUG+pKhXA5joPSAH67VJj+JFwnLePSn2bJnIg6E7afsF9/rsUq8HZLVmgn9izJk7QQqwdQMcSKl/5o4YPO9pHQ8GSePl/bP7gtbpo3Y2wIZjgzikj+pGT/V2Hfou9o2S4Ukkfp0zCZa3Exft7B0gBsYabX2IqqcnAcOx12hC/j7yKwknqAFnGnoHpucEXMOuWSmcwkuwobVq8XA2pW8m451RY2wB3GHxpxAK07sqfvLsgGwe3XTV5llc9meFJ9esY9MPwQpg6EyXDbGIS/qaRNnzNX0i2nVwxEyk7NW8jYVp73AJlofKjnW3MkmSDzhrRJEQKtVPw5r5iJCtQ5VDPp1LLNaTCiVyQsxUmjzdMdXKYf5LfMZCmfaUTXwPgbF1yDNT2tJIVCjQC/AgCJUuRKqvJwsaK28GKHNPm7B1EStmK/GPB251pVH+z2yvhq4fH2J8Z928dCZQNTtlqFPs2bW/7EmZVtB57d8+R2bksSQEIT5zF6daxA8WiSUoLXre/cbn1R5Mu3iMa96ndiSENeWqZSfBp/M+ziP1INOPxyd8XMW1xj9dZMyzAxN0OU2GHM0euiDPNrwM5ztR6ZU8LijAENZ3Y6jqEEBbgn9jXNKiGsve2x8FbXn5YFYoloU671MCy+maj2gfYa22hmqdQsXUOCmGz1HOx0xTQceQi205BHf1Tg2ECgEP+4BmRTJbBSe8TpSkLRTKOwEqm79DFHHH78jVeonkWdGB3M1lTgIn+KzhRGXfNG5Evi263Xk5q4yxFmy8KcI7NMS8igTbSDWCJXTtMcotJuVa6i4wU15jY1I5aH3DW7D7GRbnusB8/C2MiuRcVj3RVLQgEtAU0ki77OT/0bfDVnDuZ9jwdR1J35knyQLHBcGpmJAx6/pfhoOEbORCu+TGaGTbOxh9iXd2vN1SsXRkq24Q2z2AWhGGYC5+L82JIEJsEjG3VB2zsLo9BGLf5mqIVg4OFK8LDtp5s/COs9ExW6A4s45dRojsTOz6q7HhfxgSB6oZwD3OpQTgdi6jSYtWJg0m7uOdWbRY9pzqd1vLeLs4tatDgJR5uwRaUM/8ilnGDeb86XQpLIGCAmXV8K2tJEVtNmA7cpusssb78ciB/98JExH/cR7D336D+hx7n4QUugXMwE/8HOWtkVUBMZvZ/tc8hru8096lyzP7Zke5TX0oEOg8zOOPa/GFIBMotR1hI33rC/dMF5excfZv+zOm0+pjCwT86UuZY7ZQvSr58vul4s2XmxRNQLk8pcXWTnBPYWsfFSuvmhJBJPdqSVsgl6w6sDKs2utUkSj/tdKgCHMc4Ocn+VAP40rJXp18Ka8eN+87FgB4DXTEuw9E6duFt+SClPu7YQR16egjgh8ul19W6Vyor4iGKWKqOPoGjXYzdKobqwm6rqV6YWfGMPn6dxdlmK7ydf+dUVstmyImMfpuvydhCjtzXVB3bd12PpUoQ4IyiaOcl+0UvWUz4vCLkN2yxf7yOwCcyPNgFFVAP1FqgBLXFgGpe5uK3++okMoQEQa0FGl09JjHVUrY7HcMrZnrRBgLKPv5iUVwx2Di5m+c1e7py4jI5BfUKANgsshSx4QethEAz0mFb/OYH8AF4FMv+x8JoFJLf1Ud6oIjQj/zwngqn7qkWDYNoZnW3VhnTasUkPmiv/Rjcvu8qrls9yG9B0GwJPHP0pK1g+b4z61JFS48SsHKePEb7DvSzAdp7pie4IlPYYgV27bNHWFW7Sjve5vn9z8LSZumCCPIjlR3wfxlLqr3pDA0nERGvXwL+21a5elAoHKacw5GoZWWKae7Umv1uxJ2vLoChrtfaACHzD0NP8pBQhE0ARny1TNdzmtv5sfjOIto0bt9VBJhaQGSZ8Hj+Vd3k3kcO3vMsuYKc3dM13GB9mhC3NLrtJwr/Ggz+s+m/5iPrget+fHGIs+PDVch2psoq6veKM4yhdqjQCsFYmuo2NL44VOgSySxmdGVfjarvn63uXbwcr6rSZ2Hd+wecVN9MrF7SDPCyzw1LFj0Y6UvtTWcbBSwTjocbGw0eMtV+KCX8UjzfPfZcf0XIZ/WZl0M3Nzi+W8BGIs9tHD6rOQcvZffUXFnJZXnuqf+g6ODXpxK6hhXmAZVTF9b4S0EOtXAbf76aQyFGAACAC/5G9y+2v3Hl1spZzsxXtJRYiqPPe231EtlLtr/yc02YnWccUOnW3+vTAli1UwMjvCh6f6MlzKJiHYE1Z6096xXRFyUKlE+XCJ0M6FAXBnnJiBz3ztKVJsSpkAtzmRTFlqgdMmQcZWK3O3bHv5IzuBbWIEXX72W4MW3Rypa25gtual1WqG8ByjwV18gaf6sGU8H9V3yo2DsW4LdRmVbqkK94f7GzDIdCvIoSleFpst79hPpOF75rAejlhiWQSfi51bWEAiyNzWN/CbbLcbcLRw1vMkZwUgaHKlzBDIXPZV5iJm/7twFtkbRoccDH/9TaiBQPrGLAzQ5RLUiTovnmL03L21jPqfmxZmL5Ye8q5Bjr9Q/mBxsvKchD82j5y/xHZIZrRbJM0AHA0GRh0XfskuXQTByZuEav1VfEPW79+I0f7oSzsUywYcpraExWHQSj3pEfGo8mnNRDbiP6vLsqVMMORxUWjWWP5ldy/RGqI1+lB9hZeBcvIsSDR/7VMovOa0EPifwKlnG7s4A8iZTPaLbskNBfOniH7FL/vOLllrsjAdH3/vVH/I0luVXfT1M8IxdMyRw6CpzYTTFHwoJc+ftdng90JnS+XnHmjNT9OJslG9nA9ofT2QbF+HIelIo4WNf/72TZQpU6MehmGPJoqPGBEZiM5Y2uhHSNN5flNIHg5NKektqhwO1RWN9cuV9yX5Py6cXsOxZEAPZEG8he11BfYAKJC/LgnyqUrJjURQr3WvgTBnxtCGALvEhhHKUh7eQdpjYXxR+Xg4l5jzWaZSKYfk4vc4Lmf2YjvD+UdM6ALDwENVtEH4410xbzLsFoNxwiEypVcyFMZx+P5U8rz88L+6bfSNxcTNl/TgwmD/29kx23snEQ3dFwVrzYNl5RtsTzcvU7qbJKtVsrIuz68lb12vfV5j1N5Re5WdHgkb1d7bJYhWEqvxgEOu5Y69Qczb4Qg4X8oeOeWO3EFNcYcgoplFeAl6o5P4VJshx1IHREMch/xSoSwWz6qF/1S2GtqdkNFW7ii0Negaa9uakL9JEb006yzApH9b/j8LS74kp3MifZVRJ+RMYCsbIYACnwHYMA/Y4q+Gfp3SlyAisxbWuybskuL7Dl1/zObOev4ctO/apPBk8done+yf0+5CEL9a8zJgLXmueGhC/qtGPP4zt/2kYAfaAy4JgqeS8+d+KqUbgykN58T2M15JWB43D5jpStBmVEv4LHX60ZI6/P6lPuAWyU+Rdb/AmZbc68/DCf+XttvP48lZoa9x56jUbYf8mDnx8Nqn+0MPKcq5JlKCD3jnSmlPWbeglmBYgbF2gY1a1ZyNGg3L42R9H0M3hIiHg0740l0V2K+WITMewZj5MpBdE9equodYiWgoXgtsrGPPmgEb+i/7aW5Tj+BCjSjGv8mQEICBpkZYHotyEiCE4ajIcq1vCSmiBKE5Vx2hZA92WZevlUjKsgfkY6V6Ub8dY5OUVcBt94x05R3FnTTP+5IAomlEtHRnVhVZYAM71NwCApg3pUPETtXwe+FUKYZOMpjw2ce4ml9Qphr8rR26vD91f09/AWjPfsO2Hxzm9Ta1Ei2Sf4xVmhvFaYVit3tcvIf77INHh2AQmGf177dXxMouCGpUiJ3xQ/65DRvWSllnO3RqNRMJItRG5MLeM9XQc8wGpvwGBBZ2lGhtcGCRUeo46L106gfQ7bkBNCi8nhGe0nX2x41VVn1C6zWWy+ERFqUdMIkuIrdaKmaYjkwKfnQ4GIp7vvcvn8bM998tlWwIIBrsTyzdxgjvBDSPM+dTYSdKbzmL/jOOKHXa+vAppxrrJlVA4Quuq8bFiuUDZoCuTU17fATR38/RpkHWv4u8oyijQPM5TtNGEEKc/w6ifzXe8T7B0LB40RBSPPcUcJRaL22rPBhbHX5zJrjsAEN0Yxc7qXj8NN8ex7jNJNdcEDVIbobd1ESKeiORk9g+JFik2ceCZgUoqfjivbCJQHYTQODTEF+VjNHvurI+TICWW6UytLAhL2mdE1wsk83oTW/W/6StQDXK4pYsY14+63NNgu9FIqamSqcJjfyrr0SAaGA+O1MEsg5OQ/ijkUZ6DQjdV/yfUblBP3zJmjEQFnsDx2Nvycup5k7R5+DiN1gfXd7eBpGq1lF+eJgXPuns6mR5Rhy0LJ7vUp5LP1l8zBDt7gMkdmifQZsed1jj9Pm2cqozVG+8Do5pe14v3eQp8bMxOtPOE1+SiNlVP0Jk6gWBu6mUgw5MVuZb5mhg8/hKH3CiBG5NXMUedOyGPGASlZCu3SxDural8n/86COTeXyB6abfK7nXyrORON1M1ClOJ634wrwHDeiV8wwZo6/3p6gL7rRh0B3wez4wP0O8P7zgkYBZTK8EBihWrf1MNFqAfKWWjW4DZE0wzMQ22LuEO5f1jkN524WevrblLzpmY7Vf63316//rN3cG5JGBf7yxGkz9aVQmPH4bjutxe29zh5wBnRGJF/muKNsGoxN3T2tde/rVHDFAuasKjcqtPj9+GWfg0hCtrCvVXmpV3uIcxKYZug8qoQLyhCuCvo1zIiqr29siowSySXhPNW+o5YzGUN/fkCzLzmWHFTwwr5y/H65ya97JxKP61RKKb3eWPrFAwl4l08niQTPOvaGWwOsyLMR5L0Jmv9fwUSoma40TsOQQR5QuOAmwKZLylsUgIf4DEsQPdQKahiGPtsBt/kgwTMkOa5rI9GhJeCg7uBU7S4Ejy8vYpmWt6G71dpRYqOiSkhqfjZCDFYz8dxZTDZPYuqFGpZgF8gf/fBO8JO62oA4kqFFYvu/0vYsX+MA4Ju/RywzvJWnHcS89eqt9NN85sPTlUrtWEpYsjRzfWGZzuB/gpitlCP4bLV4A2HKmKSLB1D5VOxtH8sE3yRfEMWlRBvl9trxh2kvPTISdn43WarSj2mANIQKwMM7QxjdSh9Dfoy6xzHx8dU+lZWmbRarZHKHn0gUV/PIt7ClxXjaPZ+ikZ41ZsSnfHvXCiqpHEJ1Q++9p1/ngp8rAS6buf6a4Hvm6xnVtzfm9gYeaQM9lUZ721v4f663QIsMZFjqZXRWIepAtHc3iUc/iuYospH9RvezInS4H5tBZEhicYnbJIUpa/SMTakcroyX0vs0MH9Ux+cPstW17kPIFlxjZL3LEiIn+jURZvBPmrHNTwi7vH2JSx4GiCvH/BMU/XkmTubDUzgr6Xkm9b4BBcIcNv3jcojbt0N123+df8axXwcvj/n7SulmuvHWRSjgpHCrM/w5bEkGsKNL7FY3R9l7CJHS5hJeXAcd3eOa+EC8MzqjEwkYYFHeuU+g52aL0vgqNmEeByjDeFkq8L2j9t+6fgqEdK/nBmXl9Ns3R+YxqLPSbltv6Q3VpDL003l4FrxrO4G9BFPGcJmdWMOd+KRn4zhNOarMvBHALbWiXuB/SebeA5AhBDNe7n6Fg5ZVHbCwkd+QalhHqCvWmMaxa0QDVFq1eNpG3cC6ww75vYtEJ/FUSHRywfz0FvDzh6Y/t6rpc6+BJHiG7FopHnSHHSg5vfyvUAv8zOrzwFf17jLy+/GAez8wJxRnyUATUOjtOSWbAJGOG26jQ2y23/90l1ZqYkL94xLegoPXIdFVozE2r1bI6NuJ5M2vFrdu2nxT77AA/iIzW3q9hDPR8YJuJeUq4zWRa+dkeYm+mDCJM8q28vAwCDuFqQrhcp+D7U2I6Yosv/c2OfTnzCPW5HKvQqkFwJX+tbzZ4taLh0eHCIGDyInuwd64jNFTIXx0Zmwh606Rxtrllhp+lOpTRjlIMv/FF7g1pk3HaDjPuFcJ2PFF3eBBOhPSad8yneTAmRSCz28BLdB4ZtCPzdU/gPUoo2ZJk3L+EdBxzNFvLViNEB10r9WfsAbXGAbtdTzHYt43RQicRvR7Ves4yD6eowaD6Gm0DaSrQQ7iKiyVwJxEV+O3JdNK+TPOKjvN2Yk6iDzYush+ZuXH7YRZ31wqZ3GpNiVKrIN/WdXe5qQAX6rsImuR5lepgNKp1Tdhx0vpUQcUrviJakmHZD/7kmWKBhD6PAh9Ldg3M2bxf6Ta5gLc+382CmfA02S3WJN1Z1kCyRgxuEjWU6a7e1Unnemo+90AP464mFO3KiBVDzQAk7BMzOjQBlMv7RQb18SqvyHdDFNfUVDquyfKzgZnLagDLuUfgnyEi0XTe8hAOB0Y2Rbxxmd9eMUetVZDlCTBX6rSQ2MxnkktGS1l5x1w1idnLmWSMoWPkDKkMvo5TaM4aIUrR8AchLQk5nNX4rhCF0+SHwc2lRGZd+qnBlZ5hlshmMLYvHLY2u0+N033CyGdn72HhazGX5CXggOf4W8YzTA/BZjd7E0NHvGC6jgkyS2zaoQPGgVjN9Q0vUO8ptbR1LgMILSbF2BuRy5JXSNGIAV90CH1/q6uxAj+JGrZkMkQxDFscacIAl5HW15ima/Ww9Ttkj2O/9Jv0iW94jPPFF7BmLFBVyHznnMfKQrWjRiNgPo80+huHu6+Jb3owaJGbhbNfsbiLRNVRvnPFHiJ5rWmBE6EN6FIGLGfQDBpYuJlm+3lRYnQ+zAuEkXU/QdMFiIoGXxRGldBHIlgHoj2HqN+PpSM+/bPpSszocmdYE+cxzzdx5zjIbtkUeCk8wvH7cXaKftrjGAAxSFFsbRC8ykbzsPgplvGl0J6T1NeiMTPMYXsaL0hWVHIFnX2btJSdgRTd1iZuG/kEaFq8tD/BFiwwgGzRfWZYuFYEWpPa+TB+MrlMFLzCTntLpp9hnoPTklnnfan6AwGuLBVGsYv69UrsVLmPEnCcAITpZRqC9kIwQsxQLmG/5VGK4Q17/RUfHPrsObSimuWYP82vjHR2WvK+d0a6/KvQ9Usuf6bSulsbUk1mHgmftu2gaCS68S0VOFaroPVZhuYGZ3kOByAPz9xmuvLofpvxqxoSFw1OegaZZJtUbs+6aXxtHw34QMR8Q75qAt4bt/5H0YvmFFt9AG9qn+mZ/sKNIgZdA+mrGl5xdrzOL6TFKEUeYRDs4Udy6FXUYp7/d4+NITszKVMjXBJ7i3+7i2jPNzvC0P0rtt6r0QCQP7dLASprpUzzuSYLM4WpMxmuByXArjMgUthFZBTZqFx4FFzk5OOO7UD9ICV9i+0WOIg3MjfNXxAkwi7IOwolXYoisxWvIuzQ7ZvzsXAhTjl44zn7GhuuVbTqQZeAmAjHyWbbqIXWGiYtnQ115QZlKDDK5cp3Uld48plMldCYur4SXnzNj3O3oRNmXrNXRDU4MOGNNGysK1dBhetjnjjQe4KGt4nuGy2Zu1Ibr9eG7EeV7T7F1EeVTginUyH9cN0BEN7h4Q6a3JTzZmy+qMpXy7vr7J85J2MknT9OJRCIaK/+Sar00IVDahjG7hCViKaLJ2186qkqzVMVq3uNKYqKaRpCDaOnmecANW6LRYjBWM1wKvoDnfKFDbosKEPjLsKpxxEDC2iArrpRcRWtIz3S8dV3HWNKeWsbUDPKLTFIXRBXpQc0MhsL6gcE+jeugSpJyNrPh8PcbthXAoWa/aGzIyHFODnP2kgkIadyUsBr2D2tODCAQb/o87kC1gBsVUSB9QUFpJfvlgVb4QQBMv4SPsxUcvxlfNBgaBln1kJrq81zWbUqhm74yjQD8rFcDhhd9/M7PAFF4dudhRSZUQmv/7vTt2TyFFJioIb6NxtxmI0f3h/ZZ/YIN0Vt5/YJ2r8Dj2GuCw5KNeOoWxqgG1/4ln9eRLQ7fKFi7ehyIK9MUlPDZJ0MFIt5YS1lBOqUkCINbcXwOCHN0YgNBFVn5AL3S2F8xtLcgqEdx/vM3Oo0BGF0dkRIt9dou5M2H2conY8ZoSdGxHB7HXRxtps8qvBamycfjlAaEzZL0QdyGHCZHuxAdZiEIioFr3rGpoW3dGFP5Wbxeikev5asRlu/p+qREMiLISXl/d9MkZDHu2UaS8tpvxsYhqFv2I+0B66vcQc/z1u/WJ4AdNh5JoawFBVj8RZlpz8njaHtGYVeWbeDteWYP5m8fFE+0kpObjUgSke6Fuimnc28P99nbED83omyxRzLU8WJvC5fisSE/gmfLP36m3jtkcPVAbPOF1AGSzYz+x4gGmhokKhza/yXLliQYxzMwU9JYwC5ax2+TyhhYJYJxNHaZWWYlAAm7l3a7rjgzE/F5Mmn3NLgBd2H+e6+lh3tdpMyWjOQX3nONmwldxd1QfA7mbB43Gb57oBdEcNc+NipvtqwDsyEUovl+J25K366+BY+z4RIg3ozTY4cTxk7Rjn0dgQlfeL7zzO9e0tSxQx0w+Io/oixSAveO+3ppxZGL9wDYXoPnhE0D/wnIIjtUirXLn/bWfnoK/9mzOFjJ9WLz4erRQTZx6xw8GvgZmIxkjAepT5W+YhtRLDycBcj38jcYpam7bub/VfMbXshZqQQVhcex8NBRVYBvzOen7X35IngnXKzLFTxKzRksmdaSsD0m8OK3TiZ9/GFjrEZr0vjuOJgsvxrMYI2nCuICI8JAM70HEQ1FRZPPAvY0dFFMMTurelRUAEz93H3js/bDxKDoQXWo9QqWdIODNkc1erRBT22M9qRlObJ0OzqdhvgEGYlMOJuu7uvLIkQQ7kI6eGqsR7VHAN0ecK5GSvWDbbhMh6nGlq0CxLzW4faBjwK0WB74mRixH/lzxYEP7SYqH7Oj9Lk4fMSaBX49Y+0EexHXX6eMKNBqQVn5B56JmLc3prLFUmyFzNMbnSp1oRWrvBQuQpEnk1plNKEt/lkyNyA1GFyFnfEeyjiCmscgsY1aSLlx9/ESmkjlJRsvpJW1m2lJLULNqSfZ3IpF+CPWpiaVh8jdTxy38ZRBDtFZgTFFgnD4jxZ9HSM2BhoLQTJFHd4lefK9wCpyhTtvYIWC4QtZNhgKotsTXOY+ZnPhY3os/9pwJaAiVzf2m2jrTJMqvx/hESSs2zh82/ccIrZsROlZzO+nWWSvjs92ExS4nu306w0RGIwo9fN/vdvbWmlwaDugkSmCKVueniDNuxbpuldY6CVKeQnkDuWJl5GUaQiQ+hG4UuC2QjN0pH19EitgeUpo4ugviAR3guXn4bxloVJFpFMUpfnqlEGb0O+jk0zLhr9J3DiWABA89uEEzX48PyT++acnocPV4q12+AyaF8uLQHJcPdxT4BEHfDu5502hA2snmc0fcVZimgocMe1DKK+jwmN8Af5vezlTfYq3JqaKi3KzSkLjUe4K2yiUnHrRTyZTJg9AUipNQZnGg+AAW6fOSsnccpi4yy/zS3wd3Raef/a/ChznRYnQfOEsh2zOOQ3gKxKm4ca8kUPRyUpUk4eeniTRmJ5IVRKAJNSmmsgvSe8NX4Gq4l32bPib1sxiuWTACppKB5zZXjozazhGunKfKwAsQTWf1utOWoInW1K5c8FgA4zAK8CY9rQfEQlx7uZigvmKsT3UhBhX28l1J1HwwphyhYB14uX1zXdSIv8N7H9gcsMMICOZMy+KYcV/EdBUczvNY4EbHlZ7GHsuKKPOJxdPzIAdmSD2L+WhqEZYUTKiPcIm7H1iNr1Q4Pw6Yn228Hs3D+bTalNOxn2dPQSRLstdo78JFbQj5dX/fjkripFIwf7hgUl3S1ZHcso4eUI5wqcR+uumEgXnsQUOnUL00O3NFIVIN01RWP4mOGpmj3Z+JDo2ll5EL+L7zIIuRO6lUDLLOQgSMfoHUn854ORkVCUSKM5x7pCVC7h72WIsyTjoU0kMNG7copAqaxPnA+v/w6+l0XS68kNjxAOie03YRafZzkdX7ZNxYdd1B0kSXxIR8AphAL3YxqygkyNgQc7x2gdWCu80zH7CWsIuJJ8fngGyknzrcLqK9UGO5SZcU/jwky3ZAQsgA6hf3bgHTyMzn+jpGaVLpRhrTeUq9wCa3mKJfb1/h01GbBfZ1D+RKmPo4ZGj7qPIMNreR1MWM76e6SBfj4zox9LH2xp+N0UWQO2OA3Zxk9zedGzWsc9bzrRqc3+4iVt6KqCWcFyYwqEzqFEUsubszFS+jM66yHliu/EXVYZupVti37wDqSgQTR4NUXLjiXdxRu5Z0polf1ROB2eV9e5xRE+WYVfF1KQax6wLwQ00+1N6ZLMMfcyGlcj+/GY9pE05cYoraVbbozSJiIhRJQVFBvi5F4zeDqA5dci8lvFqPGjOIcuVvCXQgSurqjnQ8wXGm4qj+Qh7acR0p40Z1iQVMWC9wmFFLJs4ObZgKgFDZxlNIWpd/1IuF8z9JB37y2F+MsuxA5cgXxyOX0Ov0LpGTQEIPRtPA4Y9YeO8ysC8pDrJqYo07Rk8sE1504445Xwtlokf97MQdB/fvv+/mphEyOAXkM5JF8SELWrXRgcl5ns+8H80fwoNE+G2SZ+WNGx7wHhhQXoPYukEKZziq10a3rqpmHnXSav0jNMab5UZsFb341fJsUDAOQLx+aF6s3ZH2c87OjD99urUyVX490L9iHVrTahKUxpSKnjhoR7b9zzSHyuoL/YAJYmZDkZocYhizz5RQzz005E8Ny7hpE6w3cLzBPlYBf/MWUsribNgwFoayPk0CgQKm6iHSOWkTngUyAsGXnVIJSScg5vVIT1GkccLVReeRZhi7U/UPo27I+PDW64onZL7MGAYswEoIY8frp4Zfrmtdh9L15BHcZFx0O2qvGnzEvjiyn4j9etkMWI3n05ivSpReFK8/+jD4mrtA/RYufwav34fhfR1CVpseyf0IAsUWoAhdC+gJWkOkDEHR5VJ7TJ9Bqjg3e67Nio2VOTRPsJBggKw2jBNb9IU12DP5dbmWeiIlDVBPbwnN+y/5mhKg+1PNR/A0POK9TAdzQ3gxgJO4gHoxx3tyQjY8dFwXhJrRXbZidSLAYJ25TjaQ9p3MoNXqFxm82rEjRwFSdKIfqnVMqZD9W32vfywnwkFPc0qcznk7l5cQ7zgL2DdYOGo7c3h8NHp8Wjn68zBX7ITz+yTIRbXHRCGIwaDkNUFHcWrcWobMp1XMIzbrMh8r0p6tcQrHFnWtH9KmDoQtgL8+FfioaQbpsv/YYJTkWXg2c5L8K2mOhkCOtYAo7CBK+fJRxbsepfJ6hyVvpf0nyzF/mfxqENUbA35DRj6RXRjhR7kO3Tw6HEIA3sLGpXAvbJvDJJtMZ1MViK89VCHzsqAoMn04EQ0uGbhb0bJIAe6JJ5gIN4+pqJN6nv4cmbvcYJ/oZkci8hFh2PQX7Ijtc1tYB+/xRRRiSL/VsG6yssCDstRSmHyzX54NSWIgAlIU88etpzLZrpHBX79aaP9Btr+iYeJ4O+fYa7f/nhlKLJZC+tnr4RmoMDIo3aACBBIIJG2cALeVh91mGJcYkN72c+UARN4FiO0GV9FFCy3Kh6/QxGjkU99hVeuUYJErkdD+sk6LhlBvG2LWp64GI8KnQOUu52SS0ukFap4P1ny0JVQize4lk51cwrij/oSM0v+cmgrZ8PqM8iUG2r0jtqmV/LXgqOz4pTUzTKMsJ4bLa8B6W8hgzkhJ2HTea+rQ8t05XVPTMWALu6CUGihlLZXD6myWPNON1m3++kruIXrONU+G7NNM5IQAs4MxRzdw7/HLSyHAdg8ql2sKQN+r/IgoMiDJH2k7dABiW64j60FsTW60lHG/+MYZWCBjOv3hlT3Pjpj6JhA0WVeP813xcYdeCdHYyl5AuYYGKT75YXjxBrAg/d9FEXFxwN9srhh0dps1hzY37dIf8E4hAKQQ9QQQBg1Cdg9MN5+KS2VzQAwU+QQuxNpqPkdEhU5y/j6uEVzomFPY74NK2uZWgZha0UpaCYC0BadB93+HJRkVYH+a4ojFFgcEwm2gm+gwsHXICBlDy4uSIM2oP7TxzSZ+Uka3zl7be6HhNKWiUOaJBu8ly13T9/J4mVdRIiMnfpNPrQy6rzcvdnGtXpxyBAJ4AI3VCwRZcISTBCi1ZvElqnzszuAf0in05KEHuZX0teN/uUn5zy48hYRwqfKj3Ac2KdaF4pM1YKTvZH4VXh63B/BGVdsPaFnp/aAZvLumdADZ5XIaToqsBeFpEYEGZp+3ddxH9ZRxzho+Qne4VJRrUoKWiOF9qtHm2PUFC15/mKD1ZzMPM9dWJfaO7HQvUZxFjAuWhv+3Eb671gnGkyW1OH0o+fDirg2psmspNondiLsCfZlKhbalLBqXJHCk/z9SDfIh9VXvFx3XZxuBkL1BcIF4x7uKHNZ6SdTf/9w2lKjNMHYD0YOBVs3fm+I3Xt/6Dt6PK4dmP5DKbRWP3ki0JbG1wy+2T1DrtVyuufyTO4FTK4l2bkMBrT6dfzrMLaXhjoy8HU9lKLmSgslDI4KtRIUP7tKjaLnMFUd6GenOEBnCin37UfeSZKjK9rcib8Ggf/RwA7Hg7MYHldnGE7hZ5DLsXOdQrgEJM1R9TPKtoUlr5z6k9ipHot0+qs94QxU2bIruetV3oHeW/lrsvYvbI/2+5M9bAi2wX9ygCjfZCdsEk76jkzoXxgGWOxHjekHdBPA+wK2Yc2IEpIEleEvNxF4dSE41GJ8i5R95Vyk60pF+smrcnZ4sP8D9drPygDDx04qKOpnWZTaj/JNetqXVecwSXhujvcV8PjN5Ir5fa0+4L6ZU9o3CKDCA0dGcNy7RTmYGUIshR4q84aQdH877U5SldQAt3epnT7Mo0c7bZvXXaYJgln2FtmJYYVGaiZ3VThUQGDW5bxxr7FxFoSJbQnQExMpB78FrJUW91Zq56SWE8oj2OzJU1SPPJywun9N5ZF7oK7PrJdTh8tiLT9k6Nbqw+qpLtSr0zkDzF/igfVPrmelMQKLzMHmiQa+QUf9axDgbKhoYICJnpFe/hSIH48rJg3uOEUfRwB4EDX5t2MznphWrdHhA4v+CBqibkgMzdG01gt0O9BkwGYB6eQwSfYGF8NvYed0+zWpB2MkTpkB/fHxHHmbGVJ//ZzbJ0OVSMhod+lgzjsufzBXqInBOfL74nVnZnde1MpuBfI0oYhtbFvJbKoxX6JUYqR86vSkLVHFe/cK2CbT9C3qDsCJKCI1p7pxr+lzMdiSRcoHxRBG+zjnXSJnjI/PReM6o3EZ9M1p5Inacbkth+TT2ierWjxPtoX+/BhoIvgENd/ipVcag6DfFYUIi8Lai7bsfy3Gt65nYoflEdrbKYn3dwuasyQymdemHureg1fnA19di7Qn6PdEqIP7ocFv/lkpO67maEsQFurAO26gsyt8qU1NbgXV5xGuIuejibJOSCdyyLpv74LOJUgAJdOuXku/G54NQwv9FLhDepvMXKNzCmnI1bJPmHRp7leBEb+WhU7u3y6ZIIT4PVugAwWaAnuIlLl8NfarAxtH1fdLjDqQ842JVA284r6bfBtc6Ir1iZ/C6RMTdRKy/xs78t5rADEu2uPKpcxe/QTEtv4ypmkdGiFwkMKLzzMB+j8Vo7szuFa5T3OgjjvGBlUOz0zF8kLglJXLpGbFm5hy3jiw3cWZj/0odLs7AfOfyDWPEkar3ewKMTbgahCMuqkbMFlNoCEORRXyMHWFTnyap+rXcgND+bSP028BhHR2qKasuBA115pKefUNgpcMwR17FQmq8slsBV2xEIXlNL7GtZ2YDENFwJ8a4ZHIVBNcOHzbhT8umobh4Z6fKdifh+hGrvCKb+sXtu2MqgIS+mxqLo/KG/BOkn8Yw+e4jidBhCXy3isciGMDPqyfQsAVgJt2WtPB4L4X8oX/6KUcKJF3cY2ViaeAFjEXDcJB4cC/YoQ29nK42G5sxl/7hH9pISHQyKymKg67j5csvl9LcVZwleknf/0QbaMkPaa+XkeMKqXImPKYMuDCZc/Vod5cvmLy8wgzy/H9du20DzPEo0R/6xZDnFiQI99Nyk8UooAlGnXFNd0uKnVaeEtmAgb7grXvTgpXvxGYW5rtomiImHgvyi2K6nf+SK7C0Aduh43z9b2B0aNq4WRQP0otSjNRSq4wT8GxN6FsFWV6DlQxkixrKhIJshhk4GYaM9AYiOrtPkSpu4SDPXy0eZ45DVwUeRVe345Qxs/CFiuVlYNafQxvVcrBMZEorrrW8o/36tzYHOwPWcn4W4mnv9r9c865Zl/RG46LkqpG7kR/+24/wsZLI/RHs56UIqerJW9Uaf24bKP6iOBRY7RTdpT5NlPGRehjzdHHFSrFxrbqW81GJ38zQQJU/YxApi4g0Gwe4gzBjf4xhVGK69OtIcZbqxEt/nprxAKn8mk4AYlZfP5bgokyQxVHtc3DS0PJiEx0cQdlCxJY4DJbyWW5nlh6U6xmiaTVjqqlJz00jiQAYjspdDjmQar/iSTJ97NU2gIFVUnxj7iMTdOy9KGMmOvLLHasLcAjnUbG+LaHRuXAagh2mWHqUorzPokXkMi1zBWRUYpzup5xs2PML7q1gBdBJOmZiTDgs9dSCHEp66tBeSbk9z9TjWv33MzjhODdiPyXq9AeIrn9h1gHFM14YH+Vu3zrsE20A2RUqKVV/DRCgldK7z6exsVyuPO92Ao0UcFNfox+Q36JEz1CZuRSPTEXOBgJhW1nhP78AuwHcWPigFKgYDum1ZT+jtwuaHM+wy6dNran6x+y2i2OX8s3xkzOgLzsVeDL+BtlBG+7mnUEdmNTxTaTB/0y8rra07Pv7a3TQFB/xXU6dsPjwmK7JycbMF2diWAF7F4ccfYCFPjFMu/YVdyH7z/uX/68LKO1TTTSd6Lnalor7exijwLFxZcKONAKzt7BOcsuQJH5AnK05DpVenere7i5MZNcbdw03KVYAGIap06Kpu2GWSZQ3N3YhGBiV/q0kkOWbVVXuHRJEC3/QF+YJijQr6llY1hGiWu3D63/MbV888q7DXAsYLr/LSW4NB9kj4LRwi9QwnaCGGfMKmt+maKqjGgNov+8dRKMQU2/mtoK0EHMzBoTALcrlsBAF/FMeGvqspJDKsjsZn37s8hxm8a9NDV9sshW3Rff/tGnuCzU+2xvS2UQT94biutis04NwekXsZFyY26m2TIPC9HcpCFzP5WKVVyeLwlcPNgAW1o2b3DHIhS6kMS822OymeOzBEeqMUgXj+nH/P1xsLcDrKAWMLehAcyhK7ab1ZR2JL/T5PP81EsSm1GwYmvhrclk1nL0LdNCOC3iCt7eiilEl2serzI6M54BFo0aIOL+rkeVjkIEV0jAKR2DicHGuLHDGWJ3Tapt5XSQsJurr+NTGIfW4b/W7VRkFbSh5v6vU7TU2ktpGXVKlYxn2S+3Plg/rzAeEd55M9UkTqJsrjN4hZwm1EvB1ssyldfU7kduBI/wIW5xv5F0vHKPthl9f9Ghtqa0KRSBt5NPu9wZouFN6BlyDWgTqtDP7ClJ3I/xRKFgNmTYkbUpYdya+OjvgX1MYRD/onExUNzseRRPHU2CBN3a0jdcMXDNwGhR+dVq8Z6lUhLeYu2sKUj9gL6wk8XqoDGNkR+nhUQ7HCwiatVYJxkK1fSoUQtb4btORYqymTSzQf7iAjkX9upx6XSyTEcs8VN3mMTu0Mn85+HLzcoDUW7/H1/fPr9NKR1vQRTIRkJki1lg0WwBdXBNZ/yHbL8LsBPWp5JYJvDZhyfsNj25OfKE5yRKEBsKDbxltOrQbOXHyQZocVnyQGmFmovrMqk3FazkfMDd9Hpyk8h/xfcNpTrGYH9ejQjbX9iO1VTL+KbnAM62p+86EM0SB8S+T37GsJRSf076cFkYQB5kR75zDduQ7U2kZchPp03y7BnJLhkQeSHJ0tIwx01mzijCq6Msywac/KIIqVfNIOagjhaUb1EAiZyZKqzIS0XDtXiC/u6Pfr+UOSoO+kU1Y2sMC9QUQPH7KteAlBUPuI3e7C0RO6YQV7oLjG6VKlt59Mq1Buy9kTHFJmOeAafAahvYgLMUdbxzqv66uLpnCSk1N8oCh6OGQFLZEhUE6VJqVms36V3/rCFAVYCqjcv/2YlfMLA6Ln9eJoFCJcIoWP0X93m//XNkZ9hfJAJkHUfZyHc5Pz0rfNyxLPfMfLRQ/Fw/zlJlbwOhLgF2IxHeMxZ7jDRzIegutUzoibihHv9xd/xb1JYJeIRWaThH6l7x1SmdD/YMhB/9V2HhwpKlxmftyoI6CPTSYwXqNxSlLH2N9mqD3e4q7PFxnS6ue/92xxuGp8guNPwEgWEseOHrB1h+mgDK6EFD2NS0VKAX7dSpYGY27aVkXJqyknsNXj4Ypv64yOX1FCiNg046XIviOk/BC9UtItyeXqeT+asoVEsL2NqWo1TGsOsjK2yEyCBwzO2s+AZRqw3kkCM2TJPI6+Rgvtl/PzNE92/MJ1ZbTKl0QmdJnxRluTdxjt/YRcPKG803lMtlV6Xi4xOznUSS4jJjKolLZEsu/0vubhaXQUoMFzbOB7UXic1+42I6GxlVF6QxtjF939cismNCxPv8WYQLkg86K7ZfJiz2mYUyQ2wbKnhs/M875JvxPBsq4ogdvGx4pL4gA6bc8NjYnUCv9knw9nDQlmb084ekCycOYkJf91HxzHzY3g6kjWfw1Btq1laGY8l9OaI6RlMObWWyy4zX3AyYaJFKpaBxxw6TgVce9ZdNzqF8wOKLICgRUTXlNLzjkpoZzzFe0xf50bTPZVyq7EerQDGHFsWjphHfo1yNbIY1RbJtxQtAQchWCqx53hRnthNWiE2DzK3DYHi6FdPdCbZWk0d7DDgKJf2vD7X2kT/ePHDYCqvOdx+lVZYepUucdkCHv8b4FjicpwmlTRqitYRMsb64c6vUkLLSklVbuSCWgoTdyixBjs11x9jE1i/rnBYyje4CHmYJMgOgCWjv5jA4Xe9PuWyIL70SzKc4jVZvfAEdGb3uCO46kjWU1olGc1esRvkZFvEtPPix7V4lFIDe1jWtathEd02C4fQJMrFQqwj/H7X7JXIHM5VoStHkucqh54x4ROHFXItwv2EqsAUHPDZS3h7JzaiHwqq2JNPzZbOvL4dQIcSVaa3ZTfC9/OWiLtzHGaycyaOjOhtcalP56Ycu0yLGdv2FdZNWVtOl9o8hRbJ0GlvxSKztFxe0WCFaZUfg+sYbVy1hwsDDq9ZW+m8N9S4/F0j4W1vCGtcIUS8Zv6WmzjYTIAEfL2V8utgM9UvcgcTSLzCx1yxlUUE8kZUnKMRwiMLrcUlBeAqjr9WnqeIVjeGzuUV6Hu0PIUtrFxnlgE5+4MRJSXsaCJyqD6CHnLmIjK8OOt62H9qsvhU+Xp0YSO1geks0nEewpc+0p5Zs5cWrzvn40l8JwBsT/EgRgxPLSito054Dkv/GtIX/45+GSxEw3idIQfGUuyazT6XTBlvfNZrX0e2GzLi5v1h2vigo/GTVOJgeZ0LyLc405N3KrjJCgXbU5R+K4XR6sJuSgY2XkffkO4iWhzFwzyFwPgCoUTtbZhYrb2DD2mw3W91Ig8TICJCIOKhJPBni68wxRnNQ4OvmWC0f5Arvi/sx7x7FC/6mbd9HWSBQ1MapSpWGOtvtKt7MBteg6sBWC4yFdC91qBRxwPKOTOChlksbLLrDLvEF/c9oZAgX7cxlxNUtr5Kaclyv8PdJuSKXDxoP0mHDhK/Pa2KJrW/JNUC4OqXcRAdKVVLKCskPi4m45t9HYRWbg4tNVTA3wJP/oErrxvb63REOypiCBCkCnr7rAoIFUHklDhUBGz77ctjOaCQaELhkDeey00Vw3lN7+w5YBKo2W2kGAtxQXleOCVGsYZQIUmIJFXcpwq4d/SJek1iqKFnDKzAPMFgZvpoIVJaK/HIJoYOywjgv0w7ldkk03bkf+3jWOJtU9H+oYFtIKNQXr3+E/K46BqFldTQyY9TkrwqVxGdYeI2+BozjvyVYjVROSCw8q6RW1QnSu91aNOw/NUGZNHxAeZckrrpgtOSSw/4yIv2PcOg3SXl+4kTO3aUHpHo7doE9Ee4xSFU59JULuDQE7sZF19R43+fXP8331GMO2ED3lP+UCSd2tpDZZ5Znldl/gPCAhBINwMOmeCsKtgD87y8xpwGHkdIJx4l4ptp4gA7OCf0zmVT5IKZmc8lqBgwjVwMJXOyqm+SzEn5D58KTn0WWSWsBJUOXmE86sd09mcniV2VU2gW+7rkMLyDq1Y96lv7GueejCAdBEzxKx5mmsiBtp5z0RKOHLyLs9lRgCt2wFs8Me9kkIuMGUPiqaPSfWiMrPbvdKNNc+wZd/fe626QLBUz7LZhBSF2hzaDE04Lcbv/d8naDtQSUmjSr9SGloPGEPAZvV5LGDO3uC88GkmfRbydQ0wS17Eb2zxv9XIhOzlZ6TKLQXu4QB2HCOgFn6XPkPeQb8yJXnrfHxtf1XPbl1+hRk00U0gkaFoWe/Qe0fW3HQVHyaYisc/e1weeZjTACx6wtE2JKQz1aWuLQI5r0PTgscK6WSTzCxKmAKXy1Mvo623r7kmyhNcxzf2024LtzUzRLZymWaoif4Xo2+6HKSGKo1PmhZV/bX6rSxunZfJOljtY6ewOrmENvrqVPC6vYFWjhMnFLqB3qdoJ0J8qvo6UO+EZhxboBeOlZ76Vejpx7gJ8oHiJb2quXfnxPWE6u8UMzlQjx/hOWk5lvrEYwtYB4hiCBxKNBPFlCQqe7+USbgVmFTLx68iYXYzq+4ksfo/GdcI7k8cXlQputka433skR/LZKKwGCPyHPzXtLddfpMTjHHWy8i0Z0Ul5qXVrr4k6I99rNVfKlx2V3XoHq3Zv490pktI61qeY7wbw5pV4Pi4gLl1UPg3YE1rz0Tg1/E5/AsD2GjCqUnFFEpgN/fEVbrUgdyvnWLLNZ6Vu3DU2vgOnWTe7YOLvaGVl9KQo3UCH5t9DEYPlAbMARgG5yvtQbxrE9Mpj+Fr9MsygW9+ZfLdMK2FlE5oqYmuhu18p3REmMqxZLbe6nx74UqN8qK/SANYxDC5+W4H+uu8axptunCbgSuRNNQF/EOTuHjZf6Emtrt0epXTh88Vk2zNgJyQBReNInmFUpaoPgcG0HmBmyv7T4W7C0zdJXGh/Yqpld1ZHImDi9AQHCw5mFvnzSFPFHlc1KV/l8X3TeVNwhawjYV7tJLAyTTrgabAIjVdvIYrD1qOPkXcEdsO9gZeXlyO5p6g+lnk4rQF2x+Nhfsbbuqd3840X+fDO5ywiirJPtuZx2+Lxwf33ix2oiSLZN1aYLDcUX9D1e3YoBjJXhubjCZWDv101G/DiXisMR8jZfrWeDSDCQBee3rDYfaqgFe/TSHVZBEoVS9h1ing/NN/8G6mJOaBUfL7W1addBUSODvZDCbtSWyYon9F5W2e4bAyb/9LTH7a+/QpRJ9jLtjJE00s1esRmlxAC0aJ5LVTRf2L7ANXV2aocmVUIoqoQ/trwrV2GuHGOMj1HoX1KBS+PEBG/FMtqVRi8A5m4Mn5L3X/OSdwC0wdSoS/SgYfb+maO/9tI74rGkW6Mv8xPFDtPWr+CMpdJqFHbj8BFs9DMZAOdhCEJaW0AW1LEzWH9DPtZXsc2OyrxJGMIyVwYysgquLawpvYkny/f1tsXOarvJDXHpKTvypKmIem4obLnwwb1myCg6ThDN9mEORIkIdp0CUDcV5s6rx6/4zWm2Ub0f/KfRQJVO0h7ItamNi+scyfklUdcb0SOXcmfuAA028fPq7RQc5BeHHjoqFNFaOINRu25Maux2AASscNo5Hbxu+G/NNlAoJJBDsBQkbMgVJ9ZGokMNqCyWC3NuIrjz3Md7yGOqRVG/ryOkIWggrKURlaJ/WiYuBiU/H37VFdVDcvkJ9/yNWT60UVLL9lJOIBbC8rZ1lyqHhi9mNHgwUckEIFCTcibjsrGUu0LW9Nd9ipIFVx6ZLUzsIHweVjam1Xo57a1Mu8aC4nGlAGAUkVaIb0HLj5J65nPjc9s8cS2BkEsS7Gn7m3p0SF4BYopM3G0rCDBOG7SdxkzmjM8OQ/7hggHD1ZBwzD+RKtBsqNwQkEUVS5zekubphZVGijNVq8/fzs/hHUAXzd6bWKgpbMwVQfaaxDHbipo962XBcSe+KAV+5Dui1NAq+rSL1fuUuh8xN1bQiYL9R7gpBJLvNJl85sDpY74LkiuGs7qGGc3o+kDmBzTdgMnp3ze8QxXSHYx9HoNzx1qJMd68teCyjvf9c4M8iqxkOdmAjLzHfW82QEIFXpf1wKW/iJ9H95LpHA5sX2ICP0EJiaJenjwLXIy2CJic4W+a1uLIDLSnf8OqTwkdwbQsnxA1egkZrcd3cpB981kz2NNizUjc1Wq5zM1lzORHZ7C5r1f9bcM/iLkvPpTMAueO+WA2+aef50eokGzz+Pvgb/6BqR01w0Ce4LqKCuZHWo/GhlHTamGB7gk0yT9lz9ygYWRRaMM8YYqBPzmm7NOWG5xHdeTyMy2ely6kzC+bEcVahPys4+6Ff6tjWH/THxeQed658IxKbyjxJEIuMqNqMiYnBtapLK7IWzou9VPP0dPd+FHPrwYVfelObjwLY2jldiCfYDvIp+gTaGElxhPRxHNwgHb52LGxNQON78XkIznf0It+0caHOjq/0bkd5Yphpta4dZnN+FLOC/2wNxFT9NNVv+WK8CQW6SopVrkl7Qqy6ZXx7o/eleJbtICCEUqJgGuRZUI58HEE6bwWsLIqmJ8sxxNDahsHXQBLA/xN4CawN3/YuMUCp/+RQXhrE5ebPeAVFdMdW2yPO4C3b/P4PAJUtCkljKaZsEsXBH36Pd1ovYe7fZN3iygcpa3z9cQAiFeVlB/skiDgnh79vfJPQEDzlY8TzZ3OAAnozWX9PNHu7pZZiks9aWkxs351vlv798WHV3RkMcyfne1nOcRQNfyqdLH5519YOx4inxtF3ZITf6ymq6YUT2KCaN7uw4jxroFCvawTTMIXfAkafNK2hwa/GkYAVQTcYD838tVbXCRKkNScrhGQrAHeSe+w0bAPh3g3+0WAvnxRpspdzLyunoDVo3z65ALBRJ0NUD5Ps80oyJJzwhzzN9ZORwExRoP1Kd2mgZ9shdZeFBi88pnu++WRlowAjBk5z+UPR069y6M4y1EIOTQP+Oc/SApeNLPpb1zUSaKCDSj6M6ECP24PfscON3XmKw7CnHpZY7ft2CW9IfNfAK3JHJD+1AlzC1ATeDAe0fFgrkdOWMTujsRCZ4orprOxmy327T84P6OrR3GZyY9Sog354o3kUOrqQZ9Lu9Mjsnpo9UsQXUZ2I5KySXw07eeOcPo/TFts+5mDnNuLvPgexn9H7RYtLQlPVQsWfm0Wldf4VmbOsRFjSIE0pr7fpRwtsMT0c3pA0JxaHA05leYvONpe+CX/Eima/hUlRkEubEYZsmVEVJGKrKhdXOZ8X4uutBxx7ulxxFPKQaYMSDjGW1kb/OBlr75ROSbfhfhPEyx7aRmrK9PU1+SF/jF37HrOszkBQucAnOrrEaePFJjAy7+ikXvD9zxmsHFJsULqDsTGxLLb3OEJzd0kP4LSBWiRSnQn1ATkPu1oB/UrcYSqWGnXb12EJV8w9c/dLsXEIEFXgigDSMbJNnrGnC5FO2XX+4BF+kIA0osHl6UdtQRKxGsSdwaCCFY49wyPId6wnLqlvkojk1q7MDIa9MXG1JGBHqetKW/wE1Uh/GlwCnFfeG7N03jIIM8xuZPHpQcsIYuOU89zHkMHlIJM9HUuYuplsy9R4mLSRG0HSDYpAAwxEZr+sVJ+LDiiKGrXfTvRUYwnkyeYkR+L9I+70eU43dHmudqyyq0l0of+Cl796usur8R/jdzWVTYMGXnSOeBAG4TzKCql14cAyp/V6ZetW8ZtkxX9TDuelBsOE1jcIvc2DkhpPC99C5NrP+78BgvLQtlBDh1psGNnyV50p/hFerBLEu4JRpyD7OayrVaegO0Byx96sCdIoQprqeHF/K2X3HAleszU4k0HBCNWKA4kH6+XzV+PBnJ6msMpXIFA35W5AhxbIszkXpGN7+eczci1imDsFX6DUpkWKLZol9DzpBeMxYtDNIK1HWYpc8DX74u51Q9Mm2hYoY31I2meRwqIadfDuDWw7z8pjFXeEpnOl4AZ12Hn+HreDjPpDOXndwp70c0tYE5/BHyySwjGrrqVszteIyWo8WCqp3Iw4GVMSzWzXU54sVssMHRbBhzq5kHcQve7zge1Spw1WUvq0DRb2KOjkzFbQGNlMhgN8AN8lxjUbpo5fvfTpOL+piRywWOsg9k5Mqek2WYMO4sPSn7ixCPhJ595CKUdg3b3cA/IxRq4CQN03xNP4H26YG/r4YDt0VH9jvW1XT1xgroU5u3cqCZAq4ARvLQMRtJIm1hNQ5stGUSH6WluNzrrmYr0mqUkrbUFKDrV/Df1UB/XzPde8giN8IKxSKhxEDn8TVyriNld1jSjh1lN340ML2tfRdTq4iqjCU6kMpM67HGt+SUUwtVXk+rzCaCL1c7rCToA/F0HaMnrTyBNWi88v5pNLb0Uit2KdNwT6h9gXe444VDfxxpevdo/WrWnpOoqL5qF0klk7I85tZb8CGbW3dWGEHGsNbvep5JU3YNeg4Epxa8n4jgH5FpmKPBKzpkk6bjURJ/F0S71yj9dWVzZvDBTltolSeVsk6BbJMfiDr8sgRYsjVfuwp9JHXkxTTmIm2KMF2GvFPfcjD0Rbe6k0UjWmoIdTnIDzNpMcKcFiJyGslODUekl4X/cV+Rl0z0aLiLv4eS3fXD/wsIO71zxgNSJdRIWQZcEtBBG1o/5dKGctZRq1ehCWte9xmwimcDmwz5c0hWt4iDIcVfQoG2vFybVuFozB0IvSInJ7iEfVs0Eq9v6f6t/WVoaZ76ieOvRQqda2AgrYlb4BT+E0tAwFB3hosaggunYLyXt8lHrCa0hWKKnhU1luS9XVHqd5NGjCBJT5mFnFPlN7U+Wem/IzLq6hyVs7S3uxnjzRdA0Y6DshOda2jXamCybjFI7PfYxH9Ssbbk1fmDTyoAIsbGZx3abzfAxUfhnZzMT3XLwTenKYjTxObk0UVRF4G5CUDRttF5WbQfDwzZbbCxNFSeaEPz/FvTnWXZqUOySpYN++czZyUfdihWjz4s7BfJxKEY90sO7W7OEoLfNN4gKOqqJB7mmpWvypAVS9uMqPGip5SYbaIvvAuPZO7z+PevhtCUW9osMJ1C2aU+V25FoFHAzuQjDbb7mQ5DKKKXsQZAEwRlwDl1vSucHj4GY7YR7CTTyrLncQ2GfZ7VcQV7X0gKIDwHvi2QUCOpOemJLIZ3rjS9TfQm/XIMrhUyCfbCIneR/AVJVs9kEphMMlvDEFLTAKww4Ff/BbE1vUx7tqZNXlSLn7DBfQKj+vqRVAFBkvbeK8n//IP/iaDi4tgCh2qgYmb7UwdkCGZWZHR38CoomlCOnFa8cAtz1re69j9Zn0b6amnU+gD7v0DcbaD35qePBEqnVa2TZOp3gC9MeKgBDIVNcMQgE1H8pv1Vp0RBSgvByEoxHn8Q6wgL4oCzd7cIh+2omI8DTmQz2fv8NzLbYiHnGaw+m2LtdCcTbXg7eBbA/EreXp0xjTCP8ZjUtHrdnHz56HX60aeoawgd4xP9qSJuyDkON+x6SmCzzcBmI09HlsinkvIJgpv0VBjTm/dsm3r5Lrl0gc+Objt0epg/cAtXSr/MffvmJhq4y+s/TPJ+GWhgtnVg7l4kFLNaSqt3QX62ItnrMtZRZ04H/VfJ1kFA4NIlui5OmfUSIJM+lBixPfzC5+UwU3efRMqiqg7i20ETkIzetBpMxwQd2GFhspcrjGgkDabKKdGhj5d03RbK6wg2kSHxjWeHkegXtW+loT/QoTspjsUWZLMeE7hIFEgNBGVffpSIYbUDZTtVj2JtNWoK2gPjQpy1KuS9t6eNmA8p4Xakl8LHglqxoeIxVPK6mcAs+uaJ17Iq0HRaQO/G4zNLIJyiwf6SorN3GVGqddBChEQlU7TnB0ALYH4CSKueCvwY8AT1JjSmByuSY51mOsm00JlJoIn5fzt5FDH8+8dJ+Kjx8RTE6wTHILE7XCU8JHZhegk/+rdDxBxvjXUuPcUQxnq6RIPRhkatWO/dPdGsfv9ZsnTHBZkkhpmNKHf4cGnNd6nFQE3+4YPiMRNoDotxXSEo21YYEQMcShTy4ByEfoPBacu0ScNu2r3GdZv73n5b86iHukrSP5d8GjJvhgr0/DkwtpPRIYHV5Y4UUlIX0I75cWZ6rjRu87mowOm4OUGcjXLO+YaK5pJCA70xtl3c5/rwyR8KaupMtRkIecJI8y4IghAMFwP0XEWc3YYqxOpZ5KLI6M5ORxIdIaM1BvfOSp6/uBn7zUcaYVw+6W3lY3drc2xSimcOGDK0y+J3leyFD17DFgyjWG4AUCNErumbcjy6JBlHhkar7zHJNPuE+EiaXBvbMJ3IEPsAHKffmfYooN950JepDoVWIXoehDnc6oQNMTfDwyJDvD3Mdf/kZP4W1Wje71hYecaPX6fh1CaMfATUZ87iRN1W0r0AxOL/fwwyAVruNzWFKAkgCUZTEy1Zq8Rqt/2mMQpr0X0i2b8EKjVXIqHnCPOFd2z8joaM6LeRl7Z8QZl4sZLzXyzzTm0/GVntSbsB1hHcKLCXfmP7EfkZdmGkHLxkiI2TU5/wBi0IEu0PjlRHQqLSTKrh+zOY9AzKLqVjcIhTgwZYdtcII/7CX3B9YwRhv/LDCt2+5DMKaiWuCEY6TlKlGeUIGtHwIgLb054o56doM0AfdQ6ptSIkH3pfHmUwHGMRH1oZxrnTvh/QKSAJMd2mQsV2Wp9SiXFj7Imj8WhumFzuiEHAdMddeS/T7IW0uaDWBRL8VYnNqr6/4oin2wJnCYrp5CZI6Zf8eF5Fo+7hNKOOaRdtLrO8NhsI2EC/GXE3+BuF/wkCvbGPg6XJpfpLutApgbBG07n6A46kpgO0AM2akmgEE2y0Xn5DtwX6wbDfYH2VZZtWBng5+gBZQbtbFbTqjXil3eTs+JWi9oHJqh+MPYnyOD9Ci+R0s26vP8fm8JbH6CZ1lrun4zPAv7rZTeHtCt/oraM0FoogYxtB8KSsdINg62xoWCpQtfHGgcmXZr7ni7FqYFIRNuEMCD5ppyjXBqLSeKunQBQ42wDDVQGigxCYJ3VlWq5pg1mNUYkxZ9jYfWeN/4f7xjjYaOG7ZcaL6yr0JTtnFICdGmxfypMCfzTV1oDwmhbs8tlFVakPFMYKcPNX70KZanF3gZ28WmRTqUAhU/imXfwpGWvouaCGjRHk7MaynB0Ak61bi3iSQpPa2u4zDVcIO7GKqj0Fivu/2mksmMhSatnvQtJ8a66KFEamwd+SYiAFVrId9Ei6hs0hm8D4FVzFlVyxkSymgJBOBpoJdifXf5RuqjXctFLQDOkxsepvzxj3DbuDT/n0UvW2QZb/wooZUjNp12Hd1bTsU4FLWvxokSrXP3NeXsRFUq6wUhVp0ELC5a28Ja9WujGhW/INIMZRY3tOxXvf6cGEBJDKiGpXG3xynMYy3UfZckPE5yZfUDbAHPGxOWPBd3Je5PB+7n8Dmo+c8vfLHeY94W4x4Mowz6XHHqwNmgKjmKkHCtihMAeHwSQRuALK59af1nIEUDFATt0sXWY9vZLXqJAUXnsz6z9xAbrI5w810JBMgfYkP2D3oKjRydXLHkg8T56svwuZesiIhKFfAg4l/sChDJeM0LGCGLyQInJ4sMFgsEsH8VtKZaLeYNkjcqkhnGQ3GRVb2zpArpiUmUXbfIU3PxFUtvCLt8CcdahZgGvWXYnE4EXbTYVXm4ZDvPEL4H1Zut309kRriRKaAdNupDW8xzbZSzIllViwsEYIS7RL3XsXQr67Zg4viR89jy80j+SnuZ1hMiKTyuDtioFaJe+bbBlIHVUKJnrrd81K4aY2GbbSJjjKr0b1iVAq0xLZDAHsUKZ65HSFq6PElFAx7Ghl80jdYWstulVzQo9VpzUPdEW89P38vy6rZh22mxLIe3Gkaxrx6fqpwiy4jQlqd7hYp3i4REmBgEWMgI2wDyTWuZmWHQ2C0eSBSOmaie8fMFiXj9UkJbWQF577kEf+/uG/W8GsRSEcoPBB5P3m+EeCq4KhuqGk5QAv4pJkJj53E9cHmJXjd4bnHIvGNMtj+Oegp2dTVDESWCeXSZDTMH/YAaZAB+UMRxtGiVnP2WSCnJeYCLIsx1JuYTwRG0pIxQcpM8NOKQafLbL3Blwa6oDeuErt8URtQstTvdEFVeBM4HYU6WNicaEt5rjLBrTQJAmeGqxsyAvEiU8uB5143KglEQEmUDTamC6arS6cYlXDPteAG/KCXqZ5dMOQp66/aQ/j3Iwq2JV54Q0yFzCDX7V1lqtHX/FsaYnWJuKLpAkU6JnDVgZHEVBr87J4Dz3vdSFXNqL8fetnSPrPX0rBd08WXH2xf8oPURL6iOCPjJ36HHXXYs2NNAFWioOJNfJn9MmLpHHSarHBXbfAi8aoEOpbx0l8S9bce/FU4s1dHZQheRfaZMLru7qsOImoZPG26Vdr73jSn8b272n3ZoazpWq/FsJsTVLG4aZQP5aT4u9wu5eVknVcMa2vVfQDWnDwcdlnwTK3QSeYFfcuUBSdyvaiza6Ef5YXzIoSP76u8vcQVOpBVJRiRK6QGt3YpJm4y0TiczfdFXTNH+ljlmL07m8jpT7RFgFQI2Wu782FV+b6p8VcdE9ze+6L3sZCK5whRYizDi9PC8i3LU1weuT8g4hRQ6kWmfazPVOl0GtG5W47ozsfMTzIMcvE4LZw7t2yWY48/OSTkh1QcpsUtdwxHbl37YXcSV14ZdbEg8evGpc3OiZ9ZrjyUBWqySLrR6msf47wbbBQBL0e7h0hl8PlNKo8njAplitlBY74geT+31pxtsUwj8UXHoCjVCpq4SjlpszNDD9hnqBX8g5EoxOaKbFxSrFQbkA6PYSrTXEmgkYzMTAALDUdKMSDmJLOdqq7ACBPQtbgYfZvRknyVONaoCXnfaQ/H2nR1EiGYu41NdfYKEEqefi+3t2TfqY5G6yCtsuSOeIV5EUkpRUymwE0jcgJkaJ5bPXzyClOjNYILc9zOCgm1kUf7VsDtNYcfn5zkgHJrI0QF4iLz1XddIqqF+UTcAxlnnoR1QWR4846DV/P75th4qPAL6mxUxkPbtCBo0JnHntezhlKGyuyXDgZQ0uPsJTbZCjprZI7kLI9lj2QxoPGQzy6X6zmHahKDKYqvhaEDviBl/P6sU84XCzzrBuei06jejoR2dg5BdRGRZlTHgJs4POx01/VF5yYza8EWhlRJaRBwMlLRA5GXDsdNcoycAqg1WmdIRlqPZPAP16PvUrvx47jIG2NWTCqe5/pMVwny8MPEvkroEMR63Nu2o9F3V2wIc6E7Zq1YmJ5DKXS0NnjuTAuI5uYjPbJ3UCnK31+wFzlfTcE4rMpo7La/xSBckSzqhvK8bGlzc6V7iEmgYtG0L9LwGDKzydhzaNeTxcvHHFBZOlieM+Ydh2ge/OlwYC3ELA5v8KtQlDv0gBbrok/jdsdu6m7EArUx+R8j+MSvcJDk8PeQqtSBo5znENG37EaV/Hw2PennwJ/ee9pALrM+vXRIR0pzwhwuVd6JLvKK2ci945/WGqXMV/pp/ip1Dis2GTihGb4jjDmzidH+MB3dc0Vg6pAQy0IkGwTbYgVaAZute9TEPemw9CDUFBM2+Azid72QgTTb4ECC8P5UZjTQCgX09IkpM03B3bC9lu4sbrKKRj3r7XNxToMUQPICvdYop/c4AtY47UxLGg6/TfFYzdLSKQ5UKl6rU5KUs8weatXfNuOmWYUK5qEaHY99itl5yttSaMUpb2Z22iS72DHF3oUSs7YYYkSR9s8zGON0dNjUcpE7vK5lA8LwT0be+OlvbH+e0wqQbwJDIR3HU4TI6I0tjDIkEuXup1LU4TxPDP4xTb8GdqpWDZgdS2/7g7wqXK7BuSjqHBzYmGvnajvoFYNVc3V7rnPHmD0V36u+rXMI3/G/wIozkVw8k86fP26hKc6npyEaNgKAuCv3pQaqIk2O0LwO+ax32mmozTgUVZAfDF1U0tCPm5i7FY2vB1HYPBhGJXAHLz+cO+5GQf/cib1AXzqZCXzFFeX5ER1zvNMw9/8qHyy9Oe9l//o/pxErzsT+rBaDxiQ0p1KGxPMozz/apAHhScH3ExiSURiuXFfSnNjunWCdyTg3dxw6Of692EmXhRepsuFiplY/T926miLhUKncXuwpuoFDVm+yv2KeOz7ie0lv0h74taKa0D4Hy47/4v/J4Qu6RkuqJMjYAYbe1ASeyf4gILyVNKEVb5VnkHeAdgeG1jFErqDRF5qk5LsODwZ1hA3YeARp/0UttHNhxMUu7OIbYlj4X0txwwbbOBf1T9paKqGi6Qzod7hmB6JwFXfIcir7eqDoSOoN1QRgihxKSpBc/ttiquPDu1Uo/TJ7G0d2CR4cIeFVzlRX6TI6SRb8kgpz9XCEPjhcmye3oq8r6NutLNBKskFZ7hOKZyNTGRyxrpWefYPCFNaDjLQx1i7XVT0oMlDrNn5SVJWGvr8dR6OLAkC/h1h+fnIbTCdu1D8cR5+Db8UIH2OqeXOPItTW4LZarauAL1LQeksfh7wRGHXIiO1uc/LyJUGqYA1PfO9LER3VfCSCYHDWHxz73VAEF+5S+tUDMyPt1FgUxI8AzAhuRr1Ndzsi3uy/BGKIAGfM3xWY33cY49hVjW0YhxXVMH3RhnICYSfUSbwNOfGVABjeOWU8kHKi+JOg+Ou8gzdB+KMcbkuTmZXkkreoydjK0dAykfypcRRrV0nw8qEmRv0GS6TCwhJnrgB9+slHrUZeY7oMN+72qBhNvsERE7ygOB40zOhtAbvSn4afWDKNp0/BIcr1Lfk3tnLUghU1EUp6Lv1qgQx+Nea+O6cFD5lTmyylLQbB8xFlSTB12chpcUP7rZmY3AJ9oILoaO5i61QjUC3FTrhW2VaCWtlwFZXxbkq+RJ3Ak3/w5qoU+ry/6kTLz9q9pzPM3aj5vXr4wZuSIZ1SpD5IA93OWcUCYshYfsQ1KoUSmPa6ZCQY8PZPre6sg3H8LwkqmjfaTmy48jGeiEvWB5dZlW3PC2tZmhG5gLDUGMKFIoQ31FSS1ZSgprX1Ril8GBiinSUc6PQfOPvoTaQ8o4IqVsfjc34dQ+MR4PFomgKFG79Hk22yMA3on8QXow1e/LH1pGaLY/YYQ5md/xLbm/Y0pOCiXiMZxPe6yKhlm4LIqSwTcHZ+L4jyfif33g24I7Xt2580gKooc2q4yXXpzevh2DVxx0cLlC42gl9OUSKx3UJE2eSXscgiLZ2dd5Rq1cOiCBquhklY/z4GoUq8dRpoogu1PsLUWmglqd1qrzoeK03jU2DrLmxtX+VI2es8txCbgwTr7MfgbPmgoP1zff0TKZJZ99+xD34nxsb27ocCqVZVXmbh+tAwbrHM2uGdxCgfSkcMJi1+NsmuTsbSifyCkzRsuWbxJm5RIquH3wlUg6BunQS43Tt2so7FIQszVmep3+Hn2SJPVnULnsoqnLE16LmyiyT8lTPxuqx1O4hyFnrIxfOJpgQLCZhYD8R8HG2X80qk76umWlPQDSk2kJTCZtiBgjyg8OVaL6DObPbOM4Oe6t5J81x59euhyEyEnXnCI0CtqZ21wBNYyNQ8vgFCXeHNZEWoPuUitAQovDtVKyadJ4CKuSyAWsOdqb7TRjq7kMce0uAT6TUSn8SZVI223Lxs9BHdSZCGtR2NTrWYSxebi1L7NQnACEvTcX9Y3fBQeKhLtw8zRK8bMvYnqrwsRr+c+0iXEbYpUYYtbb1xM0Q6sXATBAcbHcB4C5J6S5y7sOUiA1h6ksNXu+QOFCZ48FtjlMnCAvVzNyYDGvPKfzlqMd7WUCN06tsXTyjb8NFuRdJlfhr531zhVbnha5tvYsjJtu0F41ZLoU6ZsHzthgnUgxLlsR19awVx0H/rIj3gq2hYU+PJosr1Kp086E21Rq35hIUVpgyTzTM7aN65n5Avs8BPuzb9ekh9odWMTeFZ2jpNVAaS/ZIeBE9ohZTxDA7LFz9pI+8j3I8ozjdnSeCDSNefOvgWR5lO2Oe9Al5PVGnHRkeLujuJMXxUbEG0OYtFKXIkEREKacfC30N1tZ7UrtF6yvXE8vH+oC77MUYOqTQOI+pXrbf/qYqCS88pmBu+VAAUunRVua33vJG46OLKi/473wxvsHpoqZuzTpZiYXVlpKHE4iRm7RemmNv+lk7wSTpbSs5VPlwzwFgs2klfvGHrSzoOfbfNHLV3odp8YsbdstZccF+lNnDuCzhULbiJhwDnFTmsUJzBu1CIf6yH2rHo8CefD3q4EjWA5R3OK3y0aGJvX7Q0Gu4q/cs2D8AOghxztzoNE1XdKSfQLlj42oJAcZQl8R1sCYp+t5mmwSn7+OY2ens6t/HXMtDaOMpb55Vo1/zocrDWTjQAcxtX7mzOzkSfHIEbfN1wSsTNbf3Jcrsg+AQSZiAcve3fBmJMmDFEu65bhaStxlSXCFxVjpykQhvbtOMknke/HRcxUfEjfpU4l9/XJ9B5AWOGMjWl09OphZ9FXMsKBhSnn7z3FIWEfJ7cM+DDmkcclYmCzJeW3WI/H0Ze/YHwpgixzn8fdUw0+K2+JAkX0ESL2g5KBhg3qXJJNNJm4HmqDkdKmZ6/PuYixChJYqiPFHRVFXCU78sx8vBkWfH+l9Z9DEM/kcPyQTJ/ErEPyMj44tJbMTga21R0e1Bq32JP/9Guwjh9ZoHQla723RTwgJ28RA+oqGy4ZVttpEjJwwZSPjKpgk8UmPBECMZS1JMvxJcjBGd+Tw76aLZj2oDSKEvicLAkh58JfB0zPG1HCR2glriJ/qv5/iTnDECht3HLjLCrU1ez+5TgsTkwqs8UCDM58ZvSKeD1+olYGIsI2/LnfNUaRrjGMAgJvuFSHfKXoEylnF2A+8emajjfdnEcSKMBbDtI3lkmuHlAHYmYewM35QcFJ2xuQsuXqUchYtONGA5FOQdAzR4cGmMTpurBLj7ZWaSjBeFHCwFzCesSbBLqGZPLy/QSmtByY8oP/f9tSP43WGghI/1Oz5VTfbB3G1lpTsEKk3wRcEpUXTyXXCdOG3jedyOO/xCIjO+hCGjs//DPazAxROU49JxHCR2U3VOjczR4loU7OLvE4+B6WziifYpFa1HU/htEJdgbTp9D5n4kwl8lOR7XW9Z/Du59NCbvA1mGuy3P4/HFOMAUNjSlTDCaHe4TNLbqm0VMqsrzs223UhOb2jfJqfRMEJm2E4cYO/KUbyVGWDWqnlrnOWWc6drn0o/YRLb5+wjvVlESwQVyH2CZscueTcsc1s2ThTVFjZYt8MRGD2fQIFmc5uzUXDI/1Guep/ZGAiMv0JUS2Fg68Vtnt/Byoc6wGcU0Ju8D0en3ALwugrleULkTD4Bu5n30AiUQ2JFlWLFTmmQ36CXi9jwVFPp4xrrWcePFi+BFqrYw3QSVsceGlubEyyu9cGIo1MsAMenorRLf1Y13lrZnB5g+o8FWxF9GDq+wfPgBAwQPVMybOYgNZl3jJNRMWubJlR/OxNvlHMgnpvy7rFkNMVnH47l161qFRQwWKZZRWYiOnjkmKX7vWo6DMl++UC67oGuAYEQMgHyPZWzDPP53wVyxPx/PPGpl3xfdz8f6+wDARtUpA/4ky9qcPW46CMOnQcaQPEkU5AxvVaPsvzPVaKoDVIH54R/HQaVqga141LJwGzxtjZEIoull3LWFWIcM8jqo3ZaoJmfUpDhev99iltYVLUbIzDCtLZ0Y1bEe4oQoKaq9EWHnIzJPdWAdCfSm+sBPN/dLj0Jc2z+NkJm4ELGnBSwAiARCjH7usg+pi5fup9XMlLznl87KngCNJ572Tda4uYAOE/fhnLAsxfl9fpwixl3L3YqU91eTcOPkjeXJJkxi9unQy468j2mKfF8oo1pUigT1aXxYmpgvFKf/nZVIXE/HPnBVo/2YRMuBpiGZRCzxwisX7MloBYXZ1FdNqUsrNjfw0AP+YHR6S0zvuEstJSQvDn7fJaRo4YrHrr/SgKTIs3g6vwrwXhif1Bx2d/yUYh/ZOqTKQAYUaQI7RrAUhgGS9IaWErbspquTBSg4wGB19XixMfdJ2IcIT2RDXBU4gN4QsrgZAvCfoT/5vJejkg+IQ9ORZXeYw3lJfHR53Wv2U08OGmLF0y9XlUTAjsDncxkS+k/H/Gek4RzZ9+qun067LlRdmaZLwwHjTwqdFxN28qsnvSdWaO1fy3rMaufGVDrpTrzFQUNMYsS9kYpinm7kwwF40On4S57DEwXHcXkZLET9J0x8kE0DxptfYJCunxVWr0ttglFtBgJSYyj7Ewu0S8h6LKlwbmw6YwVl8tqLri7xplfLY31Wc5t3x4ro7azs3hGrDlqwvdHri8cCvPbo+Bm09rq7A7x2IHTnNClFA87knrQa7n5Mxs9bDK4tJIqiZRxet53rpGgRK+A3Fi/gaXnL1GHYtBq1sLo2CU6tatKgIJAhJW9Ypet2FOtwPlR+ayJscF05Pd7naRhmpZa7cr6rrvy/xY28ch12Hdyh/uRYDFOffhZZfI0I767bTHMW0Z0IuWsCjET8OaIg9pIwd6/XtytT5nlUsoXW3qQ4c2/btIVoUQU51RHRcN+hODYnFjssgyp5juLRZAq9Tg1wwnwgGuWHSSeh2hTMl3PagQYH1E5rva7sj8YFCM1LzXZVCNCcwvxXDfKRYG8p/aHieChn/BFadC+UbzdTvIcDTrLlYDCPeXDkzZ94ZZsu/bUPsiTmFOA0mAicrKrC9NS8d7MTVZVuIc5mflhCacj4uS6v7ZL7I11KLkDPD7LUAx2OQbdYZ+IJU+0OpzpJsBipEST5VIDL30EfaMTws/raM530jG20YmtocKDvvudR7LEqr3GGLMIwOn5sd1R2V7hijA7wyBc5GaLblmX90uN53iMzZTHcueNrHm8DYh6q7COM2PuVCvbxeQoMbHyAsMn49qkr/AC7iAjme4no+mAvezwPccJyqYkZvBGjcovVKGXl2XhIK0m5wkxrWWxix/thb2JClkdUR8OqctylGiFS8H2VD8sG8AG3gEi+DYxG0k0VLxRlLW84UP6YMQQO9pshj4yF/OFIctyej/11MsEYujsk00IfS1HzG78EiNnA44FYp8wIN719OY4XcS/wE4bAeSeJVjcSH3K6DwhA4N5ZU8j5zODNH1WDoycueE7rVowrAgTmQdaUgC8lUPF1NExnlUBBqyw1sA3t20Ur1n6Plbk62E/BpppONzvQOJAMZSrg7pZhWOoikZIBzmgxZwPZIZyBqCqmq/a0y+EYAelkdXtUVwd5eadL29X6zO283RbHN1KyRl7ovO4BP3F11/hRWiWeU7fPApUKA5JJXBpOx7SMAo3DEoQzWu1MJyaqnDHBvhYrfLId8BrgHW7FqMPa4n37Iq9QoHsKCpnZx73aMybLpY8FUxMIzOWWiE5dVm24zHTJIj1snGJ5wSrM88SGd/KsYjx7T9DAKO8+lIPmUbk5un6HkfQY4Lji5mBFwIVtCuhiYk97njI4I2eMThGND0WjERU1YutMjMbNLIKwX68YHLb2YxC3VEl3y6cDzydvY5qlMqCHuI6zEXQBMMOQcvL0KKk402Xwpujj59aN4IOvqnKNKWp7323eBuR2ZfY0h3EjSzKFMT+QA7rMB9GUBDJDgCuxauU9XlrcoiQrMxBj5dOV+HcCGTGBZQ6QnhvPiVRlEjD9UHOyfD7cFjZ5rSshT0YXAaM9WrYLX8VOGZhEjprBjtsOQOtGyobZQMi8uTOWGYA8ZvfqqyPw0hXo5PzcS7K8ECC8MCle2hjXxqiKHBvvCzTmuYf8W4uR84qhXlOzgIIduz6PEFl5SVtbES6ScGxXYsT8E7BMXAzRgiOhoHN5/aY5dk6SLOX2OArvK5Oebo5KyuLskhKs3Xu5y9cW2SdDeXu5tFiMJGmRhc1HHgFu4Ku0HE7X5uWAPHqtEAT5ZlEicKqjLl30KIH9jHS8DLIdj3JoscDI6FByKRvoAyg5qwl+yZx4h0qKfxV2eIvdaukISTamsMmkvIl1Y9SWWsxT4McCUMMdOMgqIwc54ZzGEmIhKE1vC5ihzocUoeTal8w/ttjCjmsVfEz+tEmTKgwnlxbmYh+gk1A42DxiNMf89PE4q+sux6reqTcdJ90cuOxHSNVyC+AHj8aKME48Gf21wW2qwQoEdadsJ+n7RDa5aRJb0pMffo/r3NC2w1h3ERmQTTK066ZB7M7ISkSTRwj490U/IHNOOohlCkRFZvsp5jB5zOjKtpvBX/AfbzphOY5dGjeuHPVK1IRfuVreCV/+CIJRkQqYeQxuQtAoaH+y5uza0kjgQ6JphAFYDIjxQSapUoyopEzQCJS+uw4sQRiR5Cur2fOReaVEJK9j5JaXNxRMweEUp/evIfD6kxwkAvglRMJMXWeXfAdUtUB+2A0njqHl3v9kVLd1QXEa5MsC++4WmWOpxMIYSetMtZTI5EWqesI0tMjFn1OTF9trxuaRI9+ZPJ50bwWQXei5TkpqXXOtj/l4gew6IHnI+GhlgVkVj5HkKRbRALx7eZv60ex4Z0WIbDMfZzjNco1wTQM4zV4+Qv1HSjSd0LzbuoC2y6C9a348cCrMFIvvYjGpOgY4usHkDujwFojpoUVZmVguuWfakOaKH6JH3EBi2Bv/0V9IOV5OtIBClwrf3kTRgdpm3DqXsPd76kqVORfdBl/saLMgH9x0IK4ldcnF78D4rjlTRhkdXDMf0ApnpcHHgjEW/EOGWOKlFBJS00JOaQbXUMSzkKjvS2B0vkaN6xJQV2+phIlezHRTvOeQdyb7BH7lg/Bo90bUzyd2E5+XeRAnP7kgAXX88TMCPmgkZjoj9PF94ymBiQzT3m/KGdNiYZOmY25hLVUc7Er20y0hIOJjGMInAP9DFxeLyUgBsGat9pFNbmDDi/Cb/Y+6q/BUBgANcaoFxc6MVgEH1TrsRolxdtP5FjtyZnBqwr+Wv/KnUffkojGws/ANvWwVwhiTDYVprQBNBM4DRZhRVeLp3J7sfoh+M87ED5sMpRiON8dZNg+EfLpx8Pki4a8TGZ6OUYd0D+SO//3+k1lq+RANvXskOldKeNTVxbltRb6iGGWuOy/8W4Go8hsGxAwPA+RQxjbEW8MNP+b4JW9q0jvhWO1zkGYQ0TSKIPYDL+Nrgz2sHbbdg/ZTFYIIy3XzsqJAZTgsyecc/bt/F/yj6wL5+VAjSVLRWwL5+QxjS6VJtdvaZQyNnvY7+utXKWzuqEvrRji4zef5dNK/krs47yKGB6G8kI1Byluiiw+BhUyjObPnTVsi9s3L9HEqvJlVlZN1zBq0KWbsAmgjYpfKI9A+6hjg0R4WYe7zOs/SYAxldJuDG+G6BwPSS3LR3wqaHxXQ8ZVq5YBHW4gOSmh2rSkRSSmC0BhvGEUpaYpEhRZX4hTXtm9cHwC+P8b4R4YfRe8bS1Aa1aNsBOKv0gEupvd03CaGY+y7rbUB0Bb9n42PYbxN2xl57Sru+42iRpyOOHEFFzlurbUsZmOD+ZAX1FXeP7mF4hYhIexQsCTbx7uDR41cAaI91EyvXdN+FJw1KWydx7TJJubOzjxjJkdJoYk+xG3L2Hu86JFUTWWP9voDY9f+YPoLHuGLCXT5UOjvypCJ6E9nfAy0d6k+IUU3+GIhC8cF7ExRzHfln7ZzgyKOJR/ljIkVE9x7ALrPvur9rnMd4e+s90VfLXaG948ZaKPCmcoiWIawEbzsBwBduig98eZgyaPvMLf4XdK7ONf3WeLvnra+YF2h0exOALRUYOQXK4Rq/k1LTpdpMe99uNGy6ValRfDib+jiOe0EyjxRsIIkhuzORNWxZEqGBg5EwaYH3W3OuDyl2vQB1H+8aziNG0nlR6YazohHGGOMubf4ajWCRgOEPttK7QdKhNvESfwRSy4H1v0sEH03i0dOcRqbc0c5tDxRKK0MRiDg2xvBlKf3SB4ACwnLzRkuUS25Aa9E6SKE/gV/REkz6ktsN3n3AoMQjJ1PzR2tHfY1QGgz5zEf92u6JHVnK0cA20RY6AyHaYz1Qq8ZizCkaHD+pRfz3HXh8zm49a9U+GLd51XjCsRJK2Cf0hFrefWnnYgrq9beBtatu8CSJsGaLJVtS9rYPaBa10FFCsl9RTlMPSVUjBKxuKRqrRWT2tYLNXt6l0haSDYqmplPsj+EeRI230morjslY+/wQ2DHz9Yt6a1RDcZsfpLd1TPasf0Zw3fRt/rQWccCMPk/DPhXzez8TALRzH3tbsGFSwRQVab4Y9oqghmT4oz1MLxOzbcr0XB9whHzuraVANXU0NIpTJlZ4y94ER2XqCKAFWzM6U8h9GnvPRUtwQir5WQUPlNUoYoV7VuWF9y8FQnwCCOy0PIm74c+CRn9WSRD13WebgHT1kGKn6l1uSO2BcCB5NDeYwJcvikvndIlETZ/jYx1dyFTaf00iUPcEUjAkHyXx+UBdOIEMFPoUVnFNtbNZRJVz7Em2BQdjqjSBe6lH4NVxWk03qIItrXYZ6zI0JkgXZqMuDtCzRa7kv2I2HP2+O22/vPsHumvBwEzCrZAl/Xgd3GmV6fk/U5CSC24qyenO2ay6itgklda5oJWqWXehm2UVLsWza2kNN39L8xV992t3tMuBFRFAuoc9B56lKZcX6yuy0JCid2rwPEWtbpoaVaWnu7m+N6tASKKudrApZrP511nn0Glsa+Ml63qjLN8zUL42v9eX/cn5rHc5vt9z86a0E6ZBsxu3KfrqvdhEiw+J2NeB5joLb2BxUFIUe2WJuq9oiVL9mkZNxb4sH4Jlw/vHVP4VCESud2Yrn5c7C/enprZL3L3hrgbkOsyuNw85wI2++/Ou7pur5b81efCNmVYjgwjHlQ3/gA9CQEfN6YGVY++2e40tETQIUVQCJ8N7cDio6mEKwILZhhgNr80xveEitGl0zFxr+9Z5knNpvxuPzXJSiX8Ja9+4Dm65BAFtOuWmVhsqi8FvKDVNgJrt27qykzxbEpVw0kH2PbpTmipP4oa3Q2gmik2t4uPGc+qtXrZht47Hq7KLj2lNtm5pkD6iN8+yTAPr+Yyc5jZ1qUiwVSOQd1NNi9e24kVxoH/Rv5qVL932dLv9oW8RMyrs0AoiCio3W9qgQCNqMqLuBEjdeYnSAY6wO4a5TrumtH3OECeixGEdpHlMoUy177ckQerQzsfA5/ibhIEMZRz4cVs4BDalp2lu303u128/jHAP9Ljva18EAruKbRcIVe5hh0xZ+3I4XeyyGN3dQys3cD2d4/sESWXyfCmO8pgC+vZIIDkQ1TcV7hosPtazLXyUKlScSBtTrwWE5t3pLPbI9ZQPJWIfLrpat0Stz7em7zGr78G3X2eT+vfzDC0FxhA++VlMqJeQe4xv5d6V06if1Qbbd0jn7LFqZyJ4cghU+iBD7JjXq9xFztkkVzVyXVo7BEGvs2YFRMKbsWw5+FtOKZyepAArsekG0U68+a+5WhGfrles88GGFn3Fd4XVYMRLSsiQlCGRBJ1vthyjBHeA3jW1RXzw3vS5nxKX1X8PzP+N8w327FxGGOjVVb1fp6ZlUBfTZI++vJTJZITetjVorekUhccedswnyKM8kwUz67tqp3eGJ/ENMTTZV7Qi+hf9onJURks/O7iNosg6bxlNsP0OPx0P6T3i/phDH7mpSpUQUnQeldFOGarZRzbeoAsbGcOvEgi1WBJBGS3+rQ+Fc0to3ZASGJTwu8Ke4Ids5OW74Qmu8lxsOffAVjOUhEebclr38YQoGStcmq8VS76/fZRWiSyvU04uQRw52yyZk/R1Yco2umXQmqc1g0OTC9hCseLYkKqpVhmJxdFTo5NN4rJv3sn76yoWBbyjJ9KIpTb/dhioXit3uMIjmCE+hWA+9CV3FkjAeb9u+P7KsKR9yQyiMCiw60WHecnw5ZFXOpE22h+mMRw0qtqyWJDot553Y6AVCQSP5r5AD6fH8onzhClnBd6W8oWO8kkrDiHXS89h8pzXyYZcPpydplPuapb694ekpnVe4+Ep5HW4bxOmRfb0+84dCR2p6+HHhjiAXCaqpEp1osQfUvXy63NBECURUtH83nsjHJqr7reJbLdEEoUbfDWplV62opQBiTgZH/hQwEa6ce2AU4xv3hz0njtCLu8BXJfG5W/2ocFxyyUV7ham//0vZDgQqXmKJR8Vb9RnrvI8wh1UKl3jhy9BI64sFN4t+hr9LT3jB9Q7kno4ujxApGn4f3y36QgpDTH6w7zOMyEeix4YQeWhMbuFPzvU3h2YiptPqHxIjC3m50qV6S1kLwUh1nP8te987JP03QYes8u1qjn4+TNrJbSVxwvJgL3e0+f8mLZK6jbwTpvUnrVnzEx8Wv0KmlNMAf808RgF51HTiBIRQhfSpdEM8g3g3N8IvfloXOtN5EzcVZIviE4x0YnhWaAdnRXV9RZPQAwKts4FdUZeNQFbCyZ/3VIdNczhG5wpgheagwOS0IMmiGuj/J2ULom86EyhYGwtmxkCqnIIzjsdTkU4lolru19g20N39I5e/akd3X0OYq1Ioh9oAGkIyKhIAIk9A7DCASa4akMnszVIHzhTD/ImtySgGZ6KpeykHlLRe1U++LNKIipkbz1xnPvSnyn31wdvLkrJXvl3we3i+99QBEkKPgII0WXE02/HfIW2qupWMoNIIkvr1/uYFJZ5JCoN2vsYFayEpLvuljusLoGYoBhjIRhOvUq+nDWxsoTclfL82nS27FfwWsul++kiSmgpvAC2JwoFPF3yov+njNUXVz/MxWWY6rgCARxp92l2yw+6vOFecLVB3sLE5k6Q9c8QsAmpOpCeC3TJQcQ5NWBfWaRP5yeuXc8VU2C4roRMhJnpgLqyLnzjDIdGeVMqELGwa9yNsFQV2Hcobtb/rioHkLkd45CIwt5QyKOxQhubhlLFQNyTloszfRtraZYl0Wb3zKXxixpYl1fSwV/R7sEJYSOIyrEb7XQp3CcJSef7um0d9ASO+9qfBXRmwLE8a2jp/C9W3bLhQzW5zo9azefm7hz01WAKViOieKj8O2CvmTw87BpyGy5FultGIgbgDKv5tn+6l6WJHUSt+3OKCdthK/hW+rkLxe351AdPF69Mn/82FIfDZn5SI9Y0KuLyuzeQ9b/3oLd5pHbo70gfGZMXlkZyMZZKNxW8bLzPFaeBiuMEsrURfsO8tNnxjSudmnv+PCh5VKb5xNX6VM+7bKlmtaYmBbl80f0Co8c+UVdS/WSXDNJS/gBw2ud9UmP0vOo3cv8ROkEivYo4vMZ6gSuDvox0pIGQFFjHWr+3f2VSXjUk/M+sAz1JX1u5sRaiuuUUDuTFYaWTlO/PtwBzYFFQzcKR7i/0gVICyjJseaym3D/wlyYJ+nhxWTz9tvRSmQFv1cde25mjmBcdTm7boQOB4jBAJfZ66lGVF1Jv6hypE0sviCurUpgqLAvNFseNggz4dTzewja2Dq99RyW0qQbO3xehuLLgSjNt8UMTs+4EYvEOB2OVkFWAP4e8ayP5MOsm0QV5DhJBIvkqYX+J9IB25clVD0ZR6zuQlifTDhgcqXwh9/HBCYJRnmrRUf7yDUtafhiYuQ+3lkVQAnP9udtC8Ii8mjJ09B2caw8GSREoydEmwJrmKfi+BLD2M4Jt+9TCoSkrMgLbYkIO7w30P6JjBI5UodMYktlwsDxGEjtt6HYMLYQr6LEjbfnKuIgYAQt0FZvSUpcVsNcmRBZfcRtYpYWPVqjAax0GlWaydqraVYKp4FEdtSfb00su40oNhDK9jNcwODAGxqrm2If4PTQCpJEIVgrLcp5+flBc9+1vH8zSm5RP3Es51zox1fNIUBPFjp4F3j0M+p0T7zXNoYOvyWgg/f9FzA8SDs+oh3VL50M75w61Pf9NVw+O7LOq/752IQoJboa01Q/17W1SHGqLEN9yk9bV8VX5jOIqSslXz8tzUOLbm1TGPq7SF0Vpd8rh5Vy5iS3O8GPKHJV81K9jWFNs5gRUqsykg+N8pKpLEs1jDyWtNHV9nuS8X1XaGOLSVzDKXipLk0QH/on5Ki5Dm0ps2ePKv/5BatTj+4HjlpwJsSksu0Ts1rbLpO9ng1I7moiFjtM2GFV21SOTmuMcJRTzVJb6Zr/ci6McGsz8XtFQ2K/0hmb/g0Dm6fHnKfl4tauQtwRbMMf1pu52U+K0ZAUjuxwDygrh2M2Cj/gKAyHn66+cNe7fAuRWSqQVVutg6w2JfD4JAer+VN/oTEk9jNhj/w39cW85zHBebVTgTsu++CYzj/p3B2/DCpi8xwaWjYBju5CVqJnE6+JtF1GbZPH4oQRQVTwXUSMv3P6XebxiNpftFaBT/vexbU43V+PuHHULcbbgsMcxD4G9ArbzSsOJOryvRU1vAxghdhNe+RHF2xWV3CnHvZUUtmeR70VN8ANMMEYXXXAdzaJLQ09jQNkzYgGaL7jFk+jOOZAwX2pnmFZTRaWvGelicjZARRkdRT4qJ1MfZP9d5jnTCMx9qAdN9nCv7NL3Iu5B/rwPxrN3LTT4wnXl92M0mBU+7yN69mw6U+6qhWbBzHQ3r81VH5NxI1bcgRdK8FfkW1VyIAKRrp4NcSbaFSClOuLf9f+DpAr3KNNrEwAblNLwhHCVKI1Hp1Xr37EJ4AXdosZTU1uQUyJr8gn3xdwMJAROynt7e+GUrg1wDCqsC3ucIGLcYQSyfsnfS/ogrliCGaty5DCxaw4xcN6p85xc8lG62/kW3IO5qtI79pexXGlreyNK9FQwQpzuODk9nLQY4EvM1xu9wBS5niNQ077wU/4TH78SnyDbpjEOser1THMSva+aIiCxGrtmImfClDZhQEZXIah5Jtswwd+a+Z5TgXpch/PwM9K6YK4DwcZgr6KzUTdV1wT2Dmast7lGfFJRD5+kdKvVXQptxTGmRUxYLl4j9Oz25GVGRwyWtQOZR+ZQwr2FAC4jF8p83UTVigfrFKIG7b6LSog6An3np+g6MQxcfexTtkY6oagVKvf0GEZTFVDDVZPnQfTPrEpDUQElKRvqXBdDA8wXEciLYfrqIqYxQAzvj7tf3GS4z7UQq6mdK6HMx9v8AVW9GUULSM6Mod+0NMSPJ8xXWqbQWk5Xtk6DFVAXXsyl+AFiAv0VRTZVZIT2lGfCNhe5udNDVEDKRSytRpw7fXrEVsL6XXrF2+Dex9jEXqP21u6cWvLewhozsxr9pcgbR1Z40JZBdR6GuI77QpKKJaN3cvS2bszC3fvftkpmahcVq3iLnHRVwf1b2ANS610DiIQkKy+Gw5otJCa5Euoj1PG3e+OCROukdBjBpC5iWfED5z/idYjF4Mvv6BwgVY/XlOwpJMW3uYIQMlEFxcIW+MeTqwRAwKjlYYomHYgqiF0VZZ1NSznWkN4PmW2Bhyd04LloGwtAaClZSHjGAXvSQczICDWS/9TbosgE23My+Ne7/NHzyx4wgWCb7CvDR0oXskiPtBxW+NNQyocBJaWUeglIEMdinGTTwLJsBkype13CoxpbnodxNWXN9OWb8Rsx8MgsOheFfBHE+iixQTCvDZnJZNbvLmAzKoCDoP0dcmeUn24xd08JFRSGmKMtTlO+1AO2qGON8MjJIbvYJfH0T6LIq1OsuZw9MTTkeRebBC3yIAJlXwrPuyktBuCDwUnCrubQI8BAsuZiju3cyUa6ApkaigIbTnMgj+MAp8psxJSGvQytFGSFnrwpL8k/B1lJSmuW9Yr3mFqc7qtOBe1ta6BpaUkc8qWK+IAgRMfs0n3k8N1HxHoV1BgrALZzNQHPrYO+c8tO/W7DJyWRwusyZkD4VfXVel8cjszvLxACAwB7A3WZnZIOnpy9zaMihkklG2bL/spRF5n50yUesM1tS6GUgX2Ti2yuWLSreZ39C/aBpCFzTL7R+W6qNrnD0BJLUFFJ6zU2xYiDVU63lw4Ic+YfXaAtjy1a1UQVPgNs3ALsjjrjXLrwCO1IGHZsgNMb9FFqI3zXZ32rO0AdLRiV/a+EvMRyHQ1Wh7elTPoMaY73ImPjvq5Hd8LbPJcyBUMSqXPnE8tyyb6aJQf+WkiNwbovQB8SRBxJHdEFpZhnHvxNZavYA4nQEpT7CL9VKe1ttL4HpxygLcUqVXP1wqR+A4fUslMFpo94t47tW9lHT6DS0zJTIBBFEm+W9MrA+abXOkAjuAsI36yhKNbv/siv8gNbWRJyVtbK5HoINq2/7nACZRQXKqOeAXUUubIwxF1o0ViBXuS/maJrtAlwUdEc++lc7Cyb33MHiFjZJ2Uha1heL8/m5RBuRQCcaCaNSzf/HBf8MQvJNL783cxzFi5Dgk6rfNe/GCw3bnm+vnhATe6MKtpQugby8vhtQWbYEgNi3qghvrPs9gdYs73kM8/eXW2YiTU1KEr3LEpYC/XFfgEC28mJUe/jf0pzVn3F1T8ST35SSFge2q0EAgEkwdddx7YHQ2MkllQtDo0jNIlshwmNlA24k/SHwdUxF66u53oS7jFLRHBL2fgkp1js05sRuK5AV0ucyjLyLznCgHfYpDC5/DpmNexRfTG5n89CpAxaur5nF9MvCVAzDr+vthQ8CkKKpIqqtrqcy4IyCH/e+3LLpBiV0pn9p9BRxGb/HFSaBCB8r81jySfGx/dL30hlMOJNxeyG5l9KkS+GYiolraSAQtjbek9nxGFuTHtpAYpqPUuDtdTbIWD+n9ozdFVe6EL4ogOGbMNYkZz6dYtILEw4I7lifv4vyBlSfg0WW1/g4HVNFgjbc0aoj1OjOrAZ/piXlung3HjJkQ9G7L3R2tqj+yRWic5LDlhXR4GA1JNpm4RYY9JAF4J/a56ie9X7w+z91k/8f7CU0+r7+dmB3HsoEZbtC2yVB7p7zrk8jF16/cfRWY8oVdVkfn+n9+F3Sh0+NkknmmKQ8zXFQ6zZzFZdm0cmVqUDOG35sQJtan7Mezz0ZzKGZROhpLGwO75BYg6bLLr3QJDBWsjb3N/Y4nT46cmdg9WN4LrnxBp3PERdAIwmqLJBSSnqOgNEfQYUp0cGozY4k2XVL5YuSHCIoe/VBPpPpFjrQKgxyUH+lUmQ+zp7DtVT6D3s63lXcPuNcwSImrFeXE2bDoUXhGRh4XbeIKPDLfrTZBRgQ4spwmxqQM6zxewrRu8Kdf/AafCGdjMVG/MGCPs9WXM3KPmO5WogafHoZSwsFlt1Fi0t28aNOpCKTuZApr86ot0Jl6TyxkGGCu2rQ9+Me+hHs5rbIve9qAhdv5a9L7s/5uOhCOuwxP5ZQNXAiROnLRxBneNjpvIIc0hL3Vg3faBmGgOh9BYP7MOyEgR5ZWZ2fc4mH0gIbJqnf670NT602hEhBuxomC86wefuyy2gUvKlQ4SALkcaJYXSH6vo2xIVwdrZAEO+sMWpOmejK/CPRu7UUGHqLe162lo7IDVRknKfNXZFKGN7NQvXCpIMSPHwLKL++Z0wbj2RVje/6npWf4Jehhrmn2r16GP5vXpc+KfdgmqThmiwgr9cuLNsTmrXTak2pJIEN8X7BsJEG/MNvMs2QixYYwPKoJRV0RKjwDJ1Uj3nnU3RNfT/nkbnXmRaSRIzUZaE+5jeVC660hYHel8t2015IEmVozfENXwAXrHKWHm5lAOdhQMYGNfo48o4EGMguTsiaL8qhAtFwtLfJCxJdaxgneAeMRFjHa+0iUnm8PLSKyNyhPYX1HMBkALsc2RFN2nvSBzcfpfv0Q5zAuS2BUvpzhoTbQwaDEv0xCLpyT/1jWEtKc5mPtOWys/6wJnWGHfZKtySLvC+YHvg6mLkivKzJVzMAjS8FIn3U6odNAM+14tLiZr5B23T333ecPbpRQhCdlX43/MTPaJUhIeeKH2fVBuTlq1kYkC3yk+N7IiPV5rS+4fYE40S4QSMi7aLiZlNxFiO6rUI7jdM/q0LkVbcpWnt8y2iB9JMcEwFOcVjgopwg3GRHoNgYqkwdfUpLpmTuYPHKWxVAZ6fZGyojMjMaju4SXENKPGnx0BA0u8/6Vx4xvwc6RGUL+ehNaV4jrpNsspayWBLCsDcjlXiAmWgNlxhFrIrzt8hnbeyQc+QoHwNNDLYVOrRCUXCXqBZX1hnmsNZoDXZXqAiMUtM8uCQiVpyT+kdfXDL3WPpyhl56A7pw0S3mMF5oPYVT3FQcqlb+ZhNYxwiXTWEUZlJ0EkLvRqX1VcaOd3l7Y39PT8OMs+2GcWdXQzxv98yUDMtzaNq2WhCY7e8pp0GileO0Gq15UvGYx1qu2xPmiGYVdtLWX0qjsI2bUty9qinokw/S/YslFJ6vZFO1D8KeWUyB6QSrzCVumZgqwmiyyEGjBu/XGoVks+mSkqduuMYwVZK/NV/j8QoxSYzJyYkVVTZPdf6vgaauQLXsC0F95vUdEgFW/8JT8ArakQKtdWd5msnoYizOLomz9cAstS6ddfpDkqInYMh9m2J46TYYOlPnt2ExAVwySC0vxbGpKJT+o5zrKk45eNrYW6DSsk2Ox9zJczCDLAvKH5nSe//dghx312IU9k4WG1s/cjjbzzXECQK9jRtYVooE/xCQ1dWuzgws+82kvfxRTsjVzKyRraSWu6dxGp506DEncWDg9bVd03XcTCstO+431aMP6eXbMlHEWfflbHbCBvmOIXwu5KY5hetOOPsaCHmrOePLfpBtgjb1AKLYU/3VUenCwzE3KEX/AmT2D3KFcUiKQ5BNsg1yHRpLkkRGCiSloDT3a8zFuXlMuz6JwMDRxyJ0/KH3i4+96TeU7LPw3yL5SA6Qjt+qj4ar7mGt6kTI4uqJxiSHZwzFKRS2voBFDxIbuscmTmKq8oYkvnJ3B/AOqqHLnR2gLEMOQ3qlrHTs50eyamAm+b206MDgajGAzIK2JnRZyUqq912uYHAqqZZQnkEquNVCT84kWVJ0HqghurRlbFVfBsx2NJuhNN8sjXVFVz9NaFpZbMTlwoIfU81xbF4LpsD5+Xuhz2I/AwPZ6cYRPrbtvrLdQXTjUP2WFWhFJjZdpqXwvXrSW5NIIvuvx8xsgRsHESBpEHgYC+i2RbdEJ9sgywi+AKZ0oNNlAvt2RJnBdQzzp8PDkUpbOseYYcSrZfLnjxk1N5OWPeAb5B5sXUKMzLOSLs7nx2xo5HN/LNBV/ANM9jj9MVIsu8KDlwX9/+rJKRaRdCtvh/fPw2Y9DeWuLjLl64aoRwaqXUF3bYOvJjptlAOKjc7HDPu9cpkiZPUUtVzRtjS7YoEsYkledBFmRrabiFf+kg7sBq1l6erpQ3kjMGSoHJjz7iUr8hZpyoIa5QU2jT5L+bkb5ygIDO+utTzNVXxRY3EvNpM2zQmbCMryQfHOmXcUtKeB3vABVhhAjZuKvuQlP2gOnvCF7eqFTs9Iq3w7vVy3zit2ZV/na1NHX7kazCVPCygF1+FrG/SwMZ0OFUDLZdc7GmOH4JdI2gRXLau09yShOjksMv0namAokk3HWkJW6GxIS0YFV4LeRrsPOf2n6Fngre2+KcFnkthmIdqJ6GIPDjYCjzUfbwIiDL9OdhKGcBhkNY/ZKv8ophybkjZi6bRIbrYTZ3tlL6jSxJ8TEyg2pWWpY3iyljoSESgn0BjUXfChG6JpSUUISYB7bsy3tUfsEOPjmUT2uXHBJq5pHKX36lGta6fO2AWaVMpPNtzaZSJ0QYVt8gKM+9NISDoLxpg2hkR0G3qTBihNXLh+C8kCLRGKLsZcmeUvd0bGwKOeIczHBKY0V8O6FSPp404NtyoR1na8ReJpq3SbRc74MnrAv9/gduvaNp/bIWjcCGLZXNlKuQp5zdVI8DtAUIRmTfvmgtkRpb3f1rv4EpqOUtPduK1A/RuXKJZYilx/rEKoiOYsOeb84FIpP0tNhOBRGbwOT8fC0uuHIZBaB+OWtOQnDC7NyyF7luIZ0Esm0QTnZWlL22sGV8Zgfaqbs+//abvYm8rliZ5HZ4sexJNSHqirByzZcT+KI/E33jACo+1Rh/iuV3e9q3QrYAm++a85/kkzmVX2hHJMdYbSaiKtbFbeKE3En1qiRmRm7Gfa5/Cw/OdrbYjquFSCTiFhI4Sazmje2netU3W/j8/npTUhnEStT3SxJCZ3UI+cwA9jPjFfsdfCYPKg6qHWypGnVLOmgY/ChhzDkrfIx3qoapseiZJFxXn5VQSfZ3X22NAPIAJ/V2ozyK0T0M35KcZeClUBZxa9QaHHhLzWSerbL9D5jrAkMnD4PzbjRZILxi2JwL/s/Y5/rWARD3uefeye5hiUL3vnfAG23qGeq7rr/M5ifNj/4/yIBbsXGIOCF3zvPA3PoARIAlUMYY+Ns0tLm3upZ6/HelfjiGOZvDgQ4NjppNWh916CIspqZYPvFzMXKgtPvBNUfrTcUIGYJwm9/ZTfRFEgqnqZhHFtXUNJf0M7H5fQG7ZuZ/xc2L6PfwyyiYAinT1Am+9aXTdDLIbK5370FUqyyVbMzGu1uZdFFusRNqY0mD3KeHv156qp4jqgwOA3AZxD7TrX1yrnCJ4Fpz2NkoFGmyHENuKB43sr0OfBZSRY102oFPJ+oIvCnEtE0Bse3M+HDafxuuo3tBReJZOgs9+67+ihVVcjTqRMJJPVkBC/ADGCXsDAJxUhc14bf1ATAgK3qAF2C8ekMvs0aekf7fPD4LDkeAAZ6WgaPG0IGhy3y8gB+T7rCn27kl2bKBHUmn6l5/m2YRtzGsjWNKzeChtKRLmX7DDbhYxO8p7jkxO6ErW5vgnNzjKa2/oLvTtY+0139UK75cjArFVl4JHjHffqCDrWeL7G55E3MMvCTwKhylvs1Zhf9t8fkqWF8xtSkii2IcG/kWNCY3JrpPaY3hu2DMVnXio+gVKs/7QqsEtnf3gn/xfaXvOnpeDQLziZ+ec4ek74qu8zgvDBkB+/iXp1XpEWXDNXeyd5f/7cDzqyKnwzBncNaN0tSs7G9BZaQ5F/1oMgp+VBaSmFYT9tpVLy0rdltZ0xgto/wW2iMlzgSePxZLtIr4/iLYzhWQc/1T+uDIYv/5HQCqUvYSS4W9tagxBCRQZ48JE9mqpMrxyrqCdTyWqvn/ASNNkgKWhCty+jN2HRqJfXmLOBRMpS4mPuQMSjJq2HXa0PyGUrc7bm1w8AIKH41mk9wdcgoy7uKeP5ZHpUA5+3hsUw5aezX4AIeji6NXRyO3m2vSuLPK0xso5jKgdRepkM9UaqBieMxNOtzH022P0s7GB9I3YPvUKsBjkRnkAKd+9a79M8qKr42l9q6dps527fTX1yaLqtLziNjP4ZzvlpRWj0tP10V1BNDdM4nuR2y6B3DA5FILURL7Ot/aJAAlU6cEZKJCIleKnceE5z/0cliaXRKM8Y2VT37gY+CHYbubtl5gHI6pT5W33rocqCKKjrEveTSuLv6p3wvsc+uYKLFNKLj2tfZfPW5hGh4udc+oXMQEVG0v7OQLa17iwiKPtjCDRXElPLwjw3L+LLvHga5VuANRr/4B5Pp661M8SqI8dQi7i3h2iG/rV1MGZKu/MQ5J5LnXW7CEincHAE59TBvntQqD1T3dbh7IRfcCBGbrGnwTi7TXrT6nq2qngJAbuR1h34uM/FswWzBINM8T9i9NLTKzrCSUZwRNkiTWM/EztPTyPAzlq9bZ3RxGrWRluQPJVSJS0hgS9ylrDKfvc146tGheFem0YMvO4TUs6fENo8JsyqHKPdd2Hzrhn4X/Rl4R4O0EYq1j6OIeRGWPZHs1qc/ertVyKS4XFc3+sxcG57eC64a6kiDcqt2aNGWWy0lK6vIS1WvbJAuZX8SsNNxr+StslX5iDztRU0v+fh1QHzlDjmZlHp/VuxcTb3uWsa0A+X7GhFyWc6k4ML2w7PEVyybsk6Vc3Dvr48q1yIO2cRba59lMzpEL7dmfn6C1czAaOkLCpoSU+qnlfvLs2jf9J4OHispFtxyYg3zms0TouWwYs9Yr9ZFCH19vNSxYcepmFtqkPaLw6773yviY/RizaU3cfPPwiVoT6VGLd03NYkT8M2mDV9niWa9VTsUIyJdmaxnLZF6ZnwJ7QType7/rIha69nLeHH26muHcpTX4NRUalvhzfBRdcH0e2/Xt8eP9Zs04kx849OwIOpPcmynMmHDytqBPdoeiYjbZJzvclJJifS6v55AFOdg4NpsdQfbGzyVRRbwnHA0ojG2+Qxmpz8JA1yLylwsiMCXbenHXytcPLgtzh/uIGjwoA+ba2qdT3Y1Y5lL+Au2FrhdAGq1xervA36lLxO1QvgSUfUGoPZMH0GlTXjX1ns80JhtOeEOCfJ/ib92pmsFzvzMhOZyjawswxEjyP5VXKT7O+ZlrmP8zvhvfe7TugkUQ60JPtcK4L1tp7joEKSBfVJNSnyJc7oL8pWuPvejGcPkTOZmcrQY1hH8xH5uSlHf6VbhaX+ZnDz6/8qVh9TWGf8OenvxW9hqfMfB0nuBGnTRcik0PxnbzkYmSGCrtQQJshCErRN/nTp3vjRNFsmbQPFDQaUgHponxTtTr5yJ8JXt4VrP/UMztUr9O9VmyeuKQNiFiCN0RFG0FTsmm4QXLkI3oW4QbHeG2PxdOAgEQlHz6wp15+j3t0swgbQHbILRJr7iRJyquS5LugwJ59LqRvCJZzIQnhlNB2FexycCU+1mpi/F0ITyMzSJeGB4oFVw2Y7tle35Iri4Hy6zjT5cj57TRIMv/vHzFapRSU45W13fCuWIhNCbzb5s84sNUxCUww/DOCft5h0gXu+xulXBg8OL1TpXDAPZg0A9PFJ+BgAb8yacJS1VPOkAt3R9P2wT2jHXsGVWKjfIecmw77oBS2gPcAlLtYCNFG1r80XEDyOPSxy3lB+oijNRvZS72MAQRYIkdNQDYBQiH8Aoh51qMTe/4a2dayxZmLGfeqMMmJaCfTdnNHxYFG/3sROAlQVPn6lbn9XgmzMgvw4B8N6GHU2bplJXJQAig1I7qIBaNC9dGOV0ywQr4TRR7L+G9m7es3DH2EmakiM6wxLmtiIE/IwHEn+GzlgUTMJLzbXoXDTzZeWFAOBoDTSCJv8BjSWSw8xfGeIoCzoDKEN+gvglqdrqg70LeX6PgNsZA4hQWXcbafOcumLy3n33giUKZtcF9N4JRPx/sVWd3CurDaSx+pwmUQWBC2+W4PDUjW3VVLvdLoCzX+FUXI53xIbW+QO5L0FN8pEnHPoh91tCHS8qhKbmwlxj9z+JggorDmhzByRcvcBK5q6YYJgeS+4P/3lg4FdD6Iw7JBj12oqv0SDnfsuy0iHXcFXKa1m9BmyK5stfanUabvLSzOa32cMbxZvPRYinPEZ5aYk/1SujZzAzvEwJ/AY8mPgPBq1qkk7lrxWhSYOQgewdJMN5TRnYth/fQ+Y17Wc5ARqAXevdOzFPVsNgIRMhZR5hP7UrPztWkTpyjIyPWk1U/5HXKo1SXhe4zylH5MhCPp+O9bN192vUXupciz55pu3JWYiNOMTlQzWKGtJhTliNt9gDZNH5D67GwQevgukzTgJnPn5NldE1nKacO1WsGyofRWtpMa4frLFCN8S5sJKT6JNzQ07oEu7v7BRMjHiHUS2sgp7hfOgS07xAExS+oi/cUP1OjSiynMPqlzR1gnqSW2Z9MUBW07lRGr61ocyiA4cDZiQtw88l67N4mPzUWQvbM/Enz9+rds1QEMooaOzGhmZymXr9FcRGxVzJKpsDUKTpCvznqcp7sL5OD0YN/AJGBkc/ei/Jj+6K9JsuCZVYK0sx/MJoZe4AcYAJtMwQseP6bOLghsN8awcasnePiYxWdwHIFqKFl+QC1Id52d4iSCZ+y+fGKNh7xf6Zu0RhrYtuf0X6IWxHpSPw30afYJ23xci3jGPwX3e7UCq1ON6ep8lVvsjdozyDLJXNdoXmVURb+0b+gfsjOY5YzF3Yg/UNNKd9IrSh5fkdGqK+YUMnALciEv45zJDAIrZPj6syzHtY1xUw2fuN2Ha0CUEt/acZV/H+819Vavp2ba5K8pvGzdZlI1LLHpImIdn2mAJ3D+AByNonlfWQ+pZotKn+KnJrKZXfswmtHn1tTDKfg4kgwnulDBYIMHoQ0iV/wVr4HVeQCZiUgFfB5/FyCyT9Efo6LECq8u4X+8VlZ5hS+Luf/kg+ImsI8MwEDFKTZLBf2ZWozpX8/ErgpMl/c3WeX80DFnj/K5JwsspXB5KUvebmcrnwpi6lYJ3C4phMrO3OHyi6jQyAXXD0xJ3/jHAW/UBT/NP+1BVwEGucgFWZRaDWhNLMdzbnYgmFxVogORdC2Bk0INKg0Mph6MJREeiwFvzv8vJ5o4vW4jHi8yuCrVMjIw7SNM3cUx8PcdlF+atmTFQNNs4n+WKuSf7UIrdPPKrAb5SYzHr0hIJz1v5GfRWndvqdU5eIA7pSXBc9wlVVljTLrUB9T9kT2Sa2C4WFJ3+gO9sx4Z+STJKlar7oa1HTk14+Mscgs4WgTy6/3Pqlt9oN3oH5e8BZ1rMHextm/RCFj1f/rIoJ1E/Oa8tM+HfFBp73D7kyQ26IEfPk7oA2MYuaBTmxrMKa3igSw3AJ0mWB5bWmKWSi9IwxRkrWZ3t2dJI3f2cGz8TKk3PgHJJwmVt5RLGROFE7UF6XdLcuq6DQo1HZ/90nj1kdofWn8uprWskvN5zDGOdAbqjtxynHHw1mA0AB0o/Du080TazvFy7qFqUWV2Gw9wwaRpoWEeOmod+xIwGi0O8gQJW0XoX70i0/9EE/2/mIFeAqe8DG2Rp54bzBGS86yR/yZJg6z5Ghbihs64Wtt7dv4olKnsgzTY8GGDV5pFAAIDsOkSbH+/AWWZ0H0aoTM5Y1utZJ71gZPUIhcj9ujV/tbh98GdD0yfpFX+++fkqtkB/sRTQX9zIhSOTmxlM9NE/y0hM0Z5hhbMsD3MnOAywODZuWHnqLznSEo510WU1bf4RpanASmBPxQkagMhv6obwK3qIoA9ek17p+ZGPab/habkaLQriiGWQnuGTDaLrLJnbN6dcgJk988yUhEue5brGxBVJ8n/MlLIOyb4wGmj5Ek5SpyckPZosE8k12VAGP8sKqS82jC54C2oCD6qwtKu0qjFbK69DISM682U06kDg4rHf61yAXS3JFDWTx+o6xGcbU8GTmR4b3hKYbkX7JLaSREdELvbt3+AQmmkd2NLrmZKtLZH+UH64RwrkztS5EvVfWho7A5mApAw5RMWLpAsr2O0n2v8OcRqf2jfg2OEOJyi3iu/D9UxpY2ybLfVE3b/Kkr0Kqgz3ls5zci2zB0Bv0+iX/cDJlHavrLMwmGHmAgTTd0Ey/ejdcVSyKcg0dU5w6g4UpZH2lOG3ZS9zm3VRVkScXxsrMxOnoRBM6s1Im9K/9dRl66reOG0Vb8cznAh1QZA6w6cgxOQ9sGgqpLzcls+Oe3kwCeTRAl8aMfVS8y5qTxv10Uin00Cc/ELEZc/cf2WgagUEMyyZt+uSsc3c4eY0Z15PifsLuYzF19gxSFjVfiUrqGKcGMS2F6olHHsT2SEutraanRyZgne5Lk9xoLBZ2zS5E2l+MdWv9/KF+0Xz0MfdQNvmC9tViM/vNJR9wu079jNGCz0be5m+QzxCTfrlF9sptb8k1eGagm7V5a/nskleg2Xxngp43o28AFEOm1ZCzgamNgu7beWmvGog0O8kYbavPzM5BwyNW3/ueZGmn34n29IgG+3Nx4zKDviUp81dhoc9SKY+q0jF1yRL8OwCZfVSnHw1sGas4M4z2g47AMQdXPLTfgKIvnQdrJuyO+7Q6CZS12T4sY4kxTNCIyyuYIZcsxNfLN8MrFXP6VfAWbOLPA/YEec/w9MwEgI/fqZG8UyJTeWIj4JQGhxmFOpalAznmhN+P6gR25ATmAGWKoroaZHEOplhvINw91Joa6bya8LtEok+HswORklSzHGJWDzaOFbsW2FZE4t+kYZ3UDmJi+BxUjPxL/IJf/KI9XX1PfLBeVA03+FLoLFXg5NB/gzwj8wRgzAMu+mUYd2g0uR+VGdeEO/Bh0ePTdrSpVpAuDA/5Mbqdvv9Ad4yz4rw3Lg1ZyF1IIoeybrJNyaKylystbpUB0xUXVwZEF1qhUm1ZxF8H/1+Y4XsvMGQC5waWpXkANXNGH7T/3zw11wAfl9/9iApgTKwR95sRlh8RNw0Xct6ofo6yFohj2Z2j/UqgpOMVsenR4daBLrhWwxMvVR+FHyasBme+3dSk2e4NNtD4F8Lh42ZOn4K4J1j7gHnEFQh5ljLOqc5Qo0D34wj49zKKwQbPhSc4nj34XF7IiABqAo2tjyOpxG5S+VRk8ZfJ1JWH/TbH+ZrLvXW04MOwMNI+/dUk8EtoK2DLm1l6kuNGG1pm6JWyjnRnhs3iAfUKfJusuXbQE1/VG3WqiPcfd6A76vVzxpy24EQjcv1PTx7uYr67NDz3Pbvh4+lrU6HMVktTxqSWDzcZZC+Q7oz72cr8xFO5QqkKiqYHPVllvQJXVYEqBVryfTppkYJe1bpwCxqQzapPVFXJjsRszW2PlMXpYidsauS/oVHr0fkCR5QbSgl3kDlOaGLM1dqwTegjoyd3r+jTK9hCZjU1rooreFtRSckYv7C8KGEGXrW2f5ZJkyFCfi2LLbSxEDSISiClmcdA3zJL/MhGOUKvCRm+7qyhwt9ow2IZdcwKVTXjcYvTDK5HEkOT/C+n1K9t+kXyTAlEMrp+L0abVqOdSHvGPfbCcMmAGZkShtSiXHkL/bJwo4C1YuSIXxtsMd102yQhzAYSrw8smbzQs8PneHaaf3xQfiwk1dxiVyKAj9lX6pbPSdfKiDOiUo5fijAN+0XqZyPNZ21R1CayR6lvabXrgDFsVW1sHvR9SWtB0zqXRDS5GB9zb1l7cTcV59A1pac9/gv/flDlFJpIjW96vLOtsI/dmvi/TN1aAiWXmC/hqxSgHL3NArHR3/NqftaBOh6Wg1oQ6gHbaMp718RQfPgWEuU3IWxOp7VYj5OuN1QIBtLuj/Sruwbs9Yh1UaUhEcvrIqpdkg5YZouDUbczFvvdqcSTPijF5/CXfoeF3T2f1V74IHjn7+JAlcBVtmr/bsxRNqhXNdW+D+ybR5Z3QwdKNTN/BV1zNrwDbKDPhLOqA+GQ1jiCB16QznJbIJuSd/n/jqNgNd1+2NIL1kfIFrbEoflzroTSRrg059lrpqsyqwmoZP/8q66bAQ+XA+FaI9p/tI1sufG2+HANa2nqhVVbwVU5dZ9CIHcWEzICRT0/vzmPsS+aT3nNN/uB7vdxR5SmJpAgi+Cn/9DDsyrDEFrYi0PvIhVsUa+Cl4cwFHwLs6Wb9GeoE7d0tElDj5OxYbuOrWyMABWkZcBjX45myoBgk9cZJ2UKDyTKhq+lrqBvCXf5z8wbbL8Xeylt5+dUgrDzcgXo6+BgFtL4M4Uzm/jtwCi9S8Po5dR5HcUK1+SPvpseyaTCnRlXrZlsaNLCjAMdZT1v0tYDBplPDGcnq4xIxsiwI8uJPTEPD91YDfq263cHqQsvIFY+jQVz3l9Uxi4Fwnfi3TbRrVudRj4GsK/Y7nt4sj0Xf7CjycQ9i03IYBELPhYQf098J5zHZDf9BzsYebdhY+ikdxb6WrjH1GywgGH4X2D+kw3z/+1rOnpkKYI5AN36BmheiGwZle7YuQZ/WEIiplUkYtRhG5lfvhdCrkEuFCx3gMfX33ttsptEDnC5TENLAM46Y7H6LGaCGwmFdyOkR5TdZVmgevlZgpb3kxBditvGrsVQnL4Ts1bEgFhbGG1MPuy7hWKxmZvJC1MGa+E+leXf9T7O5Lung5FcI2yMG41DOdVdrVDZIkvuqoEkjOWfRkAywbH23uaY/OPu5ZK33UCTIf6qGNHV9jLVW4Obp4R1QAcZfLkGFuX/Pw1rlzxIRre2JVm9bO/VJ+79tlmuQkJG46RHJJ7Du8YzgzH9BLFvBdMBfk/SKvB4xfkeS1ji5LpdkV8lVUvzFovWxhfQ1cs48Dj10OmX0EcT4JMJmWey+eBVunJJluO9jehPyL2vcJlk7U3dixGteBLJmklX3BcT7SblO+KQuWmaUIz3W3Lkzoz9edFHGAd/MnwaQjwljMVAMG92sLhaZUvoYmCer6rMDC/MBkYGRiEtZvkdvk9kXTcKp4nXFTDgWnc36bu8EslsfPcfMwmFWzrgCIEZ52OQCbzUIaveEYzeFPHRzsjsSguvlfwW6bmSVLFGYizTYC0PYnm2xmIXVuJCfDCols3RjZQTKzJC08tkXe7wgU6iZiiB7aLQmTWe7b4aUok3A5BE11XEdxBkQXhhqCHlLSDPsGhLNMWB+ysNO13evxN2/oieeyrkD92L8kTPPdTlhCKNw9zpdTLNcyJ3xRJGpYj/tnR3n3Cdab2yTUlZBfzKNQ5TEht1oTuLwDEDno/Ben63NHXSxVDjz1+cMBpOw0VbHJysasRgBnZuFK1175RIpihXUB4UVK7Vu869IbeOHWqr29g/uRLkP6XUy2yPtV9hak4GUFtH42IhiM3WV52P5ekvt8CnGPSluLnsMwTNf21uubapQJEA/ryosiciUJ7IO4unW2jeeBJ7E4uC6rghREWAffm2MWzItGtum+kPCOXDkyxF51FPRRtHZNnTX4PUploZRcQItP/k+vrlzR0tWEiWSXxroRtIYSXTjSeLV4wLp6GbpT0cppYvaoA/Y/ExcFFNvqEImDyF/ncpVgyCDMl2+uCf3j1/RyIZQguJZM3TUGV+k6q28xNTgONXLqrZKZVksDscnQJNwAsOvOdSMQRTaRnsbxqglvVgcd+x6UXh65I+oXq3UT41Vi1b1Bb+jnMcMGUCno/FFSKyEgzvxcfJ+H+NixzW7ty9niPKZqEOat0QAF9NJH7HupVoRFjEDgp3HncyRDTp+rT5E9nmmJCWH7XE0sajU6/KOmrCAciD//Zomvb9BhkM1GHfBqnh4Qy//O0szjGG9RM8Paue7vtNHo5Qc5SOdyXJ/Qwod1TjktQMKN/XfvqLQfkxV17Vy7r1xlmgzGx4MInDaP8LOjpxMgHNE8JpiytkPywcaSVylhCmfKSccNXU9+41nkuecdF/89sSM9Oukgcsu9EQG72fAqB0MOXUxRROi8bA7/6ag4Virtkyj4GocpJ2DoOidrZUzZjXCQshcObx9W7czXXtGMzTJVvWOM+5LZwnLfcv0Lk5x67+IdL9yexKw3VkoPSsQAZcFg5D9WrTfTCKIejMzn03FTIxyx9dPxQ0UddUrXWXLDpdzG3Z9iJaIphjYt8hygHleaoasESXzPeUxZQw1X5xvqvN9AH9HTRVXI3nCf3ZufNjSrJWj015YxhKrcpI1y2wl3WdBRc2NWSqgnfTfYti+OPkOe+krjN+TZCWb+AMGycqHeAtBmrHzYf53SrZp0XaH5uFrjD27RoC+fdHQcMsADYQJgPan9AJ8ZJmJqWwWG7O7fh/uJdQm3HeuJM6pdapls+uHH7+smL9IQ807t2k8aufFarQfu2dwmPkoQYdL02EV7v4d1anpVl4mAOcMFMWCUk6Mw03ztOcDmOANLNrvN4tkK+EqcWtvyn1A0asNCjiTnfSsFber7KEg7t65/VCB3AxQciIkJg5rgAKdmyYLwtssbWFABNCxHnQ6+5QD4cl5fJt8on5/2Zta76QrhHL1cooRtKBM9iWkerovBiXBHSOrdLnzsEbMaVhP0xNnYTNffdIek3Y4hjdEwszY2T48+oDEFyem9+IMm4p9oyFxyOMCVATIw6zX8jCV8g4vGl6v+wxteJFS0P0sa6EQFaYkRGqzBe9nVNxKF0SwisihPtfBsl8Y1529Mj+b3Bfp0p0zc3Lfr4vli5VFrryVH+/fsGTd3g8b3P92JTf8VezF08l/UhFu/eiEhGhdnLORJg0qAkgDK9m7fsWVpDdhDO1+hQvHFogCOoulJp/HDQysEGvflkvrO1Gl9XlSBRhhUQ0iYzzkXvrV7mhsRl2Yl6vCVKMWAe9LPB868xxYrvDJALZHaXjpR6oygAqJIgNGs15I+oI/jWYnORoZgHnWKgRGblIgvE2sTQdgAKly91XHfUkZRDLT5JX/G6QbAdS6hzPrGyiljV+hJB/nCr3RDzDH0JJZx30igi9eDRPIA4c1b64aFVTeXbhb5Y8C4kosBDMNVOCBhlGID3YffiRf0bTc8gd1oJCLQEqENsnV91KibLIal2lmW3XC6hq23ByEndGGHqVv5vXi9WWYnthLrh6o/Dnt4tMkCVtmBHK3B6zMJ/Qxpiddk0PWLvCtxPGC8HdeDSl6h7mPQLBtwX2T+Hmo9SKPzmhFq40qqAClfCv/YS9Q92pQkJUjioYLdT1qJrRI3SPOSqn6X4PYuLzu81kB+VV27PSjbK0vtavZJLPO0ZkyVooJe407qYb/zJBpyYWvwDpg+J4n3uRVbkP6ErOaelMZRQetLY26KG97wV9NXKzPomva0MUdzU+oKpsGfxes6cx6U5BvylXUHlI/YDsgRsFRMcA0WOSjqDVtLU4e/H7y1XmPT0owOmmCIGPcF4uWMJ8qFDozjCQXOmhd32Xxi/uNlK76OOgq1+rIvqTScbERgWOmo9YbROj5/yOUSZUf4HMw9f+Pcn5k24oKwubT8xvirMxd2IhBNyNTnJauEbT1UX4yvyID7Mq0Df5tcwMmAzGvJed17Ya/jDIZ1u2dP5zj8+ZCqRSfj5kOhkpUTR+BQNms20Zi1cBWqRcb+JyLzYpFZZRw6xOY7qgy7yJNI4hho71iYwS0n85ighMZuSL7QgiYxEtMHsfx5etZrksAqodCfzev5hhVxFdoc+KL/mYo92bcfsaWKzWvs0z81DL115wvT6bEXWfyXZPUNok1GrDJZkJrK/JzaaHC6PuW4OT0yUD9Hyjp5KhgPJQTeF/MXy/vl0uK2BghfIUFzod5eBUTXwjwphoxvLQk++9uZLPwwWVT48mD9t8cP9ox0OML+aLw4GeWLhE8u8CD1GGacgwIZPWjY6nBswFvZfIOLZuOsWSsgKMdvIGmm3X1TR5qeOXjBWXWYhi5OS7NTHAwmG/Q2CHyBd3pWwGGMWcEimdsPa/kNFPCm41JN2wCXOtaY5BbpMuK93vVWRV+XfYEzBW5RZFsSE2BvMzP6p55JPb9u+bfq6AT8KO8moEd1VylSuuvypzEjKheQcdyZ51hmVnAOoWotTW0+IsZEujZkucm/q8wj+OYHI9UCrsllz76l6gzpMJvty8TDi3goaoWe2g9RkXo5bbqjWxg+lK5f+I+hYsAkK3/dgH1XmytgQHXJgFhdm00XUVdq8ILVXbnTbwlDDpyqwyqR/K/bEB3FMmB0EEQr80tp8A7JTvVATmVEb+YUmq0e7PT2fyPlT/kyf1+XWF6855BDCvvY0OET0X9aL0bOiy1k927iiPLbJKdL65Pg0G+rRQPDL64HoD7aB6rDc8l6ronOoYCX0/25B5rhMLn0neNvoNsY33MOUjVlSBp09IbaB+u0s86vun6xXZeAouEsU7xDFXY265M0ZJNVWB+PDqw55SCBRUvd8jWw9wVcJ432ftMDrUIJ8LLXsywQ8+h9bjoIXasmnOfQUAxRj65ZUkk4v209/jYxaWmid8cbgYPUmdPY7J8DWt3vV7k031flV7mIkEvt96ivzzVbk4lyVqmZR2mp/9zFWIIOPgt35g7gFNK9JalDyh86pWWdlEPpjBQOCBJLpl7sv77mRI/mJWvEWvkrinVFq+Sg1EV4gZyoaOqIF3UtQ1tU/3LvkmuLu90izjiQqOu1K1qqZ0NYN1Ns8fCZMMwlRhuDFgMMviHBzj38q12wUB/MT3JPCfzlodjPmSAdcEjql5vM7uoULzKg1Gvcov9oX0RFGgGfiuFhNS9DD/wQyuEP+W9nyfwQQaouzzCpvBCGk4vu7ld+JvUEVmbEAdFnOdZwL/D5Fy8AH/76pDOh5/Sc5jazgVB2t+TOjXXjiJl3dGjXMwwsg8wlzX6oBK41E+P0ycfQZzKPsOHPguBWrr1zprUxuFyt/ET4q3bXjJCe5K3RDcYyEiPpDJa6QtgmBF0+wi3VeN44riFZSqCKtPc57GdHxkKtYltYLrJ6IX23yunpcCq8aH7ex6KQgYraYeq1CKonFU94qX+RR4F8ZHDDIpgmAf88FNlWOTHRRzVmZhuhaeCr4xLXLtUQniSd817HN08UwgkePrqbhW63jeLmvJmYIM3GkbE6Yv7RRjEapU5QceVuidyNvhjIoUTtSl+LtZCafQNmz9HLJGNctE+bBuMu/gmUs0n/FyaO7S2y24TaUf1XFecD1WZVA/JWZK41PKnHMA5MUZjkdIp/LUATrPSGAb8t9fEizKnPrhBpoFobl11WGOwrhNQnO0KMvcBPm8FMI7THUW+TaXzWX1HZ+d+3mwVBQgsIrkhTK7JthfJFSKwbrqVbkRA6jguvBx4Eup2qGX8qbjelhOu3divcmWHtGrv62yzAwfHQYqr5unyKdIZYEDVXNQWyOlwb/t2NEXKoutfL2voOMDvmn34vGLRaormEWfoArcWQaKxSM5nRmQFackFqViZmZ82SZO/IbGTF+M/3l0Z3K1YaUe+yI4BTbBP/OQUpDtxjEatTG1fXS6seBW2d1YXCZ+sL+BGvowwUwvvT3H8Q/K+gfoz1LQgq3FpezwzBpvi0Uhh8Lh9beaM1fa2RhCyX0aenDC8lebz/0NFEz7ZHVlV0RRLXgHKfIjMbSUQIqYlz49MSmNUvFWgXVJGXWIpfubfn5SKYaeSU/b4iXlHtWi2tgUHZ+S8+VQxj/0i2MA6fljZu9+xa7+FYx6xaXRKyMhSS0VVBeU92UlEs/SUb9nG/LGlfq0z+W3biXDT4gGbTg7Gon6TbsNVFbxWQD+QFbSsTIhTYlzONFXGZNWs4s8CTIhE8dp08o+iM4PLJDRVI4CHpWK7pLcNmRGkIAamkUqLIgOUmcHo8Faxk2XI5Bz5+WHN5AuU8aTnjEug7JR5LCYItuu5D7enSqKYl9JCVfBUyArF2+tlVB5u91dHJPl8khxxqDLh18NUFlBPIuqakOHo5G2Oxk+mkuM0yHw1Nd0UVHIZnijgiF3eHHXDx5bBolTBGa50NhzDTXBfdJsplaRSfndAAMAcDwrVL98RMVRnbOhg4KK8DsSHsDwS/nX/BM3apkEVwaPGEpkuk8K8WW4MfiZmuAuYFFwUavvl85qvgYzoiADz/u6zwshz5EPhXVhrNKGw71GXAYsCsVGcgfLxTnFSffXrYCWlrxrV2mwZXqVGzRHEgoJ+52ckTgCqDrkBgyl4GRowdW9mzvbhsc5AJHVGSqESIRK4yk8TMI73OEuie2osOXBgIfqmzrFbRsRchJQhD5T2Fr04X0/KjkPUM5biOYgejVb54U5gMVlFTRuNCByYt2cXVl04I6F/x1UErEOPEeUlUSY096rtCtJ1oCg3W+piuVmMvZb6CV4ZzwCx11GBLPCAJ2CPDTxub/BRcy1Q3lkV6DctZkf2IHg6KcsgdzrvQUQtcHsE8yrXd9NLetl1m/lKZbFJ/7FwCGX4mJI4jtQB5rMLpqyartpUWxoYhpwltkhophEr/+O223snAAq+O87RlJpjOJTPfDh5zYicwuhR2H1024QPf4oykxl0/PACtaE0DDIWqxup++SbU9zsRUoSlvB+uCyDGnJ4I/bmgt7G0tIH3NlPWPRZFH6s7NqI4Feh7qOArKuHI5EGoAYfZYARA8W09kA2Jk7CbYbnjvkXXtfb5+j6mcj7m8FlsznzV+LQOt4kAxHgMLx2s2C1jYnH2omknaebuoHfwrzFFKD6B3mxcMQkjHHVUWD0zXjs63UjCSfgPCOxa9RelCOnxXyxhMnwQDk2JojAAXH2RDqDpBxBSdECcyTM58X4dvjcjAUWYDMJpEEKWEN2lDWhE3koPkZA4jiJfJyeEdEDowjsmWxDltld6ae+AUEAwaF2sonKQxU5YElV6SrrW8IEgYkXJ7FvVo7RF5NgjGRASsuKhfl+CGO5pIbrYKTNa1bh16rwh+/wex+zaz6vWP3tPTlndLWVa+yLUftLdSzl+1lMIo4A3KBbmOzv0X/k2SO4IRrhICAY1tz+tsU5LMQOI2GpIKKFtae+SBWUZPiHfnxEsqjT4XCgUA7anQ+rjQiHO+u0wFRWhMPesT9fUz4VkEyttmNl9xiIAqK+EMXU5XdD/GxMyti4riYCBXWKQHKOcYPp2xNV5f0/Sh4UEc0RtvSVlFUtOSLXC7LDDmktvLPr+v0bti2gAuKjIJaho71tWYTJREBreMvt1XuKVyz06NXHLoSnVGMOHVoDj2HxTSAFotiy4BKRvfqf1+8N7xnNZvm2zQcLaO7mugW4SGODdNyuc3x09qv5CTLWSRnYM5zqmL8NtEU/RGOvdj45gJD3tdxBlhS52rohhHKwjHaQUmScvEjgTYkjnnG9hr4SPhiKdH/TRUACIyxE93Myf4XtTDCM61ls1QBzZj99jIw7oQA2rzRO4Yi19lkKyGDE+M5YLU1SooM4EdBvF8Hzjjv2DgxHJ2A8d639lZjKPj4nnT+sxPTxVOzt0c9rvybOsNbgXaUSQOLIZoDmfuBN/I3a4Zy/UzS5xQQMqPWzhw4jSe4rilhDOn79Tk/EFvhZ0O+aFKO8O7cyt7uMy831oFbJ8BJklD6S+EW44vNb6KJ50jpxVpTIDiIQQjxi8xt7FxWz06ofdjG1FsHiALuEEMRb7/kR6eleW5eD+3tFNSr7n+/8wfvoyP9zpsbdBLqwZcoLavgBVesDT7O2boacafcfvhN98+upNqaM9MpirUxHg27A2OVzfo5O+2jrPETD+EA5YwLaKoKFhAO80Ewea39gPuzOWIX/U8BhoY1fuZVFmrzq27C9WR1hVye77tMpSz5DapOMxionqXbOEElbFlSxRqiP6kyyIa0xoXTo2XbCwvZOc74nK8JaHFREFJRv/2TYbNKBXC0iwMbbY35HPFOo4X/zK7s1qk/5fsaJvdY8UnuwqJbxb2aRVtJupjwvyL8dQJuX3a+3//OdCkkTRKp4F/ugNYqsx08lLZJMbP710PRsMVc8oXR7SF08dUxNMDPdXiqT2SzlRoKH1punAmL9uqjM8KlDSo9oorOCB7HK9ZdwLoc0e+DLJxDVxl/4/SENr+rp2nwZ9lX/nInDxltg0a4cBgxHX9HX2jgls44euXfg26IvfJbVRiwgYJJdZtGDJPqzMec420MwbHjHeXvG5r7n1kDYfyaLqDX0/61z+qzrYXWdW/eDQfv8nYpiimYr08XrSkALwmKwRqEmI0ONvLUqUl1jAGonD9pnD8Hb8qc0DoynXWh3W2xwbLVEnQePDzhqMY4x/Y0P+iG1ckZeWBVSbZI7je0eeYXK7+rGtnOt37gSscmQQmrDXFORpnkg+gUlBCzvcQKmoml1wsSzQFwNi5aa1ajbRQM5rRUBmstGpWcoDeF+AC1glG43vYtquq8sqp5i+kLNgfb4Uj4TGztd4jXWw7C63t+4sutuarVxwyBSQb2xsDwuDlcX/9A3EUISiKFlFaJms8qPG80F7oMKdva9wRaFLg+8Q+tEV0qxbigVeY0WX/avErwF7S6m62LcvlEOihOM/i9eEcKnrXlS9VkAUVlYJ6gzz6w06pHJboIkiL3g0tiAxY9JKwGjNGg3oMvWo3svDSOMoAKabIr7PGhdd+KCdaTt0rUMudocnIDwwjvOsnZQ5eBPyH73ZrdLkaq34Wnz+IqiEHLnHf3i1s9KHaj5UjBf5gorMdSHUCsrpF0n6Sj3fz07Dpi5aRF50Fd4/f5rTFP1R+CD367B0qD6aW6pWXZq2I+nxb86d4s88ciWR6Oet2EcTW9NUTPib4U57tMHrpF0/hX7oPLwHfd1Zz0u7AzxqIFpnVdw6+AmYEQYNn3FIXUaE/E8orWmaGHL3seREtca6OPkV8gBXNmA1sZvRekzSoV/65v1eUN2MmBU98ZArYfI1v0xJdm3GCz15n42FogpllTFKfmZphDs4XVnkO9XMyGv5PAHfhLuaJJhYP3BIKBthUjdf1cWTQZIyIG6UZYxmM91pwgCLBoeEUIAeLT62msLLqroVB43ajjbVksWh5wFHqx5nxcNU6VYdRd+cCE+uIkscidCQoVfqTFgTMun2sUC+sdZyouLtrmN9subhpO0dk1CN6xup8L9wvg1/D1KAbRcNRlPzUk4T4ZIuZuYrZp/VbfZg3OtENJxLhlhQz54MkFMY2Wagd8geCpU2dzLpdgKgTuJVlFemKuv72l95NnV5nX9Qu4hudlwyB8sXQ1DNV4VucB9tNBKEOJhW3J6/M45AtJZUSxygQoWbURsbS5xEU84Dy86IoWAGVsZcjmlfzT9i5yFuJeQVMuVjHxCi0LDcETYnk9DYbyNc+iUi01pHG0sXsDQChvjdv2AjRekS9ZT4MSoZne+tSbYKU02FKbuLqisPotSJGygDpF6V8B3YSvWUa4JyVxrek3s68DIhC/AGQpmoUcEIP3MAwioB98zLO7iY6WuKWJuXrXBHkO+20NvDZuMmCCL+tDbxbbGPSPIuQ6mwuIlfsJNVynkFiJfw4wuV4Jq3Syoml/Z0342+tmxnnWdpDj/qiPcDHalC2ADSmOVD7XGsqzwH0GR1XbBp2UGx4XrSQ1RoRfpIPjglEcr2sFlSbXwfVuSiYnDcfH5N69Z2on3dR9nSpQYHlMgRTZhMlD2ckJZkDa0LoKtnmF8FNoE9Qqk4hqWe3CCcfoaNVRr3JvDGUlyn2rUB6wwy1HdCL1K9Fwl4aNtaTbIaCNSL2abKUYwqDir8CJMHg+IRjDMdIy3KsipLkN/Azv1kGniBy+7QVNk8V9RSC0HSaGB/z0ISMzRWE1kEoRzoJ5iOfEGJqLIjJdeiEYwHdpUK/H8AfxKkWuXXlQ6CpxRDbe+0CxvdRiY94M/ZM70Gpi5Lyy84dW6Vl0Udwpy60hlmhNfGuoU175QC3WEHnvJbSK/VrTvxbwpJKmhlQjgpsJeCtSzTbCQBAD6Y0MmBMpR6t87GNkc4hVyxpZ/Qho0e+9/VILOsZbu0k1t0zbEgLoUIBLXpX8bF0Okhc2I4JN2kBL8QAY/aDZRmyQjZ4fUl8kD1p6AfPlfcDBvQ0mjWcEXU1IOdHVhne6jMExO2MtmdTyff8Df/fYkYaF1ShoNcAhC3e/F/DHrD3lazyoXX95Z2PiwHmyhVbMnzUo95et/KxI5h7zg/LMGtmD7OIU4f2qleTXMJP237PNA0cQApchZaTAdNuME70TTRia3f6ljPgpZqOADWNzta1J9cY5L0xPSTvYr0/0SPaDJUWuAmJu1rhaPFpHkKA/rD0wV+YxzNrUPT129rj+bLxrZzHyFZHrj9KDxHqZ5Bh3b0EW/rw0uARB8wJ6flHvSjF5qqyRU0KjtJFL6RJHX858oktcdlJLUZtSxJjuf2g96HcorU0xueU0eOMeS63zv5lMXr5zyAOwrsJn8aL+tT4419lVO7dn7pgsfpXELBW5bq7RBHjHyZfel5LYqNfwv3QviPPgOimgZ0bwMeH/60TZwsmtwm4txGCQG8xF6c34eCA/ZPdH5O8nj/i/N8NNAd0e51J5pmHdix6u2c9rJn8ADBgq5Xw4dP9yUC5123PdKfAXdVxyzJzk6n6kHVZlNeH2ux4elK9QGDqvdHcU8UVBVVpKWLklVNFcjQYlzs5mDsr1IeMnvD/Is62dnfIVn48Etv7Flc46pNZwY+/u53+1wn8gQuK/eoODxYLfsxMtBrynOgwbPFGOwAQM/4BmU+1+BcR9rDcYNpHtBfpOolxzc8cmxSpX39h/69Xyf+V28uGsyqm3Kwue/SpTVhwJVI9cKUrzloKF9u5PjxBQU8781zaDjC10HmnTsQKXZfr/wBXm/3mo7nC126InUz5nij6uFj0RZigP34vMguV5q3jfXSlSAfoOsEboVJSNAnFkIZ4qrLTKkpFMB0WGh517jhQMMLNAYwRYF2hfB3TU0Zs7Y/qMM2Za27QMM8eVlo7mT1oMZiybtc02GUGkL4y+ppD7WOv5BbJbc6sx37ciAo8kku/EAfUownTEBox06vZ9jGMIn697R/dBHJtHGGmtQJD/4AJ7GCiwSUhhaOarO8u7y10xJ7q/wYLAbRYXiO+kOpwWoVNpd46oYUgLpuDvnpHv9slUyc6WBwYW/1TWR1EzHuehIMeK/mD2NXcFp5bEYACqqjgLvTiC26PABmy8tpZ7AZoz762wMJGmmUFPCywJ3K84TRFEhThCEuDci1asiS6+QwkYk6foxMEQ16/8FBGZvFFIkgIzhTrQ7Jl3kOTfYGflOlO5BmDsS/Wk+Ut+NbxHVSJDxXyxZIflXaPOFkkmkTB/69nAZ85egp2dexJXoOy0oNkeloNUgD9sqbqWkVOtZ7VAXvokUvyGMU3PJVMbWsDNDcsjAZ3gGZSAOGq7k2K0PM8euC9+InHU7yiHhv3/xRSH8tnUJl8rTw8ZWB71jzY2BJME/xBAzpg4B6+vtR+jOvIpjK1/YOdjaGmdu7u6aQGxr2P3Bb0EHAW900pkDxWjGuC929jjRXdxY/uvcTU6zcDaIeM3yCkw9Pf3XA/awaVXXek537xynT8VtiPDIAjfIM/BLrvQaaKXvoUGq1yMSqUHU0zvDRjZ0u0aLJlUHH9InHA5thH3Vyxhc/vZl3+MwrbpUMUKflpKiyd5YwEL6+SjTjqY4NNO+TNOd3Q9sJGNaPKwkUo/nxkWKprKujPh3SQ8xX1ggo/NVkg44KrnDou50zw3ZqlELpUY9uSEhig2jRZ83IKrP3+0f7dqZTK2swzLSKGgVKqL1lYvBiYKKAlWMRLE9SM7nDAXiX/FzRwk+AScNxfjnna2gT2h+pbk9i4Bn4SCRtqwoZxPq/UKfhcSWky658dvF/KecnxZpMqd2x2IO3wvsnqgQAEhpJDlmEH1FnWANFSJcwQyiyg6so+BBBkttF/Yz2LPLMbska8srQZjsScwJ/ozw2TsOyMYQ0hs0CkFdbrTms2QZCCFZKtnsDd3KqpqizJkTuPbIB2qKZsQk2gdAYnDt7p28lgvGUiCDxbI3QEPEd9o2ZcCc4NreaakF52Ni01ravZmmIez2UI2CUkbr41Qn+1D8HCfe7nzqUfsv8/D0KuMvb3I8X5LtmStXYRsJWoPCI1k5mwgnj2mjNbKIfqpsUcy1Ox4z4JigBYZjaaJsoXagNWWWCxG4tPjm68Q+iV3XPhAxl8Wdj3OeKKKnlg36HDAt4AU+47g5OgXt32vVfPCqPv5xE4jKjKPut+lruAZjbY8r+lQM2YVf9rRy8EV22WJUo7kYV5O+ONt4hatArdGdg+2V1K2Duy13Crqb0ncMiil1S6qS4zbv08AzgXGvJdeZcdSCQJTIpWX0I6+rSjQICbn5xgcaxfp7Aal3oBojpKvmMZRie1uvOPmN8/pIxlqGEacz7pHMdh0Utz4ijJeawZ+cw86sEOVn9bMTK/hlzLaIQU7EmSXOTgS1DVvY0u58QPWJuSkNRJIjTEJKxoJboz1n0Z/zd+EkGUXk0hQ9Xm22o0s4zAVPOh+4cPJ5I6/zDAOEi7KapNZxRgt6CTpq5HFdBGz8EO4X83ux741KnnT17x6JKDd96oUftrNtqWfc3R/4Yb9EsC/di8kmOlrB5XaavqqJEtIqN8qrvXl8IT4LYEIFRPVLE69/xHb5Ytc5ok3in50Ms80PbuFwHYmFY/aTak2+X6tn98GF8duUQgewit3FnC/K8eBClHQkTGXhfzJSsfgluFmTho/o+HAXJyNSbNv/iduV9n+d+CY8hlIr5TZsVqDwSYPnMVb75z+kRJDujskt3Um4L8dAItDTTypyhxSegpZdNJYCGf3VYTRmDgv7uXTOtcSoThZyvhEohBEPqAZLDzFLeDd5/nvDkMPIDvaop8eNhXzKGHUG3YvEYJdyu8GO7cj/DDOw4bJSFmTx3Ws8RJlGupHcehuZ1uT/r3yoVxPtnUqD06/6MGo0VQAD4nAYV882Ohboeq+aCC6tuFYLH4p7DrlfyZJ2Q3yjDWyt3CISX60OACgvljFmmOMprwKeHSlbuyM4sJ9rBCDo4iC3vQim6maZHVM9j69aFX82WPRa2SLpOSMr0x11PgGQXvuifmukhB2X6SGPfRDdFTbpET6uWSdI/g6uzOgzHR082ApO46SR0eBaa+FzAbyQi9CXDj9qP+fKwoZpJuEEYKkSk76Vg370vD1bcUZN1/czJCnZGHPsSzFAchEHoccRnUs7DQJSlRrYThQroyDduxoJ9dsU+oA9d1mKaXRNXyKHQ/OjfBlMNMZsIkfxovA82oE+6WUMuUGAjV8KUJjv/2WPTGHhUjIQSljn1NHsdb7pzEObmKdTQx4TU1Jieh0dhHxVlBDBceUwmRPT1ocqzk6vHcORBEwhm3nSRgoMYXJ77aKIIpNTqTSVcEyM2C3kcTbmQtuvqLgHM4xw5+dM22JdXLWltCXAYdGrsFpQJMvd60K8QMHlJlCyyYmf8izidVEnZ/JW7RVa8U7177KYIuxIma752klpzhcU77W3CcLmX0HvB4gpzO6y8VtQguUgwvYbQFOSOkC66U+ulumizS77iGdl+Uq7yXwYRQxV3Fm2joIZ0Njw34iuurk0Dpb1TzDv7TCkD1XuDGchz6zsjRilMc3K1iBsArAaOSiV66RSsBTwlR2q6Uez/NzR62oPwhicG9e4fFJ4e0mj3WJTqv14B6+MGMGXTMp0Sg5tEwUkscehR83y6vDOG43yq6Mked8sKZgPK8INLADeUX7FSXK393fenRyvOQRVe7NQ8vIJufyLUOrgT9dKXxSSsB2WyYbSeUwCQXx+pqPm4IZpwozd2+3ha6m9BIkKRnorqpTyX5QVzQyTbf+7OlBjyZNTq71IrL66CNDk20tQC3tXVymlRPMP28iC6aNO9V90ird2Z4nRrcZq7qkjzdPL04eiEtMJPuBzYPWCwZm+J0YraWEvpAkJYY8dywR6iCwAcWnCRMqOFvWkXU1Vd2yONaxFsIAP78aQqj8QYhLsoMvM7P44v0WLynQPZkLn5uJphCv8G3I/RIrd9F39yRzh1GVKzFDNoT1Vzs5EQT8x2+Dh5F3/XjHWMXN1lId46NhqYF22hOUFpvsfgpJhSufWUs29f5xaj7Oi9HHT3aTscBaCuWJfRbu1ZhJgryRy9XShivnXi1a/V4m6yuO1YXEUaojqAs7eEyWstHU/RdyLoJKWEC4X3pMCie3GRsWSQ1X7sqeYiAhN6uHVtwZA/wTqN3OHdozKr46dF118xnDPZHdGV99Z8Xu5+dGxT/RL5umjfDixFlNAY5r7V6mei82XhH6rUtyb8sHfY0XU1qXjnpN0yZTIOV7oq9NSbWJQsnX/uGhfXtcSPR9hahGrtZUfSr5K354+LPDiSVG7y6TNFmLirToXzZj4TOPlkfrDeDMuDXYMy5tnJWfD+c9OAFUYlUeUjiToD+HZrhWQkx+WVii7Gs0hePepWND7JwFUVbRO9+hQpJjCTTKIx11r9Sh/1Un5hIZ3rE8M3lB1IHp3cBJdTcXkoUQGVV/vzmkxEROY/nZBASYWQaESTw7KkwyhSUlMGaNL5gjsV973h4iylCXNgVnk/SCdKziIGP+KyRW5onwB6SlkFeBBZlOVDTaf3B6rcYdOthcgOOKqbOUQWajdf1yNi0y6IlBSo2fHCHmHrcYOt21EbYE9+R7OrldD7iXNB1EWWCvkZD1u9MXq5LiCCUy4CelroYL4UWM7OyoHLy5H58zGjMjtpZuhG6Utl5am464JVgP6zGNZycrfbv/2rcTI7Zt+lEjl+WglQNkD96b0elGB/FgEGVrfW/fEbDMbm6mL3ZQt5tw9S1KS3e+lZ+6arkdxiiFsVd4mEos1wU+tnRNeh8m7tB2ez0iX6SWdGp9i1E0Vn9X/skn3CTrvPZ6HWv1kspYqksvrMw4s9k5hfl8Zq95ZFUqT1rASQ1kQXxhthzxmIC6vyOu4ZCufy/YcgD4ANNmmjr7gXcY/xT6Oooy8gIDCzfJBydkgTqwweZVjK6auBwGqoKGe/VuTQxieQVV/NDwrs75vG+hUmnmYGErSNfIJ24UnLE6cFXfhL1oJmP+rhZbWo73hLgZX5wgFrUSpPvSFQL6oxu47wiQyDS5AUcjBIXOQ8Iuk7HhM/KTjAyBTOwIQTEVnrxEdIJNrOfvn3bg5a5jxsDZ87dgK5wiac3XRpbHY0nWWCQqqKjgWFJjnvFVMbr2D1/+V4AcS2+tl/orY1wxiLX1RpZYvblYnjydUIlXn+bq9hk4exZJXpS5H6dJF4pkw1ZuiF6fCBI+A2bLiDNGzJgoizK795kAkuDl4TZl+5rwVutvm9fUVUX/slYdTDWFfBYeowO6FDdz6QMaFSSv7TGnsS49Wv9U5x6K9d3ODmco3qCFhjPJIgtUOU2mqqJkVLHoPNh6n8o3fnZui5VUyb6Sgdx0ciJGadlkQhbcDSnivBWuzp49BTL9s2fSrpIyQY3czaPgoXKCdQk++Md4fq2ath/URqtDwq+Bon8YKvMBJa/uboMAK2ro6JnaWkMXwFQK7oPt7fuYYjUSLebjQmZ4594pRUswqNz/CBbTcl671xunRj2xbxto+bu2k5EAPQWh1E+33TMjGrVpQiwIkp0uVpioXxmDRrI6yr+VYpZrOf173oaPOuGafSv12Sc/7S4gSyS5FAW1aT4tGLBuwEDuwH3Bte6p5KGN9h7ClCFGCAgmbOPXXI+LIxMuSXeLt8XtSrCAT21Fg5ebW51LAUZRORog0ZDWNUab2HvGPAgJgUzVPOf3P+HwU99JbpSUdX8rGkx4xEHcrHwcJ6VOTQlBA+I7DgChCUYt7GxolCLldXxTEG611fdo3Pxg1NWlcDGDDM4+WvHZi7Tq+GF6kRU6xdxHMFPl0hx7/8289OXOQlZzk3zu2peub+1yOMbbIQCH3ng7599xSuVpLV7n3lcHRfb3Q573kONYbbV8CIS3nWiYL/8Fp4aLnRY1MwhId0kgX0lSWB1rx+IZHTBOKoKmCuPCC/HASJpD/ah9F5R3G9FLfFWtSocd+ib+077pOLHfrYqnKWuYR5+K/L08LgmsXQfVhDc6zF7YLYhZb7At6nVqNYK8UeGGi+4JJ8z5DfX6t+uS8wXwix2yICPASw5GWgtsvINJzqfMaUUprV52P0u7bMsoAn/AvmY4KngrKwWOSLhiIWx2o0+8TF7YBeYFDBQuRWxn6HV9z7K3RP4j50FcDYF7y6govMVBfdbFmRy091qM6GljSzW95jTrAjkDk2TALL6hnLEirQi3GTwl1qDAAT5AuKSrLQtEFeu+HpXpvmUsxtgrZ8fyPsnCgkr3W5ciZp1iib8FmgPpmMxrOQOwtw90sjTaqIg7LZoo41TX54lxkY2RwvdZcCV0Vwm9ObuydtqGSg5YkviCNmpdE5YXqNWBEAw3pODfPKs22CBqfHcFb8kgr+Rwh0/HbaRZx9PqWO9h3fSAnhXveBpUQ7T861EZaXuaBu0tbrhOPid2tvoFzJ91hioQhc1npU9YEwrY/M7xcR+MCFFNMCzMIWE5BJVBVOYjOxDcq1qQJF4RjLWkpJMigdD/hUVqEEBWAnttj78jAWtkWbjR3TfczvRqB0gaHa6NFB2eMipXBnspYUJhNSxeNrBb+cSMuJVT6MaFxq4p7WDRglPgrbVXe5gIIW56UUOAwIB23/xJQ0tenyVFdEsZvF+mp9m3SIh30LPC826TbJZK3h+0l9j39TTXA29DS4UKc7gz9HCVDPUeUGiiAAJL5BQImgigMvCqmMJf5eFTzLbvc/iPFVbxA0eZ9bS5VIDmXK5VME2ANYC+gnB89kp7N99yNsCFLQDX0/kl6YfyHgjsIEvwaWwsKzU+EylDnOQDJRly9HLE4kxx0JOSG5JdsO4dfGGpbzY7VGF0A75vKzG+7iyJ76TBdP3/8+gdjYSp6mZI3rMMtJ1dMNfDeRNa4vANky6ja3Q6vnFt0+qvtD0m9T7ESVcLfmyL39iyAaeTNKw6dXslTCvPbXN0hIOPq1dGJRJAdm65v/6QQgXc/JLt2TIH6TOEneeGspoap6+mEznFjkbyJNtILdyhYbuQ+KRTo242epBILFrqAwcYEXi2bUdNlAgWXtQwHLHi4w2DD7Z7BeywvYIMehdWyqI+dqyrTs7QXcwg260wX++2JnEHZ38mR+WkHvS4qLo4zMl1yY8pCkesQZuXSoRbGqmXMs1DxqoM54LqFLTAgNr1R+h3c9ZC+Vq6NkTtZXtRddLV66GiYkCh+mjIBbxcR5D4GKBejtaV2025mnkZBuB5aWMOxukucYCcp56Cb51uG7rFcE39s2hfxp3smBqmrjOdk0xj+iROdXH8RXVZjJgktP8naDhJRjJF9R0OzTlwCBBRw/3m6spl6jeWzUAAQUoaDwF1c+YRk7gl9qnB+NuGJKPn/u1sobqsgacnlsAjqefRd1ZdhOGp86dfmopvDbZg0R2mJIXNvjypMbx/G5COrTsSfkIsPl2D76ygp4uSOd58v3utOeNLKIJzG/MWqpe6K7+WL621eIT4e7xzPLltJHQJkiHKpux1ckEpnUuGDILoMa7e/OZu2yra78pGJgXbhiJBPf7NTlR9Prua9vIjcIygZm8dE08Z+eWhkWIdrLUPO1N08AmEcPMN1HdaiR2LE9xTYWPAP5C+wSYN3Eg6tTqRdf9TQtPrQbs1k1BxpQjsuPaqsfqipSAIUx1FX71lipsrvRG7v3A+OFfNvzQZG5SGsXxgxnJoxlo43z87As9yASWPPG9IqeW/le+1VG9inNMbs5cYOHdaTM6gAJWBEBeqe9ZlsxfQIqpCc6PNlERI/l9Acc4aoJEWkXEdy9OTjA9f/lhtiLJLCWXgaicrXN/q9fQNbln5V+dr6Us1BF4vtgyWx3CU/jKiHRiX1IigAAO5xzfF8AST1yq1/UbMiVHrE4KxOcIt6zSQUvMQZ/PpAdKklkKV1WHdQgiT5509AzIGq4GugLLVKYkv2WCb0rKk3KomcyBNRddUTjLx+vPg9hqPv1l7MjbzOa+5+swGvKxYWgbkDpMhEIAtngi8T14TSYuSHIi/1O/GRrpe1jbIX+qmLrQASSrpHv1UB+TOdQiYG7bit5KeBpr0G+Za1UJuE1/SnABZRO1jsuThxGJTNyR1br6Zd3gGAQ66+Vn8sbhFxCQY1o3JMMmS/E5vdDTdWb2exJ7QsT8HOls3aFSC1l25P/2vKxL0zo+fuaAivJMPz5TbCAbxlcotKiHwsiOd6tPhRi+23Bw77KU5D2O3bPCUWie+yDe81348qo5p8h7Ujeqq4RsxiVkRufxQMivbE/qMCZqOgUPbfoGkjSbKcmXM+04CrWNB2miKIRQqCm5NXIK42BjIXcOxMrGkZmc9smkindLidhNlurlXMKpEUHAjifkNtMT/RnPTP3y1sDkiznI1d8NGF42f+Y0VAgrWs9TyU2UEBnkh3zyPAKmMhP4lswKU3sB2SlcRAih91aA8zJNK5hkHt4LlnsWYAjExq7Zbu/ynAc9qscZmeFeBqGlK8TvHa2TY0xOTTLMqmNrE75Wp2JszSQ2YDuGVMf0nXpFHmGxX5ydlGIVHaw3Dv3WLKlRVzU6XOGS1RHu9eHQzfXAKMTpq8iDIRwze9Fm7EnqIA0sxQHRJvDZy7jxBpthpJF9LHaLxsQzzGZpxBthaZ2J21EWBTK1tXCBAoKWEesQMEdnpvod3U5JF1Pdri1GTfkWqRkgoGY5JSn6NTwPxsmglI+xvvwm7IsCOQ119IOEdac4pUFboIxK3h6xsrVIRxkLEwcmRKmBTSID7eMyko45WWID4jxriB+wMslKjWp6yFexvv7p1c6Gyw30UeJBnssZ/Xef3NbJN7Rk87JYP7TNZjfDp6HHoZBAJg9iX9eK5CzpcuYXmq8IbwKXN6X3iSgV+bY0ng7gF2iTJ/ElupgyvO35G2nwp+lIW+OcR8sdCwAfkBZwM3Rg7RAF4k6bqt+x7vEt5967oNeGJ6wGqkc6oPE+PZJFjN9euQbLJTwB7HkN4189aIE1xuCEx2RD0lT+AggbZwTNYFHqukkd7ABdAdwrOJsCm/GQuYBq4KLHSGj6kdWQc4/RVICRg6fBFzI8fdVQy/GEha9xjz+VZ84QJDZxzlQKnlPahUYgpmcANc+ECIM4PueMoIp7hL8DMJ6VxkvjXdfjd30TWyhvM94ulUMDs2Cn5blpERhkN32tMjJ4gxrXdihE/JpWKolg7YgOFdWDBW2Sq4PCuB67CBXbbZWxN1+OrLLkIO/D994leYJEPEaPsQ/hJ1GYYx06jP6hpxTeRKtkwMp9WBjTCzMixXCDBZ1DMd2K+fbAIzS+aiNKrsgO+ZWDDTi0vb++1NFHJkgZQRqeT/bcMWVH/zSNOrNa41t6hucgezZ8JQJLkuvpU5FEDL1zg0v2gRKVNgE0FWLrLNXVQ9gbdsiopvSJ44EnkXhC9RjKUQRnjgsftpWiwlOV63Hauz9aucsMENFH8A1Tk5RTKTucw1KTOlFqUvQC6U3RpPoADg8BOckWamwCzOlTwzGd+y8w7m+5FfBjd0lrv/jkITOMQjTXh9qe5W6k66KxBonevgyFHxOH7g2RiE7+Vl8aaq7XLUL4/Ku9s2ke+KUTq3T6KF7YmnxT+XpKFQ8PWliAo7lMQ1+i8S/U2byaZBwYZDjL9eT7lOxbhl/Lvvh2E18wePb4q6PM9bmK8CCdRL/C7p1AoIaR3nmF5Qm6OnEvg4T0amDquKzyYnKAKg/gsbWDnvFIPvHw/018zHXdKesd8MQXOiqAckqxCsCVOgh+Jw51WYco0nCXl1U+7eBPiQnuwsiSbfP/3cF+JEeKOpInXKtiCSICVgPHYF6WFoogDMtvVGW+Z7gdylWVxgM7447QaOpicW5n9utB9BNUjKWCHqMBICN5h9/508vMNUs+Q3DXCM8GL2T3aw6MUB7LPXx14OrYlVmNXJnWr6qEfafD9+okbkGGZnjZX2LmqjcGH6FJPAIfdLGOiBkFQf0Yo6NFvs8cfUE/TiRtAFT98mnvbz67p//GsjEj7n/AAFCo58ISNG+V2x9iSzseDXwbzh9YdrGotnKWlh5tRZi45+2Hbu7KAM58Ifakn/HHSgSXg7pPzpn2wj8R2iJfur8YxbGRCuFWCrl3RAFHXryC71+397pge7KN5BgWarW6lQyfGVDXhjLHVeD0+xUKqs9CkGOd8lJtUPU0Jtb61OjKYMmJ44G8ZjZxkqkxihuo+nsOWyLQ5438n4p0tUej92na7LCYzeaE03sktNj4Z6pMqAKmlXnMIjcyk7qTWHpFJZluTa6eXR+JgBEcztOWdU+zZQmNGGqJiOjh0PBAjNt9V0oqe2/K3tkrAFyI72fFBWaT9rXnrD8MU33fQGOMxqJmiiXfqoV/FsZO5V1ssWTRxC7fG6D+4LKB/2mjJ7KKN8j/vP2oo5CLqQ2byDlkdJuzSfMVTnzDnIKb+CwoJn1IGQx9zmjC5qsCjcwdKzILXHiy5hTmWeK/DNXDzhDwOCY29TmVuOTSUYR5wFppLePq/l4A6UXAtmtFuGjRsJwt7UY90LHzD9vJq2hPVyWG/axFS/xTccraD6zptNdM027GNyd8dv0RNJfU4HVKARn+9aJIBsVCdSgEC8MlFK05p69HROLXrY3ACE5P57LbFTbbhzs46FJr8jmAqU9NuzsCFq4Qzuk/2D+nBDCiFpu7dAb6dNFyUjNoTI1FSKzHU7iLAstrutVERMZyjSva/ARwR9eusCEbQLptkeK1WPo04AKRmHSXWlbttR2P0nlCZ8kGzvwv+JAHqEPKqoombdYvaakSTGn4SRxZREulTe+n7WZ31My6jeBOfV9W0qKSy+8xIiDQa2hhDPAgxXcHi6aLzT2sG/r/8MFnY4neg9zi5h8ofFo6QjPkM2kr7gwtg+D8t8mQ9oafOnxeNgZ/vrBhP2jAk4EoaWa0ZW2PWQijopxXOWW4FNxorohzCElMTv69c5y5OwzVb5N5rsd4JkOAwn70lOYwultTvqLpP8UW0i2y1YhY6ot8zOYaBWnL9J3kJkXBLMWszPZ9rjCOEOH+BC64qzdfYKVOOVQWMdQWWD1zU8dvvE3gzyia6YiDwyTwOd3L1S9Men299asTd465nri6dgbhZxNqpZrHLk3GTyWwwSb+zFxLqgRmXMEYzfYAWbR552vT4CLpruxGaLe8FzPUcjTnefRqVush1qvmeOrDkSXKdz5TiYAEwxKdHJq0ROoId9iWKYr6SMwoCctf1bvorhh1T1a9S8bHCJciM0hpQbChYmX70YfPZETQgaswA/YINS7hQECEpNh0v2RzKtBKXOplKMXVbjLITX9H2pGwqZe2CF80OA3jQ5BGnz/Xaop7cdZYahkioTeDmwvIzwnZBVS4qqtwOBkcvWhGM6q9kUtEko8hJ7TcTJyQYQGScw5ngorUXtAdu/MsvvGqr2+CEo1rS7i8j58KFhGpOOzZaa+VGWuwWVEJlR7hELP2p1t0TOidkqEOcDOxpXADFyp7BoF23txCXAHeLVflK7SGtGEjLu+NnsZzulXnhAWNsYtlKtqmw+mPG2GBpfetduu3SCLSLsirDLAvUjBEU53loFgHGc6Y/AeR00uIRg/x+5nAqWKCO2ZYxM0FMY8b4GTGZgaWy37Jrv5BHakvx9drkHMZxHttF3LlhifPZ3qGPWDBH652LD/SDYg55rZ26mBsBnOl7VHL5E5ucdZuLoZeK6N4yjPK4NkYS3iyS9Xs0AYzvBCmSa37gqcxeMccp2Uu1UEVQSH8vDkRSgzbI/1nlc2x2fSofl2OM7eAu98GIEBifQmr4+ij8kQl3LdhiV+XZBiBp/qCRQ0FSgZH///4AGuLKs4/svTjgkhlm4P7w9I4s1/rXO6KOhgDXb1sa9I+kIHfCt28HtYbqpOEQQBkWicPQi5FA2XHkF+mJERTac7FRjtRhvjGilt4K5X2pQKJ0Th3IXDv7wL1uy8wSc6vGS28UH7Q01mPIOrnCPhSopnIgappkdaxd8nXo1Kw9HeYybIfEm5eUlPngTucRHQOhBi+chZCEEy6kEqycJT1JH0mouMCvOz6X1ZeiWEe2fDuZ72In+hWr5R6PS7qU3YyU5IaGMIps9xjd1269qp8cdlsKraFDSU7eFietu3eAz2gMlazVtKSTtnLmQeCDs2ati5ID0RDAgbTdKEno7lT6aTfdOjEF+yjCxN8PB/25x4QF36a0iCp4QAIKJnaN+pTsfsJNcmSYQZGwBqJDsBvSIxCPLqsPOdB/6nCaG+/s4bz64QwC9GnPaUHbNdSap4ygq69ToWlHlsOZJNkZZVMB89wjgVtjotV9rRaVTEeI4iErVy0virzx1+ESR3LfT7FGRVv3u2LPQ0QgSK/2NgWxhRVab+6Cr9rdPjMlKIg4Hq6IqPUJHSlel0BVyFW0Kfo9/lb01NfnBq8gGn0Uj5C8CQWqG9fWaSWzA5Or0u0oiagFiSS58AkZUsquxOA7gyGDFbuTW/iURP4wJnBpvCsasajP1Dec1BUJhaaRe8sUTP1wUesq4JI4gFLevtXdZbG7zcF974g9igLVWVj0N9+oRaG7y5BiLjeDONehIol1UuKZ+fCGcAatxAA8VLUuBSHWTuY32EBZHrMBuJ/40dIEf6AF43QTZYDXbQ3bkjZARfRb6Saw58qBlUr6Mi/ilkwhcyRv3R55UPZn2o99MBRI1Ew542KCsCTu++VWeZ/gb5BBa7RS6QB44OqYp2Lrnxjr4e8JkRmXyswpsVlEKyrb81ATE5FKr4XOJeQtOb6DTTyaYt+BkzcyZRYM4UAjTLd8Pxu6ZVSw6r/7lducAUSXU+kwWf+8yLvcb6HU4b8zNxB7rB5z4NlcD32V0AbHkZQqUS4E46A3cXQ/Wm2ovkYcHR0QcH0UHEism/mxhb684HPexJcX/Keef/J991+O7LIjOjsEuCOkJrNM2vpRKU6pzlpL40UBMSfecY6vAnbpqDGo9qfp9JJsMcMHJz0zRl7xlsEv3qPHPVRGXGoYPe5IU4R2aqbCKH7YsasqTmNGs8XrG3kiGKMtiwXyOxbNUO4S03DUwoVT/RnzDDtgdK91dZlu8wqm3Maw7FjUaWzrl0tJQ38CEffAp2NoyGOzUF7a+k4tyeABmeVzb7JiYCGijpJ+UWtOnwoZ/CHVYRzb0yoSVc4PaYINz/KdiV6BcM88iu4OkjyimF9gqGZstgEcZ8IjpWmGoShYKmieFzGVSXbzZU0oYEYblk9QMxN5Dpvyvg2Am5kp4euSJY/kIN3LdoR7/MeK7VhA3wm9yH+LqwPKLCf9LoeGD0Z9nTsZZDDocG7mvX5XCpS7Wc/im/9KnsiwqHqmFjpoi+wXeunOXYJBhM9uBvFTBqOtwv46b0XZrhYDaqyDjnGslcGQDJuf+U1u4W2G3ZQUQWyP/569ynGDxj8e35w8n+AhZhpbX5h5qfFkmrUEVA+5XV3WhmbFLPVrPbDUGxYkzgWJZI3mOr9QhSMoMCAVZpoVQ4Qp+c2YJM/HwV6/gSo6MfuoICKS7E3Yc23RWe5GeOrPMdssoaaBvePR0VPpySVAiNsS0PeS/R7CQ2xMS+UbjukzH2p4B1jb7tAw6LGMHYwrrv4y1urWi29kb9J99wyjRr1/f8r5TM8tDFG4y62erx91P+1asHKvGghlJFsrrzmqEh3Ibkz8zIiuwMc/iuOgPgcXhKU7O+89fH3mdeqI8Vqo1wHYC4WoiZ8QUMpzwYeBB4wdVVSPAT+OSlAjriAB9H7PSyz81qmOuKieteOBVf+kyzssPdgMBJ8/VdG4F4v9M9lNiM/E7DmIlOUhQOLfijDvVEl7fqnEPoEkDB9An4Rwtp077MvwvL8L88oCSlXf9fetipc9/FgxBEnZ6AaEKI9Cq8i1DT5qINo9vbGm+2O2Ebeirzgqos/PbwoYDIsjJWeskXmu/G+9av4zSn8eKv1kHS6WdbLrUWYBCFZByqRU+Y0gWGZY0iEk8jVYrPmunaXccUGmDYZRVoNLj/7yFHlBLJMySRdL3p4vpAkYvJAiCi9o94AxT1kNTD+2wlzxVvS4sygE0sG8Flh6M3fxN7MEjUeNAAl2flEz8UL9HzWsTmN6LOtig9cNscAoq5jokmkf0hd1D45yYby2WqhaqAKzzBcccQfzLjVUJHyY5OiSxYOQIZsmubyXhjdAhPwGT+YodtvVWsEcEvUCMI4whrJxHXIDSvqkmMx6pzBda0ioRju5Jx84qBhwZAzd2kDrqUe7aXQAfilLRJKNVopFVRO+8lyLiO/gCc3la1OAc2R9TXEMrvJ3dtA5ltJQ4ltjHJHyhEAEJ3xM0RXr6wCsyNDkjV+tiaH6zm0Joh49/ZBIpZMutG65GLXVppB1ifT6RdNfionVz60XjsmT1G2tTxd4kEvfYZM8lo20urdHRLo+zCJuYKaseIgEWO1LyzFDftphjtNyOMsv9JkxVL3EUNiGMDdHkmLA521b2ZmMyE0BlbgFMNLZ2LvkLsZVs444gi4xGHxviZLt3jZbSrAJMMfVb82tx6pcbD4+Aq+sjrsJYbE9QAS18SABELphpqnBxNeCgi3FyFAoR5tgOqteNmHhXTdGRVMbIpraJo9zki6bt2RlFSax3Tm9vZdxYTvFlNhRM0Cl+paxWVUl8X/8lE1qit6nHUc6VHE4vmBg+NiTQEd2LSZP5DwvSsB9gkMDyLxRX/YRZ1PxCWDYGbM8cKPr29s9Ux8fR6x/OgBcsn5QoXyYZFfWOSHSdkam07c268XieyANNDfr9D54hMJkyhOjUXLw2IEpgw/RMJ4xlmHB6wUUXYyGGZAA8ALDc3LpJN+x6zDCJ0xZgbZlqLV/Nc51hSwxxb9TvgweBpCxmrt5G6Gk925yJ9LvP9r/3mHNDjI4znpvyWyjl6/i/gbkOtEU8T3CMegbx58YjhGYGHaUp0Fx+nlHu28gd8dVb6g0R553mF4tBKk6PbxfaVZFKNh//08oTKypRi/saM3wXEHG7wE7nIAxAypP1IPSJY1PTA+86FHLMhu8wd3TtDJ2xQuYzt/W1ypFahXAGUCKrOyRgEe/T8vj+/Z9zEt+/8CpLC/5jYT1iGe0j8GQll1MjfQfzfhVKa6TplpBfM7C0VDfsQ3cVOq5OGSDq/oX2XLM3CG7eBkidLZd7yr1G4QLvvNKeJ/kDnnBZh3FhfHiJCRY9fQNvP5NrAwVPjg7tfLMwJMYAMpgPbugjb3FsorH9Dze6XVhoaBsby9Gg5OqQDb5MFoG+1E0mz64GEchFCeFduydPQxHDLYzTYPYXiINQQ9C4IzRCIj6NS0e2s9j/0igoxxElNeJRDhJ2cZPYlEsReVSIGAryHdAHrfiRmM7iWqr3AXPts6AdZRv3IzOEZnUDYwA2XhdoKGB1QtBLAJI4WeAeNI5wbtUKgki0HW34A3MiGlFf9TTuz7UGcDRVB9AFXfy1TcNuZAcnkWx4xbtcWAdVgmQohmEqdQBc0nLLSGrUr2wKcx2jJaAMbofsqOYsR+U9/Ia6THc/5ln4jKl8OePpWyhCB0dL3F0hpMYo0F+CgqcHS7S37ijtwcW9bbUyeqclsYEhzZZ+8lOsieE6LXhT4Xa6wgjbRkV1u+9OjWuUIwr4ghneQUK6ClsDfe8wIeS20qZJVbV/fQGNu/wJOSSWpV8/DtBF+D/HDerAlkY1pVfbbPjDDdV2dE2jadLrVmMsh7UznGcRotn7qKa0ucogpAzJa1eBxaKJ12pF29RxDDOG2hHW3XFY6h7bQRgm3+r9MCpHP8uuGU3VwGq1LkUaAX6S/hIgr0pVdvYar7UCV+Y8D1jKHsPEYu9GtYX8eQvQJI+7bMDKaT5RAIUw6VUJJHJvdu5Ap6Mknquqo8RyhHSJYY59JBtl//8VFE72PRz04CC9m1iU9MZb9FvPaR6VlZFJP2mjpASn+ia/eNzmsf6OtoMyyFkZtwMD1BJylQA961Qy8NK5PJYtsKlqcAfv77Ft8GYs1Ka97GIZn9CAZdsRs2eLfGtAQkB/RYWVE3aB7w7KSHAkOQQpK6b1hd6BFHVaSzsBlcC1mBUW9yCU45JpYxlsHJfWUqcr+l0y/pIncPJgf2BQPPt1qLl/dGZl+qu+SBqZ5XbcCTFWF3VuHPX29jvWqVyZvV+t9JQB+7UkmOCMJ0/kNIe0ityNwfFf4sw2n2ZqCYcH0Ntb2qR1SHTIY4mib5oLautB32KLIZ0D2D7NuWMZNuhJuWHEfqPMmCxTSByN2cIvtb3cut7w97TMKbNfs/K+4gtZ6CnaFSpoteVh6ZQoatNbd+fNiflAvUqxMMNQRClkEE1GWyWxHGW3gCustU5KHmZBxG2OTmAK39Rcvju+ovPWTkvlzUCus8LqLPVe7lsqlDGJOIR7mRiRTv0uyDDFJtpWEWyXbvbWfKigAIQAe96ZrI4ss/W+7fWHMXFhg0rGDXe9wzvc8LpSdmL+Z3kupPx5heX5Fyloy9IbOH1qkLPMWbnrM89fg4QwG3AagKuEVBu9cCFGQ1jYRExgF39rlR1spHTJNLFg3kiWlyWjImPVb7KnZm/QW8ppz0k8F5Gg/+xUoI5Sn1bH91x7evs9M//wPD15DlRzb2tvuBXLL4HpCrixxCzMmcWH1sskOS9+dKOxKa6Jb7oUBPfZwRzKH+ADlKgts0J4S8trC5jU22XNlTNO63QjLdpv5pKhK2L5NWuPNH4+2pVhBwuoc2BfibPAKs4U3cbWkHYbKJ2kILjPAsYqCinvkg6lr91Si2ZdO9M3Cni4XRggKwx1g7+t8HRxGByfhiJQDhr7D7UdsvMpv1jeBRJTboJ643NJKNnp6GGmeLfocNwhE2kT5B5JCVyKupG1/tUaXgvpOKZ2p/TsJo3i52SIcadTvEifRV8cuKSNMG7OfCp6FmkhsrSkRlSF00dw/UHCtMKbnVkpfWeafF3/L5AK2oCdUYBW9D+skyY22tvR7uxJlBHJQpp3MchDW4GIzeqe3cIXGIZmEvjkEUE6W4/7VmjKSG2MqUigRWZG6Xzi49qEdXsx0vWO1IhKe1CBvyrEQYnSTHHYUk0Fa5iV+u/61Awk+ZGF/6moMV+5fgVO5PnB/A2X5PIgxFSRdtHqzlS9fL+kDWjqjnnB5QWfa6SdXEvtTQu4NfUWcHh7AcUag1UI6egsdYBH5xdjebx2I9JI756HjtEBFH3SNefvQ9c3ipNBHHvJprboChIOAGuYAQrOHsOqWIpMXIusR6Vv3h8PFh4rN9b6fx3xUbadtwYS+ISHDZ/3eHaU1hUGT0i1I0WDyLf7u6HkomzxwF2ScuUn19Rt7LK1gWwVahMNYMVW3+6YWQ+9FBFlzdIeipkxv+D9OuXXwQjsx2CGDQAiRIlLGkXJWX7c/dE/iNbSqTd9qmzBZhIr13R/8nAasx9yj0UaRFSSmWJhxlScWzseJ/wWbp9+fNabJxeBpnIHXrjapfml0V0ha5eAmo5vRiFOKB7pjZRmYNSrLgimNUj9rpuYZIN4fCQHENXRCzG9TWMMF3lrJREWTQUv1s/e8fvfSbxTI8sXQsEIDKyFYHZT3vSCjNxcTj2YhUKpOThOLg1EiXU/GfJVcy2MyG1jFwZ5ZT/IoOqtDh2u6wvDifEPX+4x7ze388eK9f0XE0ohBK6bo9miPYhFyepPU8aRg4gJjlqvc3t1AoSw0oUh8rRoorKjOeMK0rT/qdNs0eEYsPu/YSsvZMmpeWnR4DfsRrtMsYxwfvuEYpZECmIyXiXeKajb0wgKEnWrXonhQ86KW2ABG8HnR8v0wSXyPRXI1bj8W0UTYmpGajDysULxqqW7xO9iLvWWtXInbJjdad+Dr63Y1BK70AaJoT22JMpxrDxMHL8wH7upuiEkQxjAPW4Su9EgdBjaCVKtVItvtOEFCtty06Azz+ohLPRNtL+Jm2FauJCIxDh/2R/iUF1v4/vVU8uKqduq2vMuqr4w9mjrrSnC8Txdobxted+0/338HV4RPiHowkB4/YyN5eXY5ygD9XAF5lA5SzXZP6xLnfZ+MTxR459YIjvqzoohcUUuz9mcnZcayDHDKLszRXjXImPLpTjW7FdEPXt5EaW2x2p7wnId0pGuYs4CXZTz/knwx1UV8NBVMYPo2+UbwjwB0QdHTjgQMiTk8ylBstjqczj0GThKg9mRf3BfQLmi01qrPZuGBZ05m8HtvXqrqNUQPOBKMgPyESUZrg7a16jYt2uJpmR/nOiwOFXFExeW1d8ULDa0apTE4bpgguSjkqSU4798XMhNw7l/2tt4M/zTp2ruDWnpjK2bMwp0jO8ABhHE+Y29NveQDAiUeJrPEGz/PDyI5JQJh4wta7+yeMyHYEY2mIsQ5B/I7I0Ez5qRM6mSAhzz5QLPQjoF7PVV0p5MAYaXAMB/aDvOsqazNnHs+367/5HUtKsG84uxKvqugqhGC/IB5ZGFAZED3nOMhAW5cR40F4Kkg1FzVXhr8I1wL8qPkZfPN5/UrrAeM3uTzygPOYDh4n8eliO2rpIumcgJ45EWrcVqpgJgjdEH0ssL9zmJnVxaHipI3MabOAzKJdzebyIp8Suzu7/JX0ydlblumk2Mmr3wGbSb3jbE0e+U+LefbVFt/BSwcX7SrOBsZkTI1pT0519mdUPhef8p5v6IKfroHnMbG5c8aHSCr/SnJY7Ap187KsdgglHYuYmkW+MQFNNkw0ugCEMnCLf11Zyz9yiWzmyg8eMzKYFzvlJptPB3eNL50PP2qOsz/tTR909lFGBB2x8QINelRxjEOFQYWOB9FEJJcJwGnNK3JRvHSKkLpGIi4AAnBkzwMkterE4hq86aqS9SvtKkn01Y/5LeXkVcHUqHFa/P3NzQSm3C3OR9YFo42guG4htP1Nis3JYFcuZSSecP7TPhbuVH9cq8OV5M51Xym2QKg8KAnB+4H8hr0lEe0P8HfWipoM6l0rqCEAaJtZRSDBMOeeH3lU8+XvrOn6WwUE/OmxOltL3WxxvbLvYpwjJfo/gKOzMNfusRJSXAg8bc4Z+ZN0led3BgYyiQFDTGJna+WVnbOVGJvMhIB6WPZh4TOWYivuv4WOxhr1mvtlN4BxRCSSJNahtWhOKsmwaZWhvqmqxBNL1enwgQjG1m/jPsRTil+Odl9DBf51MhfXvgDWvi0vQAP45KasjsYjdhnS4qhZk8n1WnkZHf6Wio8OvVtU0pK5ItGjM9/iKCm//mGeKURmWSdQXYXP8aKrCaLtlvYtd4g++4kaUvrfe4Ch/vbqLl5C18rGIZkJjKJSJSZ4BNJ+eIS7SS4SoJo74XpnGVat0JFgQdo7TR+ATgRWjulDI5HtHgVyRjoWcCJpiasw79Hah3i2IWQ+ptxUpoDT6f+gqO/3GvSjMt4BxviQO7KPWCx0+W6Btx4/iDoq1rgGLRGIhsY+fEc351/sJTHlFqRQ9UoYOUeOsvYbJQpazjfjuVuyl2vlXig9KGuDxzvhOLVK8ilUS+MUiXtOLQW0nrgTkciTZMAoUz9Si1aO7lEK8VQhcSVR1z3/z68L8BATqnXz3rk59oSVTkD6Ilcx2NABfwVO1cX9YDh8EuNwkUpAo3XEKwAWiQ5pHgQEjKtPepCZbK/iD16jDevMCsD8c+Ib2qv16yqHzNpIYew7FYjWpqgflG+GHeCC+FnsCHgMhd4gcoTgVC0kSofTAVwSwo+4tXPAzgjEr+NcQ72ZJ2qOHjTEMJ9u0muvWGZt5cnhUqj5qn06GpZGl9I4BUTTBkr/Y6ER3iA6MymWEyKQf9lWoGXf/hdwDhKkwpnYphfBvhBPdr5zu7NLKqHixstmjuEqO+Aw1TRKmVQvpfjcz4ywY4mPYj2lFmvV2NaZSWErW2Tk8XpyN0XkrDi5S8bEwDVcTmYHnryPzt+XCgeyXKJ0+oVjN56+kcEJts94S34Y0+E9qfz6ZWid1RnIUQzVGGJdEBVD03Ejkcdix+RNGF/NlIzTuiJmRNIqciJ09lLaQ2a+DzaMg8lpCLCZXUXar9l606r/rTx0xJYgAFthQb9wapelxwu1iPWya0PW4vHnOYDUEPrh5Jr1GvLWYMhZRzBlqqIaZsSlUi8Oko9p1x/3PtdR8MGXEy+QVfefAnkAXLdDAo/7J0q0+47fh1HtAciKpDsPSFrCS+uVCyWEouylcZ4xDaa1f/6wDmee/oZxIgCzybuo7rhHLPQWtQNyEKPyjr9/Eu/HK+WumDMkTDcvA4s4cMu19EuD8k9gGzuzL1pUvKXERL+P/I8Yq+yT1BCx58korSH2DyDNwTbfJBDOGxxaMqmFpRbaDsoBGY5jXlb+IFQ1XgCQy9Bhaq0a1f2AaoglJnVQyoCbifr3bduGNmx+1zNe8VqYpFB7v4gDqEJcJjuACBinNAwTBLDoTEaBNYNj5wOxY4Ms/6+D01zO0nwbjkdTHmJtU+Q3LZIgxChiK2+V5x1GuCVr4H5Vd5njUj/rRzS6CpSULRX1tYwETiMo29Y1e/dGIh91/HXS1ndFkgH/B5iM0J/6QgX1npRkHQsyBHyyBAzDB3AEZ85dxJnIuw0h1yeXlJN43oAyslsvnNfFM5SnzFGvReFaTPZdHnVo9Yx6am3XL76BBiKQ9HQH6upPYNJaGeYQYAwIeV+QG8W4O2zRa6UvBdshi//wVUnOyT7MYWbTUH7ysi6l//qgzfLg9qCpnwLlSlX5L6mOXffASBdQ/SS278YC8mvghm0qaP9xK34lhQupZmzV0qNqJ1tUXNDsof/nrCNsmK2TrihZrsEO5uxWbNvfmkTlmMk6MdRmEbspf3ymWZzxiNGXeX4OXt+TiVFrtWvmlUZmR6p6d+6ocagkf+YGd9JktNofuq6lf1xpaslrNUTOeVNXJwCyMsCSZKWOg8CMimgJ/V2owQpBWb2mR7De5C2FjkHY67pucyiiKGc7d/1JUDJ+G2di04qyPY+vRGpLf2FjtGvc/RwYB9STs+45BbAFXouVY9Ah3rvzXkyx7UzLswwDQzGkAx91CRbhludX8htVtHZlnZvT2PrRqwSqqRIeWybsJG2OWBDl4QrNeqZZl+0pw/aeQpNtbeP/70ec099xvMmdjLaNbfnJ0qPb/OQcVH/PnsucAHYRW/j1fphC1SmsdNt9jZCcXx+C1l56LAXWTcO+1A93TcBIqCAUqUO3c0ky8m002KnJ+yFZZRwGVSaeK3fPnivLVtadCD/KZht97ANXHGVrrulEhGJnpsc/yxq5ecNiZEknTwL3rcbneCF34yV0LFReuVnD9xDTbgE1CXu1aBaoWnjFvQ1726Reqoe6zbKHq0sCQNnMrVX4BvntOiaLHsdxPRXzVCwVgy2mtcNeBZS69potvVa8Nsim8IMq+n/hlflr3YIqDlbYM+hM9LwimFGhXaocx6X4G7NgtIlu3BH0jzQD9feotDUfd7cPv16Bu7SXbQCsYNgQF+/aE+OZcUEo5a1ejUm2Iez3BROo/GGX+p+nhmLmiITmkRlgFNwuhqFBAnqyN0yCawLApVgLXBQBf/1D93JKTiRgSOmQpli3eEhLFNX5QN9M5+FfQFEYxFIva0fKWS+4q4lBSmHrOZ099wXTQm/Z3mTPtFNFG2Fv22j6S8qruqi2NpG56r1EKkdkRp/8k2/0FbXLcy+o6LNREgfrvYrESbgNl971EKmaDTjM1/UmgByr0emd6eIN0dDY0FoYl76Tq7gPuMrhMUP7+ML9pZWB4TKrpwDMyEnuZelu76mFudFeCuDulhxUEwjIRApL44Kj949gplCHcRRKOXv10d/aXCoSx3P4a+OKA7eKGUEpdbY7K7NfE5Ylg6g8NDItJGco9QWdXH2bWSLBmCA9MDTtF9CDL4+Qea6YDZShxJsWnDplonftN+pPSdJhGN3nfMS4WSFBFSJcVb1iFc3aaIiFrZ5JSDv+sJ7qy6dDK0SHeBViNTFzA0EK20B9rAM0j4kRTg1zt1/QnjfcEkOU8/qRK5nUZ49Tpecpr7C6rgDZ8d5orWvU87dZZSUN2pnI6BuZl8KlSZ1TmExe7rmJk8eAkYDM0voN+NUT9aZdY8XCS/VNzRIOzY0F4GBC4Mv30CchaOzh9U8MQgKIb33qQVxNnP7SgO0KTfvHFPYc8qy3Fkq7Cjy+koNAlsFvhiVfJ9G02ZrLx3upHFkL4WhChXBhvwrJw9vt4l5xSvCE/Vg5VkxD4AaF+dCC6ZQrE16wmi5QL+WiMwXCpA42iu7ighH9FifYzexILKPU8tya0zByBl4MPqCcrzKsck2/eDJ+YrAm94E3VceD7meJwiQIMLKFY7BkY4wdqQfX8p2wJbIryrNcw/a8uiw2XohbOl3SSEUSSdxqnET8HNgQz5pG0FsrYSKnxJwDgBloY3MuE4KHZO2gVmRoTTpJT97ySFxhvptzs10ntxCtXihPfUO8J4AeAOKg7OaXETE5oIXKof32gebbFDpi/yYh0RFW2ga0lMLnTDNUdEd0TGUyB009xF1ULXNs3Ssozl5jVqqjbSTMa53ft7b4Kay7L7jGtC0T4SEknpMYrlVXN3F7A9D8RAMDCLVpGkRDhP0pkpJQ8oo4GCftBlSVZYS3YHs+lIC8Nfm12LaHO6Kuf0NT4jiEjIPdlcCV0t6Rhf6sobdSwfCB246rvCjQsDZHYf8z3Abcbc5q18RS5wvEythpIE56yuUCvMV1NMYcNh93VB1lM/FjidG67AMHBzYvBrSd9FLvz5taaJp9gtGJo7XyTWLgEOswNCLjBt0F0TyNMUZW2lJoBehHcE/YeHXh4TiumNDr4YZBhizQhbuC3y2gGaT+Dlzmpq1zfYn18u1xjlVteCgDMR0bEbg9eQEPnRhQH5rd8EDMSS0svvGzg3S1gt1J5lVOlqa3wGbpZ0hLKQG3pfIL6OAcRjApLI3qkp2DIr6rnC0cGiByn3aHfTdLnUasREVhfmSrpmgWcD+m3kQ3SdxcZbd9Y5KZyONQ3NTg5D/L2i2ZDoO1/+edAGijxiUNq/A1+btYiEZdDXMiWjEelXiW0O1KkLVihRR+uF5d7egYIFAOMWXzK8/sN4F15Yyy6I7UK32d6VjZA/ZHYZV3TTmVBJiFUhJqALZmdEGlcvZkDTJcybqGnGDVTPcheK0sUhYYV5vdlD1JnOZZtt7TRs0OULzFZ22QSYrSbhmpUMtAFKt530i4fsLfGRsjAhRaHqCZoT83EcPLBTnj96WGtXdCzCuTf/ha4m4Fy8lIWbz0R1mIYSW1JYiFinCEdE672svMUyvqmpnxDnGHrG0Z+sf4eYHqSE2rPi7AuQ7JBKSJaYs42c6J+v7YXQH4y+sZvHjxVj1f2D5ziPvuKQSRHJs4GuMhX3hBQRpFNG6mVYUE0tEfiCdg5Pfv7g1KRrnSKawQxi/KwrlYYEAOIy4i492FmzBGcuYAbs5DcjTjLI/uMHhyvajqbaYCKkBAyDXRcK3LLdNZyjLtuBjZpme0XWRD2MD6K6I22AfO3cw93MIbOSimnKqMeAsBw53yWcS9mPLPhwH8C+GoAsbvoUloacWZw0DXZC10ideXwCs1A0KxosW1FOrlfC5MFy5if7lY9oM/i3PgfXeH2iA5vyGvuEL6jDfk+jN//W0mbouvAUPLNrn+cITc+b49QXnO2yvO8EsH0+3umUinUVCScwsS6173TDcs8SEPUjXkYkfC8oocRNxsW1ctyuu0Y/qyviPCKgMq/dIqaffcEXBtrqzqTnK+bvpvR/IRmwvVTfTDijYsZLU37ysxBhCZRLQGOuxrvVeexVyL+Q169SZc1smKnfYMX1RipElcZtOP+IsJEXLU63ddFnrndoyylw5Corq5Vl1astKQg9tk+vX79y6heu6dHtEx4WpKn57a6hh+u/g8nNh5fgMz7VjpgQDauqM6RGvyNIJm3/mL+cZ+/+Zl3fVIVTSpdHNi+Bnkr0e+w31oWi1l6NqpeIz13E+TE1gl8eGBQKwNDQAqKbcLZFbRx9bMJdA8DFZlZL7fxIin8Dwk4YjQbLGyS8ZPuaKcjT0j8af/S/NBw3F6yifbkthP1dwL4NqMKtBFkZtPSp89ii/enSv1mxJPHDB572ifD5Fq5SEi8d5A1VWxLjF0o7LhsRPb6uHSw3clh9XfzdwRxZzU5HdqUQLB8hmoERxqpLDynkeETYkEVkTyubaV3XodDhl086lHtW6BQkmAD708Tgn6QMIcdrou9QVEQxWenF+VNWOn3mGsCtZC7snHnND7VIh89ka8ugZfLHq68/EII3OgL3jyIVnHxbfO7Ijl/OA2J9QPowfoBk7Zsp0ZveOvblSsKJpWjzMJfykXfcGVwAISQ25i4tyMdzSw1JcaBeG7oP0tpWSt9pQe0tp8zd/lAuS+DKQqDz69G7gmCmSCvn4qT522n+ANpN9T+oeE3FUB8gAkBNe4kn1LaECRSGsn/ZfqlM8ZfgNRPEb3vWOTaXA9CAtUw+z7YPeWun62ZfmcXznitwyzpWlDAS9V/GXtFc/kcNge8ZzEVonIgUfQIgSr8EZz8YqZS8HsW163khw5LOQqlcLIhSZv0LQojr1KELZxmjH73T1pvSGALVhfFvG2AkLgM35lTGMARqJaMXMiWw+EOj+IjhjmxvHE6wM+gIBgNvidNTQUFGnxaWoLGDRVZQ8I/OouhaVhTzYn8oC/AjRHssOWUbw46iHtJAbFf6WbKqq6x1IrBM8TDtdYAebPf77evkZ2TgaLJe9zm0dBY6Jy++addffJFVFpOIMx5PwA+ywValoP4TleLxYgkelcPLquZkcH0mbtUl891ZGydaif3GUc7O6+muixSiKEbL6I++CD/gqwtzK+bVRJnhkrOuBA5ZR7hZS1diGtE3BO2WdxWKQiuaBO+N9FO/vDLnandYEaG5MFaDvHvLp7Be9nEP8RCdn6aHrXK92N0OS4z/vN1CuBdcfvD9+DxX4SsRtudD5jD2JFtbKs4gZmA+b6YApj9On/JgWJ0NuZKmq1sknighDQz/djeWlOY9ep/j0lH27BqPHd3dwB0iAr7wuSDUrvvBQ1FvpiYHZYPC8P7MwNVyD4W1AHxsJ15Ychg5+DPqCV9+Kd4fi2D8OsSZxTymGtNwCImc5GwkbO1698CvQ4O+eluAwtEC+ct/cpvKwy/m2JVr3tJO2JG5ksNoNVfMRYkCkJntIBRnCy+1mwVMhIZ2OG1SlHPdpLGGkD9m/Dlv3AkAlFYKS123zHR6A5ufzcN+CBQ2E+GQH5w6kCPPqkrUyKYVMmRkBfCTyJ68aVvQRtouwVlSCEB5eitxcwbMS/rxPvSQIGNzfI5RxGPW5tWSEtiMdAfDK9jGkWZAuB8E7Yd4LzxwD7cXYzA7IZK99sIAQZ6INmTm3s1D4u8kd04dhR89mrTimi+wNJnLvXoPIDdMZbTWtXwzW/ABXhcbKSvyxqj3Bx1xyrVIDNUqTj0JWgnXPzjCcr6ELn956xhIWBzDq/w194E4mGy2vr4o4F3HfIfIKM+SvAXKZ500yC+pgOa8qfhq7Ke9TUrCK6yl8O+swiWWF/oXlpi6YIatUFklDHwoCRZLNKptxu/JWhsZZXBteQQnN7K+FzfZ5H46qUqkVPORYcNBFWDLPjYY46wRGx76Yj68/rFl7yZqaPOLCZRkeNXZxDL/nhafclltzVrLBNEhXHRho9LUKGjaERzIsL5phfuJqG6sz08HujdSAkebN77stQmBapLqN0d4qtN87XZdDcIMaQJmhoXir/4aBjRHhxMsRLrN2KvxQuQXPWSimDlmEPMSWABxCXDSBwHqLCdtJiitY3nhOvp97eaTk5WJKiqm+idO1hpbFlSoiwdagqV0j5fIO9RUBqEMg/ceRoK3ibIzrdjwTuv/OXxgu9sNpTERvGaMQ152AMsb5RANg+HUoc/ek0uyTxeX/WkczsueDwDx16ww/18VH2Vv61wfKPlP+ztdoOaH0pIHTN23342thTrAm4KovymvcM4UAVHeyoBEYhQNCPMBhY4s1KFvmlap2TENpcH7Q+ikyzpm3qXt7o/y3xvhGlB4VQyNtgBybWA21SvZ4Wdy8vMiYsHg7ZYsxaR+q/wcwCTmz5sCOBuFfZCwEb4/v9E/3fHOqhAJ0Ym+A3tN9vjVVY8KghOqKtAVW66RViVV+8PndfT/d+0twjrDrPKiqpWxayiZwFoFxl9569siVQyde3lQGGdFEasugMb7UWyKMsNUpIh+Kgzir0IchMOisDnP9xW4En5JwBS3NZVRMlt8M7vMPLfmIHgyepVa2FYatlRhXQqZ+O87x3errPU9mqBeBIbb5stEWAHODvWpOBBWlYU0laENCJC+X7N+IOmOeLI7QqXH69DLksaDGiqWvPNTMcK2lj0APSJZ9jS9TEy01Ih0Laarom8qWSEnaL3fbi0ndhj8jl2pJCseIlCKF0YYMfXXLTarwNWl+9VzKPl0aI9m60RO8iEwMoJCzXDIaiDDlp9oPV2mV3GvQ2l9gEDjFHP9PO6DM2uR+neuIu+03cEa9Oly7DlPFjcIciH9lrOur8oXcsXUeSmEJy6KYRc1YY/9fm4xJMg7VAxo59JR3gSTUOywtlK87maaQSNgW/sws+sf0WHs5wp8FCmdedjCX+kpeJh06+pxztppW7IpeknWZDlEiCcEfpzEzT+DGhjXugJxGxWHP2X7EdZMPwMWj+Qec0vRZumcvzR2Yr7fAY8cF33010EYT81nD0zuD6t+v0IJzUWH3bDhK0VbRVUQAZEyKKsAJqSeWw1IAfFjPNKFtx8smbtN1e7P0/RgfzHQDKV9T3HeePMeL6Pec0Gzha2+XI+cBWrnihuNMfSPZHpGO8qLbvsXLbembGMA1sk/5FMhmqgAh1j0w4DuBhMm/EuY5Qq38FKF3oiS4zt0+8esGhvz3AVhPdWqzebev2lAeKpaxz3aeESnKLKqUcmu2g1bOnHKOvuy63EG4TgqSqsZQm6IO2PoUh/sN2XYSH2cJpjwlWvNJxwCbj1ypjSiByOW+KVtv/cGgxi9FeSOXsLfhSnJrQ8Z4hj7MQzB6473MkLFC7tG7d42xUsfGFv6AtzBxmU6ycbQi6H2F965xM+0/wGFSlehyp3mWYnbRmDIggxZssf+5ymNojz1rKj0lQUqyE2z0gCIPJkzrNPvkiOPW3bxn4G7xcRGtfUpU2f+MeKFqYW4zAErnOrpaYabbZoKW6lp4EgDITdWRiB1M4C+gxWvE2vrFH6Py5xH5aQ/HNoopP8ttd9X96ulJrHO6CV2fLO9MS/Z/pu9imEW+poilVy+RUFV9kppOcXiWMBmCqM5R/k/QvHWNI2CR+X3VGTcUnqyJ4qZVCUqBiCOrTao1FqxGYwq6R5MvtMjCNIuiIoiCqxuA/JXNyPphgxK4J+zcBSHkubKNCAw9qZ18o6YFpDItQ6UHJY3rtJVNVL/xcaWtzfm6sT4WSX9YAcnJOYFcF7GQWX3vVvrP4gRxitV44rrnsppWgAcl0e9x5nde2zibsMOOzrSB1Xt9ZSyhEidUGh6l209sEZZBtvLTXQgbPKRXfYOt56mtOYTmWtsnRomrSeNNsCmAvPcC1GZHdpRyimFUBM1tKwFUQsCp6JE3h79/Bj44Z3egmniDtxHDvQt4Ik3asUZcpPX8BoJ7FbGUusult3PP2dIRZfAkx6bVjabNCHABDS7OoYICylMf6XAc69pj8Poz6IjCjMq9D+L8AnKtWLDJTxfOW+YrWwuM/60WKFmu7yqDHLfyY5aeDHCYEcm7/d/98xIXmoMxR6mPq7RdIZns7Tp0ZXDozBb1MF0x2d8TGf0FoQ9G76UE6+fYo6hqwYFJF3o2RSskIq2tRF3XqSFTswWsIth2E0SpCgV4irg+HNvx4FY5LLyWdRCAiSMZ/vQtBs7uom/XJmeHXBocwlDKTu+wZXNh6PECxGjPwM9pZ/xqS847FTdlwhDI3UKHO31Crz2/mSlFiIMd8KI1WZHL2htybNYsdBQvgaMCT7kTPNRYnRr2ICePy0QAKecUH3qTgbxqrY2bGI48rofKBWzOCfF9WfRYzPQ5oCER+d2/vKS/qBO8djZKCmnhIylX6pwXbVZUFLeSoBLoxGH609+E8aCHpG9MK2X+XB59Rv5Erg8plBP4YHOC6r0ykNU+k+jJ5MJRiljAy4uBPmC4voZ5TU21RmNyOaHh0CXUiNwEm+Jp5YlqvIQYXUf9gCWPmj0HEHC62niWn5szhCz+dF+NWbpqi5axxqs+uE7Eeov5IngyPugiZ8vfVmBvi81Tt3mtwmgNkUcv1Erjvvvrq1bmbbTtlrAvSug5/0RHpE5aC23F36mP3pikAf4kQU6eP7HsxPDDm145s+E4/GnsZ7/9Tj774VbpOry0fNdbxTcrwJr0muOHab+kv8zZUt5KE4r5WGDZCFmj3lXo21ohj4AFxo+CHm/CZzZUZ0RlAekJgWVJkHlQYQaxxWFQJ/Xh///h7vh656eJk+DOZa8bLOTW3zEtmwJ7DHutxrXVQ9+CB3oeaQOHg6JzPMrTZd11FGQk6gTZhNZ4yL6aZ0UHmDugnGr72qiPb1HksLheoZChLxzl9klVjzp8cn6WY5svg/PX7e+7YemYsFzFpvWJN0qVaYUdE6Undjo3oyTS5edL8+JcFatHM9gPXnC82L+N0UuP7qySCGs1LiyyEgeGvraCb4wSzheH+0GSSPjt+l4EC3crl5oRKNDwEPhc856Qo+4NGVUMQfRIXZwnDNia8gIO3GeNTlwyW+nEuKmxxpXm8y/DKy2+Tm81QlzKSn5ydSTjhHPnh+pVY0jZoFKUQkNVy5xr+cGI+8QruKDairiEGKRtT7U48jx0cYHpbKW1Sw1mXo6DUACogus26I/9L0cQvJOp/U5lc2nqtOHnNulh+vePEifwnJcgjrEGkrucEym7RwIZ9Xy9BgDRXspy1MlWTcx1aPziZ+iPKcKvzuAXhVMeEm5slacgifdv5neMLq03JuKa4CPxcSlYvKAfQicvZmNKDyWxG3wUO/zcmG0gl1PmIpTU1AdwpVZXzi7BAFgsmZk4unXiAiHfYY8prVPIXsabTKdGTSLlN0lfh2opWnzMzK8qRcr0bdbUIs4iMAJPw8xsCNOnevJjaJIi3fvpchW08bZ+OrEabcXhXmpKBAaXQ8hyacnGN1Qoy1M7c1IxgDSW8PtXzNOGbUFgdxK+i3P4UoZ+3L0AiyRDm6yjFb57ESUy03HrI9X/QWTBHc22Xb0N3AQEZUgiv4guzblhOvpiDyMV2zuGIueOR9+mbLd2t5GnSXxUP18p7VXRZJT4aE7QWcy6Y5YBGVwFMjloCJPj4uvK0eU9iSSi3W283lBzfUZKGNwKRLHwVA7oG5Jc+/3IflqYwqbHAmSFojKx8DXwZeQHfoGgtJkCG3u7W0mg4cR8iGWToVPrA9U9ZhGrUkwWE5zkK5XQgbUA2lbxf1aR5r/K9hfcoG4wg6rFs98Ckl9dmP4Y+6XFPHMp7fXgnh7QWo+H/JVp9CiGUeG1YAHUWMQKl0XDMZaVE4+6qWCy6SyISKjRrZs6NoRb2NSTLUQDV/2oah3BZ8JjYuN+4iJedVqcDShqoMhgSACHUqaAqjgx7ofHsC8xblJtkjNU3WxwtQZnvb3s0LUbTY6D+ntJ9Dkbl6MnJ3HpQ2mXCrLoVjRtcYuiMMYyLi9YL0Nyhz2MXBB8XkLVQ1eABMZ/XTCYcQ3Jz6HwBfPSzi1twwYGF1q/wu+ZtjUD3Ua3EyHBr32sbM8+edMH0V9lyTl9RTZdLW73O7IDQ9L2f1cdFogAyRy/U4fOZFk+C3lRcQsPgJKVZPxbyG8X+LCQimStftF4j3vpTR+AxEb3An8pTZWBAV6kNkJyHxm6XgxcMWngtaGWt2nAK9cq83TNPOTpVBvwfD6GtrB2pBbxn9tN2kiJ49WtNZJealRbOVOzBKfXzmjAs1UaBSR9FH/rof3yidzhFp8Hhbpd9SlGLRPE7DwEQInrOjkNrX6PnTC8gGfA5aGzPSpRX17uuBIDINswyGx8ilF/WlclLcEnLtyjheWBfcrDOZoiNLvgSuyYh/mmN97VYXwDofYh1mDVj9+ITuwDwXYdR6ut5IauYPo745oVUS4QduvKXzHtL0vnzpNCFs965xg2kx6NvBarz+nb2XY/L8fWh8UP+7WTgX2xWLauc35F8/cpPB6NAJb/uiW9zl6F+5JEUG+DR1CXKs5CyFKG7aj+Yyy2dJmJMNgXo9S6hF3HzA53vwhdX02jFv+5K59ShVH0WyoRkw+PXpx3+pbJPrD4sIl62hRhnuZWk57Z+fgnARbuamdC5VK8p3X1wwXUFAFGVRbtFV1pdRWZRHrPecm9qyf9iUa1oPoGngt2hJxkTWxogD5RYLYiw3y50z5aUHcSKCqfI6Uo27urf6WO8XMc6ZBlAEUwkuuOuj7KOfd+DCGlRwJzGE8O4gNTJS18vPVNQggv64Kjn7IWLJc6Tjg+NdIdV/E61tMHTJcCVzjNaJbvWjmpC20CmhPSd0svnufKGcNtIbkWALi0xxvcsOjyJQRpj3HKSdrdSDJnKDRQMgAbrxJpV/qeN+kq8G3vCt8DedX87zL5WH/v/ArTJAGQ1L2ZyNtFeiCnzGThDrlI1N7hJVNXWXMd91OnckSouknC0VZLr3242c5LxCN4u5rc+yvERRj1rq/0hQoeUyGjLaIWhWfE8zJ2KAHC7F0Xtn1hQYohj8LIx31Bc+CEuVVcRWprlWxhhr2nKlj26E70iR2JSHmZqqFA3q+7cicfZbzfd3A6ywJNNGytkauVUST170VRPq+j7Vq38wY0uZNX+RwcLGkGUPhQBYgXLhlhTk0Txhm2L/o2wNpOYzdsPBMOU6+aDXFrCx42ec5LbWaJcw6M8nqmVMR15lWmxqd+ToiA6D8QGJUDBoqkjw8Fs3WKHHNVyKnYIQqFc60aGn6dykCYiJYCeO0LNxQZhVuqTV7dfZU+lWaYGpVfJo0iX5ey43c2YbVqH5GtBzMQ2fLjR0fe75kd3Anmx1bSjStvSQ24XrinlTkI6WnRjpim0po1951qiNYtLPWDrGLhVFucOIHSiMnQgc4HiE7v+uIw67d1iZXEi2tm4vyE7Ub+w4XcaX+2YGLbjl1uIJvM20aw3iJsgtCNADlLjqcJDObgdgUD0vZd5GwVpVVXImCADQzGdfaJEw3yA+YxWg11zbcDHZYKUOhycCl6ZcGiRof2vys1pFYeBlX3RpOkA4T0+UnI2nSOj5ntBdPgXGIOVwQiRKrWdAWw//L9EeHeXjtA4zvf9iTbcoRsKb0Vc+o+mOW0B+qs3LM45xiXVVuVj5N3SxSmVuBgxIz+uOe3zA0UHJYsh+QK5hzpu57eTl79TJqYNLtfwuwq2dpktSxkRUMU7+/INYexBX6AvTWuJlEoaIw8gWVBhcsrJjsVXGFJNdbJdXAQQS6d/u35joCO9qq4bLnlA+CuEdjwp6Z9sIrTf9roBkACVhqQlnA6c0QHNiRUh3jvwabTU/OdAUi50dML+wBwba29bacZEHyiehRK42mGQKHGonsp0cyWRuUUXElL4Xnc/vbc9mJiWwuqQ2Jxk9Z7C89mHhRekuk2wDjhkx8IbUX21zjofWqTMm5MEAC2U49e2MSDDEDSPWAx/5ROf1fpdmscmovV9jy5ptOeGrOS4e7qWMp+9Eo16skbLb2V4GddVxr+9lG+yfFuZpnQ48T0v1rInbBKBdy67ODSdRbglohUS0jPLBAFWJYe4oqlic26am9Lb+eUPA+DoVujh/MSDNyUgWbZp6Np8qEkzaflnR2pbqROwzxNdw9/d/BoFbWYPZSRSwdVL/puAMqM5H7nOFvKPERiP1cfFe47j5MDQxEwlj13pUl++B9TCbVogcJ5HBgtKk79j8qv6ldUNNWZcxkrnee57hcxIkJKIEEMDres3pOguFl5qEKsWNqs7kucpKOHcW7CyfbDRnnSBa2N3o41rDvzbmvrSMWWr1tkkeG0vtnw4iX0HIyw/r3EDCCm5LXmeoykxaUA/tPn5NVnfjRnBlg3S0Z1R3mBlOHZMvqIN43Ewv8c5PHlQf9ss2oVB8n20RcZJ+Tc5gmh+gIfBkv2G6S3eQEbfI3fEAzynQfAlHWu867aF01ApWmLWLLnEhKxdlXBKSuiEGRgrBoSOIIDL2mPwpyiMnlXNA/ua8oh4KPHVQoY3KCyvSlRSbFHFBK7eWnulpmEQrhYrrm7KU6JfvkBcm18KyO3jSI6TKkpjHivxwOLbwzdX+lQ3MYg6vBveCqvrJ7RlcwK/S9ZEv2ngDWHudUMKyo4mn+V/h9tX28ajDQCAe3FI6V3sUmdOkYWVg472EdBffxICwO5KIMMiGsE+ndsS2U3zNqas8ZAu1SFJrNYD4YsrNSFO9WMCKl90kSpb1yF69ExXIuYoJbzVhGfPQUhvFqRN3w3EDxwios2kFZn7gvSSGIf0kf8pFAe9yqgWAyayzFzOIQ2GgAzHltXL+m7sL5dm54PDrmcp1cmgbJfsb5J0FD2s9CKEOaYFM4WNOitzu1LA+NPdOWOjANqm15q3I/iGekaSTSGgRVMVWHXItMk3okcw1M8HbzNa55MqxQeIGVHkLdf3mHdrwlca56nsBhN3xk7VRw0ssUE68bnfgeV+d5VMWNHuMpL7CQesyEvesP9H6GIIVtzXPdw33lGa3Hq7DN/CwItiNor6KKr/43wtp7y2NHM7xNx2k5nxpr66XjmwzJLF4fN6j/Z+pWUuoEYlf4EyTGY8RD2pc+TqdJRNxJ8LY2wbTy5Jjd6IVU95wsNJYkioT6MR6avNLVfeteh5EXcw6LjmFy7bn11JM7OXFOGjajwJuniWshgQDcr3lRJYgNufsSw4TfrTFBmpbAYRzDpJ512wBr0a0k2LLj+poVyrBRW+LuU4bqs+PgvztJXoAhyYdJlxSN+bZhW99D2c0GhN4QAe6CoummiPznBDgGB1mY2+jXfyAMDFpQn6xZE4TJiyELDj10jN4rkeSDlgTgQEG7gkUir+/nuVTGSigGTMPzN8/nN//pzmQk2cGVreohTO2Eo29fAqEY/0DgKhq/QyQ0M7I2aHx2vPIbS6fGujLqNuxvxcnBUK9Fc7UI1EI5hos3oLRqZNMLZV6EnjZeEIHAv1qqcWGoGC89BpLyVLEELGDBRlesma24zZ000lqSeQvSU08QWcd5I490pOspwYIxGcGWOrrAKB7Kstxk0oBW0WvZE5+qMOaV8AdQZtUOS0o2pT4NfX/6Rrut3P4MErkKtKxHdCMpJUn17qBr7ARv5tHU+AdxpQlo621S0vMALRfY/ZHS3qqgIdQVHRmz0eUfUiaYm2t48fZYHwV+nBJEMPQ593Rxi77/KYhI9gRDizv9KTOa0xisWveAXra2czB4FAwgDHKLU3PK8zkBKLsRARVIG6FzX5smrkb0771EzYoC215fQRICQlQ0nJayKyDukZPK4WQ2Nv72MzBoJP6DXFkH4Zom65EGg6fK+oTI2/Auol1R1fmmEC8afPabVJ2vvQ5Uw2ekposeXSc8bQZHiAjE3ttiqONM9Yr6tR7kB1pipNYdWlYXsRXs1ozcrKUpYeqgtGcgB0WPat6pBjui5IODs0ea8fxLWWrUevJ21TWWeXuBI9AEDD8s0hZ4vZVZrD37qmBv/R08IMJhgJDJh8HOD6GskuS35HrE/TGGcklECAa7CYsjQwZ492TXSdDeRA9Rw6YGPQC/NSW/tDS98DxCTyWLoZndBxJb3v/4Eax0QHEpYNWHboCzkBFwwFboGRd8Z5Zt7gud9qgS2NGwUl5oUGF92zZEHeMOtRGIq2qS6j0YEJni+Urgf0HdiyyphjAujVWP7KVn9xgW+kz1UayT49EgNKFL1O3QMfGq7aJw4ZZxuubBfOYzn62AKwy8Ds5oWMDHPU6Woa8prM5zfGH8X9Z7nprstFYp32YENuasO1GB2enzoV8qvMUGij6RK526lkk5C3iasSOjGAZUGhojza6xkgohTy+48uKTqPRIEzsmWYZjr9l9EyTW64yKljMgX6rC2pb/wISFHOoC6LvFrMrAyNQJubOg9m49OAHVUsHFZ6E9GKrQJ7wWz8KKkRs7T1vHVmM7Sr2bSkpM5YJHOMMolNOIFN83qLQJX4HilTTJTKsQnDoIlH7gbKPfNNo9n2GMUNX3VChVlxCpGVSXkjzII2h4U+Z+9Xc4aEezrjq7uFtMd0XUm7md/jUJ1U307qtQLQnODnfieHtv+WHfpcJFf40FY2UR91QrjffCGjiAd17FUS9uk6zBVwzsRpPWxmP3CFjd+3JRRk557cPZALfdELBXfSvT4PZc8vmHc7jvRfNjU01KcrmHo0oUAC415ja4P/K46Z/CY3ulDU81rxJ4kNhD403sJSIuru57nlXhDHt7S4ZIRDqJZUcB9T9uuMlcg1GY6z30L/VPw11BGwzZcMywgsQMpra1XRZQP8P4Aw8KDicDTppXVklrUTgrgcWyNfxUyPmUR6s9tP/yOks80SZ6ofUTu38hoLgvLeRzDSjLXhN0XUtrPQTDQo8Yc5hNYh0UC2/XojkUDahfM9UFEOdEYrBjzpY8vWJNoAwPoFLSSx7a5LvjLO0PS5tfyty5zpXn5nH9+68jogOYKnK/bcqmyKB9yLREn4add0Cs5yTrbq8I7LJ6fK4b8N4WRbSExNHfMRsV9dXmbHrlCyshw0VWAOPaw7Ju4Unog+OMSGbB1La3qcSztUywn+kgdkVV+62PLQzk4MZKyrXiAvILcVFYqa5EQo1ygfiHizDefCAEk+5FT89ewKgRhNlTZdUgJqQIrSenFPrgOK55p6M8fmqogNZvyALCxGTQm+7VIeE+sPwYgPv1AcZxWlXze4krnAMp5VC0B0RIWeelX4etJDwHxkkuHITzP5hjsjFy/AOZd9uWYMP/pbPfoOs1bZtV98fXrPcvaLeW8hVIf44FQotnCWmd6t9NSuSBqitC2+5Hx+i/2qjvH53m7g4/zMqaABEojn+3lqlH/ftRnozq4Q5hfxFoyRl1NRWKuIQCcBUibY6jOwmkDUmMuXT8/FyAXusJy5TfU4faFD648yIOzt8qvamUHNCukmFJ6I3Z0+ZLB91h3vi5fSG+MGXMv/3uAE5dKYQaKE6sv1GmYvVMhbPMSz4BtaoF3bSTS44x/Eqj0FDjX8O0RvP9IJhv2KRLP7LRFzdPfRgN+UCHmaeUPWkoPXMFAfIsGcY8q/R1jooLPaac3YtHkqJJRxr/QpnCaIvF6N7N/iUS+BVIprYk0RyTooH3UumJSx2aSco404rMXA/VTMqpu4tztASDkIeQdQK/G0ssZ6EPw0eHyoRmdmuypa8jBcamNcxbMBz/P6pEveoQO1HIQ027/wHHwMKgoXsTy9zgQu6xgYNPOWWwlgYynjzBQH9CR37x1E3vrJKfI+a4FUQCobKFgBb+/JE7fC8hQ4cgihA29sGIA+9CjlOhveoq2zvInM8HZw4/b441xoZ/gdxRwY8Pq7/VNJPRqOP7WPSEVRt1U5djPwcbiEd+RiSs7mOQBS2Gs9ye54/bLEzJXF2nLEaQ63GggZiqm+jSp5/Q7Vk89HjPJEvfGSI4BAFo0of6oTBMVpTDT8gWc6w2+GhUokWn49UDUKQlddIIHzA1nWVqK6B26BnO4MqElE6ZXWRnDKqW71QcF3uT7beJhXT7amFTydQUCHltqlKeS4kDkhjfGvYzoDBwyfEvlbaahzVTR6+n4p0uIxV5UnEsyGlCd7pjo+M3cNlzlxuCBsTgwbFJSx4M4tfWaiCozBhZQL5luvKuouZMi5QGdV1OLdq5r+k1ZegZIV1R8qO0qvw8185vulkK2DUobRDG5yirhG2cl2NyICK2SCATHQNPG96wlshF6LCkAEnZLwq6KcGtvwpn/UZTXWZtzfOVSlJW2T0fPhU5BrYpgKnQ1S8XtSvGw2ZE1ZbRQSV6q9VRtwyXiYT8PiBBKmNapx14PLoXTUb7nPe6NqARp3dhN8PuaGjxp5b3KjV5N98d3oKU4etRAVRaP0V+Q0KZbfuQxkbUZmgGkGa/cTJmxEbEagFziCjsH5J3HEj+ZdM9QyFs944V2Fgk3SX5oiemYQ2fjf7b9dloh3VQ6TVngGloZTQkJc2b/JaMX/wyYJwJBbOPVqs2oR+0yV70Lp94KuvYANAzGZIvonXJcVEGtYNtSS8XfYQUVjz1zup4JPK2eEGFZAxzDRhCr7xMvh8A1Fs5OnMvcQpNJRaqG8xsRHcidoHJG2OSH1eBtSYcv7Zm1hTzBzm9PmJbmXRss8gbKan2arDcZoQZmTqAsLLnqvu2Njpef3YTBwFxTMWiXZjjJyYhaoFzcscPARh8MXDN1e3mf5ymQ4ph0IXPnxlPj4ztzDYu1fsRNU9GhFUeXNb7fnGIutBd412E2xnmK7BKd3cll11yJdGlBmQ1L5DYVreRyg3HStTrpL8/kfKjC98Bg8hvWdyOkfdpmBBMs3FNA9MIoLUHUGPuk1H7R9yEfuxladwwooeZJmqaP9CBOrx0Li/qP1zwLs24lBnlmKuFigDEuwedSWsRNQfB/RnqLewFhkEoZZhXPzjexPC1rDsnpCqPwvWW4iK98WEIzMZzMEwzPsmtk22aosVhMmbEAta1UpL0QmnDIZcQjMsylWj4TUAmZCn44Tbm/8CrZpow5nbU8OPKo5rY6WRhzl5rwDi4Qu/K/GxWiNOm/H+rQsMzQ90az/fTxVOsHvFLz8hEBWX+2BK4mLDeJ1h6F0vr76pKqrX31yhiKlq5F4uH/VN/22m/WNHUgGOFAOBvxUS6bnWlkeg+F+GnwQlagvPO8aG118XlTmHJCT7Fd8GQ+V8Bm3fHwqnC0SERlzKxAQ5J2C31CaO0AvEpf2cdVBlDolleIMw4BnvPfT25uluXLFAT0MiGsdSyI3Mq7M18Yzv/9w+x4wa8LR21X1faKwoa/YZhO43yLJfCQwv2m0SIzfCvnIJWMxaDU0naEh5pMnr0c8K2q3b0hnturuHZQP9Flmk+MIywGQpwJIe/ZMvjiKo4NLbUMfjxH8u43ge0dvFKyDUWH5MCQTSL4s4FtY069kwq/rje7zI1mNzaZjEOtMpXAXrsyV2AYRgh+GoG/v8j9a8x5MS2o5cJXvMOZcWKogG5WhF11S+rTKOuRQBXj6i5ZmSR4nQFrElpy6TovF3sVBb3UZeCL9LK/+NA28ZEDfoRfbvbk9lRTjqWijy1Yb1+aylBGQfTMfyHBZkl/VeFuuzKusQ5doqQTQ0L36PLRCzOT3R18LNuK7GXnwesJEqWlavpDOfo+NpiM7YFNRW+El/nMq6dcs5jibjWq7QWXci71nAZhDzqzitFNME3t7pIbvkLnCwXEWCl/NChACHGMVLQCYVEYLGYw2znO6jIMkankWBrvyg1n+xntx761WJnjaij6S8sDb6JAMRRPNazW5CEsjKC3qw7cZkNHDqn9dcNZ0vrnBmAFK7nvrGB6AYrb6Y2nnH9cwuQKTOaPeqMtBzKfdTXQECRKym8WinkqYnP8rUl3h5sKaMmNLsGzrvyygHfZ4A7E4xxwDwJH7guBsS0TgeDTyAZdZMSRiI/aRejBfTC7mwhi86d2np5ge1A29mlYC4bMMGoDqV/MAn9RFiHYWxyyNiLT87a2MpUeH5Go0CVbQxc9nhqgDx2QJNpLqlgDFqU4s+0bOssPYb9AGGxxsA28qfJgaGYSj9kh4PBibHdTEgNKtfozuPQ5pm9z/Lmz3vd0Ji4vbT2sId4o56cZBOl6Dc+ywYmHPYCsI78ozg12IE/KdbLS9AFSz6E2goAJJ74vl746VBYM4TvqFbw/QQ7Yt+Qufe+6tq029nHDXsdgY4N3mV9M8iCWBzSkA5gDVTq5SBCa4SjQnjWqyjWOa30rKNd4bFfTZcIStL59GJuqZ3kCaC6TjckIV6RSUF7xOrfyh3K5GiGw9RdUclJVe5Hi3/LbPMRutMADl/30yG/uFrCwVNo7/JKvTp3RmTcM18NaqE9JeVj4qNNZeYVhtqBTHK1SpWsRWY2DyhHQz6YpWoklO41X/Bq89umE9I0H/2h9bwPUzXpmoFsrqo7anoJ32IcDlLnVM5CQw+S0SYiwj3o3Id9Q6Ki0nnUshOVaj+3NKgT8rzfrYgcPm+qRG2pdNRz6rphqwB4OiBtgQ8Uzsetp1FUFN6hHunI1239nbpAbKtQgzoQv75OgScwDmbpcvSzUno+0Q+klL7+5vP/wgRdSpz53FufaEO1vefaR6RWMmgk7ua22Wn4Iv2oOq0xgSIuDlrvA92uhICvzhVykk6hqDisxH2j7o2ymnT2yo9xim09mNLI2MPdnnx42lK63G9HZujGHls67mqJVBYdIZ9muPj7PCt3kDjAgjt0C9oVCg37sMpHHJqgnTWrKOuh/+9t/6E1KMNECmv4bXDvG02YjHIfNFZBgTBFG6FMNFKYmqCHFlyWAz1loqrU50ucu05oRCZhitib2X1QMvdmmnpchg5Co7arBO8zn3oZ1tofjiBBybASjbdkkMn0cm0wLqTdmrHtLuUrK24DWe6LQq2MOLTma7p7/TzYBmsQFJddM+l1Fzb37FtABpWUmXFMi1Y3fZDWE7wjY5d/pQscroC2QIdEbYh7DBtlASqBXnuUnfXGDJXx/uPp4B6A7/M03dgBQHW1Y/PWGVL0ZGSEhYybcZ4OAyf1WL7p+tdZGHFj9xGBvxtKrxPIw/wUGn9iYNUcPYVy9FugVz/qddYmybjhI+swcFNpkzyp2SKiHyNHpr2cxeR3gTM09/QzwKzm1ke7TcV0kuI8x8uoDf31i+YweF1luHQ96zGJ/P9R7hr2YzFFYCY9rQ9SN5dA3ZK6cYY748rBlbx4SjfOOO1AlW0bsRnnJLyo41NRE+ry3qUOW4VODT7k5CPOVVqNEIcShD1q1+uvS+BtZWryAeqeb0LHrzXitdk4UrOWHzIAis1qr0VKAwgvQkHrREEKr+5lKJYSHGy5KioiDOt/Vm67Hi5dJBnEsTOmMBZq6Jv9KfCDJvuHYul2H6wnJb2O6XMk4DNr0Cp6HZqnb7Ai9yCaUIFKSLfBFaxa/Jk1CRjQ4zyAYaI+gATBExcgE6YKfSayd0njLmriju7q6d3Esm+vjTgUGi8dNsJw5VkXGuwniUYILvTQG/HqG2FNJr/9e9kvpBm2u2Mxc/HQDNxFSNAx4QsvDnMgaSnDg2+437h4CycFYtv2vm9T1c6encGG4ZzzRui4z7ZJih0zyQ8Ejm6vXTfn/P4gv3498tmyfwlfn5djrsT2I1gKAL1DP6DMXcpOsaOVHX2TUGAl1/KD13YiCIfEQVrLv2kAC65CZv13c+cjFjKo40pqDyJv5IQUHc31ISdaUWPDNwADlL6uNxbgIG6PS7RfA2bVM4IHmGRBokCfFfsAGwcm3SVNy8W5OTwKd9ge5qok/vzY5jo0G0o4LLqLiziE3v2Wr12Horw9vC8Cg1hcOSkoVD8AMW5G848LpLYowejfKF8PqNbzQ7bKrYeuab6pkamN3tET3t5j4eW1dpsY2YZEmUMlYUvkCQBuxshvYMoap8E0483YVE/PCOyPDM1oA49zzVdRw+Ox0g2a9fyH79Bfb5NfF/SVT32bXFgtZVMGOW43HWM8kyj2Lspr9dmmfUrP0aqEDqNQkJBOOL9sN3ZYq4IQRoZF9jM8gsIa+gXvdzC03lJS0+sgHCxffY1aCIHKQqRJKVMIiXUBakg4ShHM73xQFRjAW45tOwJKEaJoGSUrTPUl+CVeLEdBixzaZ7W0DYeJ8kVLdbr+JtzPJoJNWvk7gBLnHJDEWeVHdnq6NeD19s8OoikaJemBbgWccLw1ln3cp0g0GzkaFJnEDUZ64QjiF+TBVC18eBO5vN/K8LAWsEwYLnvTpg+kt+e4rAWDfVuu5YCHl+/sMstjp6WSVTk/8uzVtHgoquOa11ywuVoSCmQB+3rPpvNMubaseAd3fA5hDqYEj4GU56uDhAIu4LAoJLuyAFl17kkrPP+1afIWM2oWMbVWE5SEhDsaIv3ZGGlt28YPBfMPD+mXJPX6sVexqz8RotF8wFjXMqUc8ZZTn9kAA+lRmZdL07OKuAUlTq6aMzEEcs4QXwXMl8tSY/Q9FxPteyFU7fJ7n6RiJ0tkCzpLOlqZaAfNiavybsdynjbJsQhkPAFsrv0Z//1SnGX1Hn3PrUC38kWwk7v0CllP1A1nokkI/CDLglz0nDx/litVoYFOWZp2p/lWo8c6M83TXLZKfqjoLKFZcCyOkQTWNnILyxyZgkTXLtRe/7p2sKeBb9K1oPpaa2B9ox3QxtdVYnAcffDhR/22AobDU5IgYC4NBQuRdjC2sg2vgEqNWFdUOYtewWGYXSHvBFIBb+AMowgx06KxFcTTrKK62NzxxYFrpjGNMPUfVWCikU6DHSLFNxU3mTGQJDHWC4l1AIKEJO7KrJdl4/c6MhR8RkXYVA9j7OEIzVmy//xAl2/4A+0OJQaSbpeKzQTv9EDFZtLHeSFPkPg20mj+lxCO3TfOF4P7KcJShK5RTkIPxU/WxX0lp9RNYMhT0cIvnF0C/7mL/p4It+hSkdwYn6qdFD89/qx2TctTReO/VzSV6sGzwkItTFTa7UF01rLoZOH012C4nHYCtgO7NsJpAdW5MO86q0yD0gagec3hE2ebYshwYhInJlL2oP/PHZiSXyo2hTEAxauMRMTe+P+g5Gzk9ZrQfX+vb1Go/X14rAx4t6NhNktWoTeW5S6nqN9O0+zJ1JVB2ZzMZ7M6X1oLIIK0QgM4lp77zlisGGfbeS1wIp0i0Q0EsbathyLE0G7WzquM3fZPrrG4mrqU9bJfx6L+zY9yn9x+ybLLW5E7uIEBaq4RSDsECeQ16CZQ+QUeQ81FG7T7I4U4wwUKm8SxJ9nVZNeWFWZfkvX1eJ/l6E63apmkCVhR4q9CmUOFiUr/OUhYgXhZH+lVB+melwDlAVfussKe7pUsY1BT4dX2uPw2vmL5PcC2v9tOSg1i3e9WsEg6wkLYlCHTeyOD0Kxm4/Z/K4Q+rYZODc66Uskq7p/AjmEdGmB/XvenMvcSH6n85gaaKZOwRQ26eSseljT1ZfkavvKhOfGccCo7yYkslPYDO71LiI34LW6eKl0MMjMKjAYlu9JDZKsDSMXmJ18fLpFQ4uSFqH9OJozy4X7u92OHHnXBkEh+otxevhns+dfgSaZ4SL1q44LQ0hdOuVl27ngPjCUCNjkGcdYxuNFl81vTFIi78n9ju2nVDH4VqEJ/RRz14XaL7AaLREyBHvk56iqwo0eyBW6BQRjw6Hmzj7pyR0v7vC/jXtPyuCDWwhNF+IDNEIP3nYqoR/bZLiptMIQbzhdRb0vzkBt0/zzXEhXXSHOX0blo8Eo8MJsdr/5rqYy4mtiT2PO8jb0ok0pDGe0Osy8r0QVOIMXnS+tTeqdeIRJmC/jbfVGaLk7V2xDLSbdBErvWmW9fSli16IZqH7GbnXpqK5+uSnKP4pKT4DLHPzkcDvboWzz1ATZv6DneoZ3mbsh3UZpIud9ta89bnRqd2fn9WtfR+hQhVQoMOCKigt5jLlzIcgLF81KIH2V/eOtaGL16sylVDDQoE/IspQQLN0rMsm2MTuRTwesu0nobuTs7KW+CMiM0IPIFM9X9+iSLGmEoSP78L279xrL/8c1tnu/+OXohKwLCwI9U+7bRIgIDluUWVKJ9xBEhq9MBPpLxZG5GwSMQ6Y6eTQJXrCSLkBzV3VALHr8/3n6phCddWJ8Uamaj9wZQR9x8yJlI6O80LclPyqKS50FhU/ALNVrSaRPIenMkvR13/fUP5ZDbJ/cfQZ4agt6zXK/iuPBGOVRqhKdLijieelaF8oq8ZT8r872AsCbFHRYJlPiIKQ6S5o4Sl4AQKtAA0jsgrocp6V+oqJh2hh7Xoqo3XuTkjQBiQIOOMtjbfgNfjXDpPat6bIn/scAdP4R/aSFO960wzTfAxytmdCAQYHUnYq7UOiDZJo/ZE3iudJl77vaEvd9Ck99KnSfDXacdBqtoXaEIWUXax6Oz8BDGAIm3aLjOLGy01rhawxgeoqwRCjKyRlX6wIDtk7iaLHP0XtqBvEBgLV6fD53kGDoBPKEWrbPM4I61vLL3vESfx5DDjY57LXYk6L7GXtV2kzNSKGCKny5i+tVZ+U7jIWm7RV+3WNpIl1qfvz8KzZu1i8EkMEXoxmpzF8oS1T0pzCtzlchkghpZaoZE9GXUD+UFxwRNVDMzaHaizh+9cEupxtPukxTjtvObaDaLKczxM0JM24+GfIIm0MwyX0GDTxcbblaEx+iZw/riCpaJKWt1QSsqAtewj9C+/JNtGwrxWR5sHImUb8KdUUgo5dAVxxjHlAAbANzxUe9RPRjDmKS2D7CxbbvoFpArgFEV2QdybzNnA9WzF9EjRSRGlyvJ7qRHjRtqbP5DuELLRGI/BpwMrzHWRj6vUJWyHigK88IGKwEfrvNOEOs1Ygy893WCzmw6/Qs6vXwS/hHais9yRM903kaYmAuLQv/PJ1/H4mBRIwRt7KQSzcsNVhu4OLgYHMU0Xv95LtcqQYnwyx/2RXOLQfNP40uIUyXV9sLoYlFVPbW79jyOT/N7OTPYQihMWEsuKzMt9wD7vmna2k4RfB808epjZbOyfzzpubV8n39TDVqqsb9u7MDKsk5caJzqyWe8g9ZqkQuivmWImoCFe3TtQLh+u8TnqwkUouYasoPL9hjaVFu+5thbhpOVMvtNssBvVi5yc8i4uqVWEXt6i1RSrbE0bQghpppZkrwAY7jEdI4T/toykUDCrIA4n1SkNZB6qVdonuUSXX+LN4SameJuJ0aEHEhKmUoB+6jpahwqDCQW2O1oMpmOmljePDd9XbtuNrXK0doNb1OQFn5Rq154DWs3lwzFA9Iki+R9D0KW5GnnqYNUIL4HE2lxGUCcVjruUwnmXK9+c2cNukFSCSJikZc8rB14CWG7pju/UNORHFbwvGFRZjY9DcSls7+47Cyq546rSR+/v5re3PHTHvRTGRCdmyMXxZp7E6JmJMkw6Zew/7zJXBJOcd6nmB0xTAXsi+exoF7DWfzS73bwvXDZrz3b475ozo9p20EKZBbh/LCp/Mj416gwILjwsZDnJ5vKnu8dufTm5tzMDewce1GFNZV1kJ7t/n2WpQdTCGkdeM2eLuLbrE6AzCSJyGtMag14HBy8YG62Xx7hd1BE8H0Lz4b3RZizKzV7KgEEW7Ex/WwMCsECzufYb58mozATAgFDD8oRcBWpQp0uY1E9WPlxQyF8sOF2L8RYUZtwUo51Oxqm3u7YxxepKy+L/qsRbqy8rKZZ7jvKjMR6RWsq9sezqdABxYign3OYhP7EYbTg47sdXfwUDlPMXUQHmrgaVLVO9y3ejVo+2VRSLYzfV/6RWxjRnVcI0DwBOqjhvNjfIQb1iJ8Q8UlqwTx9E08VjL7XFNOnsPL8pgeZFp7t6Fyi0NLmukHXi684Ywscovedf6TZAfKoxZSgKFacSM804z8GlQ5eZNdchjhjjrhTtYS72oiMS4megyXm3UJgbFRLcn9yGei9hDl5lRbJ2AjBQvIMZcVYLYjqdhWuQugeItHKKwstolRyIvFMRcXzdKaNl69R5nNVdDNb+1aSrJl7W+OofjNyFt0SAhn1aCbEQ4N/OyPOAhxUfXMtx3RqSXGvKiqh52MQ6wBdko7DgzJfnLMCrXrOd2HW4DXtmfCtBtIycpiC8BHRUIWrIyLpc4OjTBDduTna8tZEXckgw1ZtZgzdNxUiYTbFbjK9WhgKkFadcqzgTuvHa/7g+MpGRjSE4HHG1mvEmCCT75ZFxoCkbvNat+X6HmReo3hzMZfRdIkGthInJBtPPt+ziJgn1ycSbEnTsFxMePkdBxKrAU9kKKp7CaD/b+d//5IRRMfw3gaTJM0j7oRdOTESk0qa7UQmnzFAfoM9X7CAiucjuI3F/7l0alEh03QSSGtpKEGhIjJNWRUPp55h07894495gmzYHOiyNbXiS6r0HZFJqEvnm2Sdj+KlvoVWEfr9ShNUAveBtVaPPXcqErdR8gB0In71XvkyKWsMpKFXVJeCwGQkOzMmYzcoLWrt/UfyEVUeGi/SkYs/tOIfi3718nX+x3okW5WN0kbTsBrl1Vl1QncrhpAL9XcdrX0orsciHm98CMavi/b4lN6wJ+XsdyToPv3lHPwFtcesB3LCRbM4BL0oD3Z0Us4tARz+XNkT5e1Vg8lVGDwEJXCkwHGDaJjpsVHjYaFnMgcR3fP8BeBGzwTI9mnfbjz8nbFXTdmRHOeaTvPWjda4D+MEsO6NIrq5eVyVO27CPHQF+vhV3C2zFiulCJ3lNFfVzakx8xfhqZ8EmEaB3iyuoU9mTD/+iogluRjf0qu7Bxnrnz/6AwQ9KffLEEuswLpT/aQODgDD6Kb+6ZQ6f7LkrnjGgok2iw7eXjGYS/2sPDtfz3Ov0wEJxctSuPkZkpeFG5U/h/gyNh1zjdzD5jw++2lEv1H8gKzJqQ9TA/b+p5175inF8kbw1P6UUU+SPLZLVPNcwvr+OUxwFzucdAnF+ODkHCx58quwM5JvQFiA/rqNgg+nFS4zbS+0R8ROi9G5tT8dWtQD1Ry42SzGu7wiXXE5BY46RN7HbDi8QTp/9s4dKtXMxh49a4s2K/yAn9SPyQOr7QWdIJkhyU9YWpxSPVjN3mVdcpmEJADdOhcaizsyxry4ozYldgh0GuCGVPLUKfNmjJ612cJyjzFxVpESbmKfwpLDI9sOkNFZQLVmOwnw/9Q38jiOgLsKKvCEXEOVz45uHWI0tWeHm2FE7R3chbENfzFHoNmOfEWszXIUZ61WyuBLk5c4jGMBXGg82OHqztxJKcxf2iuuoCdkLkA3UQnIVA2CXPYvk8gpVgW6vjDUpV5Q8/IuRpBEmwOBCp+IH9dGeSv6WI/cURhxu1E7ktATbd/G1EPQQWariaZg7mI8c8COxA+7vig9WG62AefI093sUQzVKIMTQUpqYX66YuDhDDn7ppaCfeJFhdeX5bQ5GtpfycJdtPO6mvppRKi5WrLpAXjMwAgn38Gm2RIWkCOijFe2qX9wAbjufUAuIpbqTQO1KQACRvuIciGSCZyUBlyZygZATTRPZHKybo8JC+Ietj44Dw/m9Nj5s3dkNsNdCG/DTKWdSBtBRgvWKaRw2OYnf99IWqDlFVdIclLEDJDWp6FsJUtX65M5pc+xwGORLT3FAyWuC34Zbng0/AqH9SDU0xYNUBvXok4Cc8GzcZiCeGBw7aTjohlmjqkQmwy5D5zwuXBxCn+qfteAXmvJsAFZSnV9n8K1AW3Iq0Pr2jsEW9v5E0G/j6/KNEOLH7A+2KjTzct7nf2JXHRuXHxdFpj+tDqqRLjzJgmYOuTJRtSLimEkiFRYnRLKhqJRo4ZhUUjSb6088+R1fDOwwGpDEHGlNI4FSsLtCwYsvN9wbD+dIdf8Pn745k7eXvTTJZ0yzaeTQIilZ5HfR9AbSQpf2W3p1q3xluAn7dSrRxutkiyn5lUftipr5sfBLKm/W/NihPw7o7/mKjKyqPj2oDWjASdKfoX69+2A6SS5tVg5MWI3wjl2xsd1jDIShjA2XrOMBOe6PWCHSCcobFK/VW+gcyIZbDKXAhpn1ug/mi/j5nOb72CfFc9duuR0beJrMBytBJBcDPMAUA8YEZlNwbY7YEl6RLlPQWBn+z/GvgwBtUqRpbbrSHY4SYjipPC3ZGV/ZvraGgJpOXFA0ZdjsVJ05iYeOkjDEuKENiES/V5/7OJ/n00HuDUuTCOyUrCxbQ58uozMDgFJWmRvBQ4YdTRu6qaZujyYVuStnCUOGUiITaxGz4CiipcnwVWksUm6JVoMOBi0iMvV7itBNWV3KYSqEI9VaSkZYbNjLbZ4Vf6X7stg6YqSpTjsM1nxYyki9pt6tGAWF+ZnXt/xRSp9ubZEgxtX61hcWjOrUsMkMzqmXU/K7vZfs6p059r4e8sbYCD0jwhdSFnRCzBInUHvaobg1wSIbBFnnCWgXRIo0Xs+7phXLK3QMc7JxhnEE0wzyqWA49nTa2KM6q8v6rSqVDl3mPuwPgf3AQIzgT4knRVj7o8z0DZZtAAucu7FUkZT2OWmV839RbRpT6H0HoFWvxf5hlqlxudUICnRfh9V40aV9PnBpgymTewKlhfuN/doR5VclmVK0IvjR9i9JSRLGfomi6bIk0ZuDJTwm81XpgwyQcoBFmIM78/t/YmRljiGzr7489gtxitQuDDxJktIXOpvF7ETI2b8CpCEnQIOPGm5oRryE8ARTdW9XK02VlkArUjv5E6hElYBudnx4o+RYBtc2f6EtwzTdBdvHwVJ4whV4Xv9ATbH1f0St88FNao+E9V1PBnc1H2lKETBOqYKluQd1SED1CexHb1i7hg21AM7u0YSv1w0QhVvWNGS5BfntvWq/V7xZZX2m032kTDLateG/DJ375nryt2eOTDq68+FB17l341G3KfMApcTBd7VQf0G4FALmaxxa+XKiOk0TWDjXVguKuR0A7E3VawM8EmUmZQKJCdgUtu6Uc2/GT+/2tbV2AgX9lafiTQLdbo/Bmnu36z8LVnBMAsCrP9smAEBU1bfdXWkcRvLb7CGLdn2SpgtRJCa2IgmL5YHgrpm43Kpc0+RoX7sFLAecmBGzOX8Kc+18ESjx5evpvflyA8uiKZeCUWz8oydmy1OBQLK+MX8tr5p7fZWRcAsWibe06xjMbfjOgW4LpN+RgxT8Osc8e8QePtCJcFsdr0OAQu1lwIjeWJXBLHVIOxR33y6rncODxCUvct8ZqsMUlABOteWDSEBCZEIBF/dNqu0S3uXTzaaJO9j+gMLHpeV6AU8ee2yqQW2QGmqqy9SemqnhY61WfTZaOr98RRpJhX0yxrMRZSCq3PK97QYzEzmbgnFjLWs1nR86Ga5hifrPdORvAatqH9qwwPwP5l0o/uJUMzBqMuPZxhyLZdB0B+oYOxfoGh3ht8rqr51u8yKVvAkcSL/m3xbrV8sGwk75xyf39653apS0PIYCupXBVPhSsTDdm0rlZO+02Nyg4QqnHcMTyR2C8MN1ND0eAASi9mUcJGBG3nYuFeCTYHaAATXJEpLhiShuMlbEtIDow5fwiW2j8dcfpkz85PRXw1P1UwVE3tgiIpn6O2vYM6sU7hCZwcdbftbxkcKG8/br36kMBWrEKQdgfV/oKSl249n5tV3IYSpAfBuhYfxFGSI+bhrrYdr7wzLFWWYjBh8PB5+g8Zov5qPRJahL7i9XkIwYUknYFdOWopVhMU/pUj35yKjHhXmI9Uz1yeXIIq8wPoS8O/UGrbui5rGOtqZBzUZSjS2uAxCWHwVqK2aDcNjOBb+jEcZGSQEWSvm+c5AGSmHDM5PcyT6iow91jMd+a/tJHZ+RjEutbE8AVrvYjEsYjw9o8/sEQl7MkfhhlL4ld4edktvYrI6at4mv3rP40kZazQb4Tr6Bmt+KoiKuJNVzNZ6m4a15eVg2e8OWmPfhuujAvhQUFda+nIKTVjnkKuHTh1Iae+pBEUlTUhkNss0+CxRsQyHE1uBbCLEGR2ICUMUM0/VPlHbM6SihA7WDnMDYFSbiz5K/fQCfCYjJ+r7zqtD+hxTlLNJjMAGRjPr2GwFHLOI3NTyzJiMibuKJNqtCpLYXdH1V/R2XF+tzSpLCrbMXnBWbhN8wCB41XnwW7Wnl06iCPf1asqpshQHzlOVxNdRfOym9hsOm+fkMiom+iFY2HgGjdvNZGSRzP9HoPf0AMkcc5nLGomh7kfzVbOneuZoKjow2IEl0H+ecIU6O3fCZqp0RoOkqwNhi9MW3hsbOIYGuzZOw0E0MyFKWzFXSLZjKvOzTjZqtJxs1XNUnjsgpQDDYvFDyo9cf3wlUWVGE5NAY/YuLTQnhHiElqK1r5OceA2EETN2tTqRrW+Chqx0JjYK70jk/DLQhyAgCA7WTe1FTj6Nb08J7/GzQTYE+DetXwvjmQma+/7uf3DaRjpUYuNjGZG/BSrKHUBSlTkZXnAgH33kvtnLW9wFiIhWnc88zO5QWVHfaZtM2GE5sHeJ22hri2k6w1CZkvUazEghMZNRhlem983FpzAzwbuP6ZESxAECIFCHIrtqOrqjQbP7KC45zdJWx6UJDtV2ZZ35Xe4jsKTi57LYDcy8zs4qnCJk7PFjqkqoRR9kd0tQmLucN31bI68iyg341m7EjPruQ7AxoJt2BMeSMUrHTFiHcZ2B3jhOvj/AlrBs/LRq0vdPskmPuaAT87z0pin63otwVX5HWb2zuUzKfxJfCMSgGFftv1+PTN5yMfRhkqAzSPXlwwh8i5LLnIoW41oeDNjS4kPklu38McXAOB+MVubdeRF7lOSS79su1pgO/fm2QFuOMY7MCJIGxlzPNbCs5xawN/MTV49SrNp6bFsjzD0Cz2AOiYptxe8Y3nsiYlxP9sWdIZhqT2QGj+8foQCEvMacY96eB32W93r9YkHpxGMce54fMGoNAejT0B42yoG95hM6KRT/pyYJFL0ngfiTjMIzk72ntDDqZVFFkm8GHORK/heD0HQuRIIPeksnY84hP6SACWPZAqJsxZ/cpU2OkFV9yacUBIYS0yRaz8scsriTUqOfFnGzdxFhy9oj8iJ5fdN3V/T4cmDqftL3qlDHKx9A0XbaQgRj1QBfm4P0r/Ov1lEEajXkOu90jkk6QhtHVx2Ngsz9AvHhawVGpAwbY3G9qvh9x3OH3vabaOqfVb/EbU12cEvBELPq5CMmYxW1r8S2RM769P/FawL7vDLCzPizyNpimngwW6FCGj2hDpCdshMwqe+uquSSic/MfVtRPHGCmo/iDWdbGWCiYi56uIiRmR2GFlo/KqeZkUgVcSjr3sWZ57xV6qBxEN/muJaHOgiArxOhDcV7mwXTc5AujEjix+eEQWDWrpAAndntfgKezjtexT9M9z7g0FHDCjS5yarwioKBgJ2oIvZSB7JwKN9ZeBaKQ3nXfqV3cJC9ytyB5EeR7ope68Xs3kab6La1uKNJOQpBSK/BDxSlgoKSa29Jv8zzmQVZ6h8UHVypxh+n+O00pagMojqMwyEAeOzxy4y8kotwwnOQ7Vr+vwRnMRGHehkvExT6YcuAEpUjO6UKVmlpXi8MBSZcpMwS6vSzXoexcun5X0yzSQddrGZhrj/yumuKM5SOt+FC8aPBK2fI9qzA7Pms7SP+BTB/zz0KxiFGudxtbjcnCP9y/JSuzhsdFvne34gE88w68UUtMDYUkO+QuA2ZyKJ4ENlQsMbGsCX1oK6Mq1eurA77wBbuyftHgKG39TlJDHFUt7rrTuWY8FQL0x/FI0G7iPAOnTBJUvpD8q5WDw9uoWDUTyHtejrs3up7Xs4gZToAjI4h6oeLFai11Zu+CL06zhdsAzGYYzYr3Mdc96Ilvt2/9jmedv/TOfyuglYWPFxfvjR4pmGXeuzTu4N9JZv/bLrZYK+iRRBMXz7K3SCUMRbUsZNLoypXJWayqlE8HNWJWsP45xYzO4xQs07Od5IUxYhF5BbWBSiWjXlkM2LbAEOcPpZ/22E8ZvagWpAojwyPfLHm/2uvi/dr2KNSetymx31YnCcA+gckBcL9AJIWA2YkzL7ZAnSxy1N5sAPRX6I+MWpyv1uu7nnFUkVwY0CuBxUQ0YsGZ0vGWUCvMD1Nj5UlIil9MX1irp5veT224xLEYEsfjrZ711ljjW6vOGwTss4XZZO3/JiMxdrHJQgCVvzcXM/LDYDxlgRg9jV6vuRS9JRbss/KbJzQfn0B3r4hBtpHPyd2ipTYAf8AMY/pz/vxfYsKnHi+fNom6+WSF6UPNJoiI4khsbnCWhRvVCIQS0JPWjQXv6IqPzdL/amK2s1Si5Qczomy15X1qhuEgbE39cxa0e+Dp9xnWvBtugPZj/lgjEA7A974P5LCKQUGeHN4WZUVpB0AyhU7H6lOq2rqRYF6bl7lgomHVzqmM3K5M0cpCvPIIHDbzyP69ZXvmvogCmN3OrLxEEIAy4IMrU7O4RVr+kbSBNrSI2Nm/4hcrW0ThmDxpDL9AowFSpqcEcS7wQjBCANREhFU/2aKVVZ17n4UHelNe3rRlU+eveQdQAR/G0wHZEyyJkcstF0tvHVGSjwaKjGH1jC+MLzgpmkK99S61ZCbbsibS9Ah8sgd1yrvRwGlrvzOTSnwTv23TJpkunbvcYetyItqCxN+F/GdqpJV5JUE6bBxFYH+Po1Han9oAZhhCHW5wIYgrBu34/zzLNxa7lknCMbTLaRx3pixj5SKfGfK36n8RfE8/WeXsfa4A5PXa9mRKFq03qlc5g4Iwh0ORsfIUANbPhkmC5Ot16UP70iw4EoIAjPg+fGi0UYJNCyeW1OdNZF/5MzlluwgcPM+E+gp+CpMSHBlv+g0reJdcxNRkHXr6sNEQfqJKcbgAkgj8iqj7qq6VGmRdxYMiONgG8yq0s/oIv4yW7JYylrohK4kcEw2qGD0dBANIOUnOijfF3oyoOsQGtIjsWSuZwF2IenxQiCBIuBdhKVN328UYU8ZMAZHU04oy0sBJtPcng+KmPZ0EIYAoVkDVDyYeXQidUf8DznQHQxzozuytWkf80cliSEllvegr9cSaDQfGpy5gaiobMEwiNulOZyjNthouhJwbKpEB8tR6ceXFe7afnFZUI+qPg+HASy+qd9W2bD0//LDIP2HeYRByAN6yVtdUY4on4gbcEAHIM2V5nA9CQge8oBMlQy7LAsPET6oqABFcYXoeN/N91Ce3T6ZSAzNhTeYSvoOpUAMyG7+JorT4oBHTm6BC3I/GJjzo6nYwHn/dvn9zkxPH06CARu2uSouBcLTdYb1aWUhWGYDujaaednXGMDBUB9jlkBKiesvQ7xcTEBZwgQQCFindcEhfGmBAhfoG5ItjGtIbKqTfnkGdVtEquQlmZkCh1NkoaF5AyyORn0yi2YJRGZ6lADlnEJJPG8pVSiFdR3LQ5V9AOpxLB2/x0C6fDFxgpM2Lpr3zTeXSelUkQg/wvii0QSWMvR73EO9xswPBb1sGw5k5v/2ekVrDK4KlMbh16+Xpaq7AzNy7+b87F8mETxrQU1h3h8t95KU8YSOYm2LC+5LmhBLFgBNdyZNiOWGTThOr90YBfnspQrd452p1q0mFk03WZXywVjEsWflfx1KXD+4FbTDf5p+bFfKoAgl1W7tpuWW62ZK0wPDzxeH7M3DyEvQfbjfAsGwagXv3bzcT+OCbjUnwFHg402IuWRYwjD4tLTjtevMeqjNVkyKxHc3azDighngdWjSN9CI3VXpGcYodsssXEZBpu/+FibcuPP7MQw+3lYzi2aqTt7UVof4tKJwUS43DVKjnLaKD5fk1OyfYlofdcMNY+OzPHQUgEKG2o31VFR9+L1gL6/Z8AiE0Ze8MHi0yFUOtqqy9t137HVzyR41OO8Z98XLYcmgBAyWMdr70l0/y1Wwc7SD1EG4K7URscWFptL5CHRNK4uZ2KSx3LXdhW5hYw/w/M71vsanOuhacXRFbGyEOuQnB84XZn69I7N+yo4tuzUWS808FM1NVuvoj3SvPBqoq5VAG5vNSZDULagarBCh7mUvsaOZQdRJvnscS2w9WDCnun6cy8QTXf/Q4A36yvmoiHf/fumLUGdgX+Fu9J3e/Lf+t10RCmC99OdpKA0QRnIGb3D5f1OrQAzPz6EjXF86Zw5/lG4Csa043ZQbT8WCwIYztqK2cbbTwkmtUwxCGxvak/DxEj3/FVTLi5GhCP+vPXC1hiOTgqdQCYAqRyB7BrmGkTjyw3dNn3ke8BPIR+zJXNUDlG7FCdA/W9YEZXP/563l2Yg4sAoxjXOqTAsgMxfjeGVCOHBuu1SGPBjnfpEPHb6YBNn4WNeyuPwmYq1DAmznFwy0IQYjFmSYFOyvlJ+H6NHpit16y9MqCSmTKr8GJMGu/VukeJHJvFHaGcsyK60wgg4AQWmPSPhkQ/qiFyaUQm+r2GeD/alrdly6N/t1jSC+NOIu4BGC138gsTIvWbes+OjSQs5Jycf5QCg/anHmasObsAoWejajng49scyssGoR7OWJawvzv/kq+bqHMdWB4+Cdgx8u2ut611lSOYQ7GuojOW6lSv+F1L7OebGErv9tVxjeR24LoZmyGw4El8r+3jJ32VjvdAWJEehBG4UB+S0EpcEwvuvxy7etnYUOUwNoHnXxw1Hvz0P9bb5z1AwgeJ/3pjReFxVPw3yV5MnSs41X6wP+oM8ZHTXHC3qjKgXgZ4fDnxc7D7sKfuwrEXZCcKfhldQJysq/0sApUZZOiUYJBxp6zMcW/ppf/onKbeON+TUcpf4Q9/uqusP8jCsIJwqaiu/CfttZzKW5xYhqu0hUKKSBD0eVlhn0Dn3OchgOdT/jyjyeYYUh3QdzetDKJ03SalHiOnJbv0RFvcVMEpgO+k4hLzre7z9kG4y64sVYlXT6RuB89SDvXLeXhajtvJUMK0m19e5i/0CTmRSrkeioPhXNSSCpOXGr2p5BdeJsDW2gb5jNa1qBAwz9dQLtZnOyyKcYY+wKyVEWSQBU1wQ7neEenXfsYJwBOfoPV1ttvMg5Ml8p1OwJt/b/7QPw1e8iTZmYbfNL+kGZDW5S7yzwdqQPFhb9Eyrfl59Xo1VyBGegMba9jrg/QGLmmasGBfTQBJKgNDGTQyUFhzpafjP07JWgE2obR1hNCIpObvUz/AfA4OibXAlncB4MuiFhjswvGYXKGxS4bsNdMtz8yF0/abVmW/FhyZkn7MTk65vUxNCxvQQuikT/4XFM6A40S59FqDVWIk7bQPZrVI5DWke51/E28W24lMk515yU5YByDL+mhTswZz0vXAGpkaznyCwdqnYg25YA8K2dJof35eVTU2xtLilYDt36prw6tAP9qLqc6znOMPNI3dU3BiDCD77hz+LCKo9P3+TwV1UFWCOM96GJ05+OYVHnwSdBI6AnpeGADxn0BHo2ud7Zudw1AVE8STHDfa2Vzt7MFQzBVEsAFvX9qyxF4pf0xJEVcD5IS5NtP82nNC/z1hX4xxcjV5NO3e9SznVS7H0q7yp1WbeIxPO2XC+luO5EQxJEhytDpTw+LZlCeun6Lk3ecdkIueeJbcvyB0pxGGrXwho1MhIGfvd+WX9SZAB4REm03ifDKR4yISM1eHQLJBJdUHMRaQ9qcn7T6oHvT63E11L0lEjqR+Eu9fA+UOzTIlpS/sz0RZksX3MXbmCY3QUNDAJMRqCzBSLeZ4ktUBYB8t2hc1QUxxTj6Bp6WSSe38zlMmUyEnzeAlIdLf1OZ6LNFeBqC8rqsyEFPUinVq8ygWHR9MKPT9uxamKtuy9r8JlBySsFzJdjMPlAiYI4Kb3nucb0SF44HTCd/JmqlCjrIkGGG2VEBFxLfejg01ltP/El9tbrAlxRLvmeLaWZYW55mZ53fJiRnAyCOoYBww2eMRCmLdl+4Gycwb5rqveKyNewmoArV6fMZ1rZSk65igGzdxRQf7SIWa2zJqOHG4cbUftlqZraPHcUyWTjDp68YiufI+pe89VfvFJ/UkWq+0wBOpY11p1TT0s/ht2svGVIb3a9/OnegTpf8bQrkJ/crK1yZJkLHbN39DuEDUPgnoVL52PcUjzlynFKomSIa7+VZMejK/MwQkGExWdmXquCX6Bp4/kBh/nzUKsKNsxHm9zFqkA+HJn4UpHdYE0NmeUEK5XIG++pMQ+vla02ubZGjZ0bqHXbojKdlR7XXoZ81qQ/Zi7J8UtlXqHn6OS4/aA+wPsPAXpFUWVrg4B7fK0InXQL6xUTxw9o+p2R5jMawoqDjUoBSqtfOFMRMeoP/eptJZB7zoP686vAyyLAosNOFCF5cqr014W32scRatG0ffSafCf44ZQqQdaLin0iVnSYRACOpfJid7cyftauHHtGnoBEoCY3oDYd/A8FepsN64JhSOrVrFYDfB2GO+Gid+dhgox/wMSpSuo39UP/gTM1mdidCrHy7GvJyjfTnKIO4vyxOOlWja8j/i84SRU6HAcDktqYmhq4QdpvSt6e8f1nGzSHJAspE4q2QZbmj7JBL7hs4/8uCgOLa5AaXFDY8jqdWe27LxWWNm3oaCkuQsIY2++bXDAKbFIV3BA8AwSwepuwlGMj1r1evbToX9iJTpImcOtMvH+Ytp5Am0lii305qyfpU6rGzpbBUUwTyDLO0ZDIc/CIFTakrZHPtTonPHnLhj0kXTLcGiGSey5i9j25xHqrFvbOjF2bqxo/1Mg8jgH90j5FPPRtFIkT7abzAGin5Yy8ClYOMSA7JOq6w2CWMOnicHmShuzUhCBn9HbmCjSgpoQSrfZTBq7nV2Udc2Bhl0TeB5k7rSL7Es8lyMBjQWVsQFR3NqBewdFET1Ya46Z7VGZZKkuSA7h/bBN1AAKo1tFyRjjDrlhP9vdmRK59aSqrMpL+08pzogVCCH/guvwBKbJhVfdVYIqKn3OYeUZUQxGB5VXPCvZsFMLjEt1mFuGBpHOuTaU8jlBGKB0wds8i4GEDNXKcoaAeytZcBZnibWjOGGXoGgtGkiYafmVPCnWG47UONiB1/lrRjzjooXLridjaNxW5xEpqTPHblT9vg2Ba3M2HTdt7gn0XSH69oqmCCECNrxU9fOqWcG83r/FqzgMXuztDb+SJxJhyrJjFIsOBp0FGKP5+rldaDNt6cIvkFo2+2d2KfEkchHziweQlM5jMIkgdEvh6wlFIk2TsVdFhfPGXuGO/9UdTc+QiBNFJtBIaysrFcEdOvsvjV62u5rEtIxWPDexglTfTJCuEdOlhvzQlwg2DmQ6I5H1J+K1Njas5usx9cJEXyb1HqpxjfsRT8hAokCiqYdMTg9AJC9RMZF0OtgvVIKoWcNUQqrFzDanv3BHQ8I8nvdM4CwBxom9FWbGGFo0nE+CSrhg3NfyWvFfhDHvjv3PxB67rboxDoCzutiXo3Hdr8yCxLKnKKIO0mf0tP5rSu3MHwMhvF4jqDqzBNQrz7tu2FMkgzhS6CVt9IEBOFjiTd+tMj4afF803bORHnhuEQrHrUFfLMU3RB2iwXJQZsJpqNtGY6bTmEV3MOVCHuN2ZTKXTOSN3kkX0LPW4KdkcT5+s5R/sr7BebYajbvCdNgiu9yfLKW3x6V6xRhl/BuKkrP4jqsemallhhFwsBczBVQfop88ZaB2EH7Z8ZeQGrVBxHdugDDO2cdNVcZCNH4PRE4E4zKgjIXiZkY1WHiYXxRT1eusld7GtI2hWEge8u/axOnARFIM5zMMqpxBX4xYl/CLxp7BhprFXMY+zrVYP5Vni2Z8cYW3ptucPM1vXkrO8F4FlYk/sbWaoIiGJ0WHD1elf1KOP6LV0DRKRAuCk8fjAsN5nadbci/8JzEJb6fcRoJA93mRKEhSlgeudpX6Op5AnDMPr24nl6ny4v07BNl+ajZUqV2ZCthv7jSgrWBi68CobOKOTfE17F4bNKP1neeW2lcGeVP25AtEjqBE2MrsnxbVtB7tFzKJu2voE1XIqfGRS1ZsCMRWrlObzY1fk5Wunl7WocnhjCVICfd1AsxRHRbBcRLwjkdIS+aWeGpG6rm48Jd9HLI/prImRNWUENDsRNmxfla18QB6er/OiNwT4y6hZFTpxx0N1pnTo/CAJmFMTuK345f/KuKdNAl87Y7VTBmAPfrRWq24Rs+KLqRalwK+RUBfs8I0Tk7SczfbtJRoHc2wwILUhy4Udta3q+L6StCKQCrNhOE/i6clkmrSVGC0z/+u8OoO4XkQhc8u3GcAvU35KWOJ3G0LWLSF4I/jHqa63I5vdNmwPi0Z99ZMI4tT/MTPMYakYpOpiLQnZMZJBatIep9g/IWnQSrUf6164dQ9OvOXwdyPGyRD112x75eTh4uWGKZe3DJXjhCXwTCTo1vb597uuUBrR2+kH+yf+Va/7Ri5lRz2ny3u9iwrPDBSXzYxNbOp1HXprOYe5waiTe62WexBVNLJF+rK4nYWwWhcWX49DaoYn4/ol4CIpjZptSvD9YoC4eNTFKUk5K8jnoHB5vHBUW9CNoYSMAGhbCVmiZjc9tXCKOa9kukX0eomA2L4PPlq1+od4EnYNvlDGsm+vqGCpscR6EkaKk3QhXfaDbmL6X6mpUIJN5cY621BDvWcCxWULkKQZMv1q4z6sfGiY+qj7kXSlmZ7tOHGgRWuzJBQOgX8eFotX6A/6ea0U1G/VVLEW4juGCO6AxTKWDlPfir6jl/AwsLnMMNyvvDvdyoaydwtdUKFEfZ6fSnmRoczeOHVJ5h8ZthFmWrmcR5tB/h4aimsG4+NHh4KWDaBNhJlZt9jUdkYfhU9iAsApxGaTtxtGq8XvT+Y7eIVHAvsBdAmKSEUFItOX4Wf0Y1HIx4RwcPwM3zHMqqHaCrI5iASnoU642OqhcoKCGcoy9i2qmz0nFbP7Py8MBofUMBD2yV6ybPC/iwk+w0v1f5Ym7tCxJuqdvXnwhktouPbRV3KYfxUd8cpzdyP4OzB2KnUPOFdrOd7dzCNmqtOX9RdlZhKjxiIcKqFJJEiKJQVO9niE1aE4juJKv8l1SCLCJL2QcOaHEAxYk7Cm1qzReVgBsAP52pNZc5u6sbLuVG0+ndsQBACQG4s3Bp9lMkLniWRfJZqSj7eghUSKXDZOKcwDPT6t53ccQR3Bo7oB4/ywNd3/NLbgCDh7F1+mXq1lk3XPlHsqNUN2Ni6ewZdbeqBHK8IhToh9jO4dGLjwZEYxeotPbQcbsVhCZU5DLz5zZSLz8zKMDGOLS+TNxqXKE5PwCMuTrQdIqklbMt20q3iF2HgswNl4DdrVCY/BRTGjgMCbwIn9QICJA1fCPEp76tfy5+ChdemCQNS6+W3KWNtOz3Ce5AQd6Lr7BTndoCkpNtmmh+X3o7BjjvX0H0LJgDE7MZZlcZak+I3t4Fx1fmpLsED0iHYmLAtwGkiJcjG/scVaazHs2je78mrThv2v6WlB4zKpu8COwXPa50T6TNkfHtFYe/34pEOmgt7eaVjM7OJVD4UJGZ0pcnWKrUKL+EX78xLIKnuu0FIiQf8QRUhmG6bKOdUODTwujglnhsn1FASAFTkmoRmbG0DxpUCa1IN2ZeJq5+ttWVxLIRY6J6B4IYCxFgKhDDyuYHVIzaadHLLBTCQHl96lWriTo06X/XMQekIG05cIjJEu/jdc+I02raDv1TIYUlB0Z3QxdvKGWpyoaZCBKbZDJ9yF2vOdsPbwcSHk1dR3svg2eLFsh7wi6E+rcoYB1RpZlbb4xnt9ThqHSrLBPZW+Q1SuuDaPNgAr70AW3mteJOtK78cysRd1L2ClLX/pzZeHOfkrxWppeR8VLl5cUJqyJYdBhfQfOvqSRZuMeffmJ5indOqfW1YujHBzGknbWNM1WTPdY850LVZKYBOPDDJsb5EslgF2zvK/UXrnHbo/yRScRvVAJRd3EbfAVoCrQZUfPx+3AQHF4W/6Dx7J+jUE5mrBGZ1hiduMwGhPknjwgAYGq3JYtonrcBfHx3yCYeY9VqfIlFR+hY4pCwHn8tKagJS58E1tlIVipDW7F/fPxZjAoerS25i7o9Tjtn+jN+12AzjGDngX44i7K515UD84z3ZD0t8zSX4bFiNalrVu1CFsF6p8D8suCo59VrJa/o30PRkfWTCq+4uiJ19jacOGbSqEJLroR9wKcetliuX9AUjFDvAtallwh6lc6w74hKekr3vCtdReLLXD2v6i/zaGioYh82EMpsRQKvIK3nUaJU4AHlx2pFTwQcIlfBA4dDXlUVpBoEIl0CseCzNFkZUC7a4q+IXWJMrTob/LgpjmN0z3d4bw8ylHlJ24h6KLdkMXQz/+lLRxDyqYKWaweBWD36/WK4LbANiEDUS5w/Ubi8E3D3ucT8oqkN8A96ifNhV7Y6zmXRAewDP2aM/j9ATuJ4NgTy+GuP6yfrLTe4/+hlnsNg7k5ONFzUL99W4tbTD671FBK26zfhWVPudlCTNLJEHbUhtHAs3Odg4n37ISXl4+Ah0J/jXI40O27vMO2/PDCCZR/nLPVFEyAjflW39Y6DpDNpsDuuHeibv42pzTThUkdV7qxxcY0UZtakjGdxegK4PnoLHAnVvEu84LIr7LZx/PT8rlH6FfL7fwvGfOTiYEkMnGLj2wyAfRXVKFIQ/TdyUPrrbmEtJfNTCJN3+DaZnATamcQFduwadRwHs+GWBS2C2B/KEIIMfaIfe72SGhvcBMVHOgL9zlrigKQGDX/5/s5i/0lQR6lpU8BCIDj75nfYFexvzerFFVzS/WJ2+j/CcS2M1zPYn042JgUWFpGn1JjQn/FHqJgQCFFO9NyJXZ1XqbcbiLADL/IBzlefXG/uwjoYub9Llozjb65rMpVvsWlsMLTIfuzW0MDyOIEGn08frT1dDpEoS3fiOY/+XjResMUeX5DRIhSWsm2DRM1M+7UYHhdQ5F9erhJUINwk0Zcg7g8FbbBKQjC9tOE0Zo/PDDgUcqOQnstMA4SMjiBMuKs+QXv4xWbG7/WSLEhjeYRYEHrbMtGsudd48N0U8JRM+3H4I6BBC88jMNHEsKGF7EyBu/X5zDX9POjN+blpreiXLFavK+iXUlztaai5QJcmQjFc59yJsCZvzsZ+iuaahICuihoNw4OPeCr8uDq8vzaqfBdDXewagHNSi5Y4EE60eOTzoLeTYwJA61ybp2qmGwxtt/XAD/ZeNdbp7GR719/zyg4lRqKUP4W9kP5lUDAbnjQGguO85FR4HScgbjHtmOPwUdkfvWgBMw4lz3aLqXXt3F3vSWH/QqQRPwJ2gRsmbqZtTpDM9LwsqO8FSQkuMuk1uVhKYVabKD2subCq8BH+mKqlnyWa2w/+RjIbKXTMZ/o43PJgr99lihcBJKrpqxxvIr//CPvX3kJ42wT8jqWExoFoBhYOs1+Wd7jHwygCeiLbZikY2PHD5Z5QeuIWuUUcWbAHc4ade55p5LFYIApZ4nTOYGL2gHITj81Z6uBZLL85uPon2d+/lrUqPNy1MQZ173oqfuv1iZ5Cpw4MJ4vXEu9n/VFNacds/KrKMuhQ74Cnxf1d/F7/mOLYzc2eg9UzsHEbnazG6tH/+S/nyS+m2nPCuZytGNVYKdRgZ9VDBFtaRoHhxIK6BnJXWDdXPMNiRoK6NCyykn16l+Qb8JsN0EYjPlwMsxn3KSgmv42JUnphFP0vC9ly2q/06HhXPMZ4sl8JKp6TNFYtO/czXyrnIvobCgsb6jfEPgXvmjtpknGCkEwrDwUHNlpSIF8Tk/o+qbfHwfK6M1qpQb4XDQq1YLrtFk4HaBhw6WenJMLl+SqsODSewxTesY9RjUBw2Rwlz2o2HOytKQ8CcuoZTg+5+NkmmNbOt0G0H/H9KCEB6Y4834o4+C074gNIVmbXfJiZ9rPEUD23AyeAty2qwXtjsbHstr/i4G3lHD7WMKREkgL8vv5f4Hzl2viMmL7xUd0ylYBc8qOT96zJadO3v1IRw3Imf300Ovql8cl1m48j2JkGY8SC1TCk4FG3hZKKzeVYY7vNwplHBOH8E1cdaUdFYGOzu3zty9IbHnfNlZwITll0EiSsXecq6zuaGk4mW9DvcLqfeeVTq15KCbHa8+GaSVH0b+lpuUJt/VKL4QGH9laidmm7lrKLi6U2TO9hQME7Cgn7vVrRdtL8B016D0NgLIZDPB0zByLs3kr2NtpuJZDfikZFwQ9HHmuLbF2NcBBHrOzUtnan3uKDoX/QvD6zqZHMWwVaEIzsAsmt5JOj8KRRJcIoBiUJXKqEO274vAXv74svnG4e0mEQD8puAD9HprPDj6zv77f+W82ffpuB7nl9cQmgh91jxeo/N0FbwoXBBiBBQw7fYfvCDiAx4FW1jZ4I005c2tOQzqwzKaR5Q5lGZRQCi2V6sVS3QaxDOeDuAi+fmH2QeeDXxbWRA37ydj3KPYENBkV4zdom7XTUMmAyLK6XMFRhzYd+/OYGQTIx0cPp0u9Zv0gBC+5iH4rb64t+C2cmUK3IX8YMlwRPSzp5HMpTcI5Ly0QyJ0dy5z+44BnXdV6W1Pe2tYC/KlkcKb8tKw6IMKQb3gDHcWOlXGfeaAAvCk9rVoMH7aZ40X+9G6Q9Cgb5Tl2773m6R9UxZ2wD6/uty7wCDH9i5JHX4Z/31NPGDpY3V2kq78EAw8QtA5jKz5D652UDVjMUE83mJZEQT1hHR8RmuuxaicWJ8Qm6hdVYoM9vxxA+CAW2WBKumHf5rKO/kyzWA4yCwzmCKhK30ywub+H5ReAiZYuuTvGbRHWHpunb5qbLj6FOjXxxoHnatNwGVn74l29LzDeYpugxpUZ1o5m5h5/U62XjhhDLujSrIIRlAMbS5shl3D8OOXh1XLSRZlQneZ7NQDlmgMDoFDxVSEIbuu8ud7fQEbfV53aeTfkyQ9FgATazKhhi2er2rG4eD48gREuFV8onUGlnzS9kUsLkS+w+Cd5IRGxa1Muj3iQlOC2Y9OrBYlU6gQYOwdDUgPCDdjvnN6whjp1Vv238RVzDn2WmQ/hDwK/5hMfZtDCCTLDLVK9Gig4Taxvg3UqMqbksdrmXIeShjl8B7UUx7RG9Ev9V8LH8ZNA5Lols+ic+Iju0W5GY+59cOnYBGgTV6VBo54V3rFiXNK1u8RXILQB2WQfrkAjhC0BFsouNNBFzXkoqBh8mmCFT6c6i9oRE9Z4lh7BZ+MPh/4CyojpPqzPyMT3IuOSaQytyNahVSsqLWBf+9HNQCudP6rywmYrqY8WZaxG1gKUDC67sO1k5Cd/daLmvp6Iec4JZx/EFz+vBS8R6YSR83fQtHhBwqUklSKZbhtOOGyq7or8AzfurPLwV4J2stfm/Uhp79eXCkrU+Obl9ixKCGd+KPLaTqt/bZKEBUIN3JAaQmTVzjQLNRbdQZbUIHwSLIQWZAAxQTj1Szw2qoxlz27FzGAcA9YGf4pCVQ00h9xZ8O/c9iB0I8Sk9/aGO4Jk8Q/tLn7HnSOLGVvjdGYrS/nWWCPgysUqlA9LtFpU6XkIP/VySJytpq59KA8R9SqjyukX2jsFbs0N5vgj0gIE6S0NtHN7Gn4ytGToBC6NpBiZXFQ1NMMkBSACIjBBHGQ+g8Q6Ygl7II3Ky6TnZ6agAsjO6HXX1kreDHq1+gk+xrsY0AcO8jBmixDxAFGZ2OVgyIgBVGWG/gR3adhicaDKvlxx9lz8wCXh3XRXGu78syXUNOVVS8N8n9zSRsw8lHn4rPsIw7iKP3gI0NXTaVDch9g/Ybd/RJMsKTtxRh4mUaKuwkm74SPzKMvWrK6xizp/BSzgrBBgAxDXnw4x4a6/Hk5AOV+BpiC/2+NZZvgovViNhNXBDZHTERbORbFfzBUVG8ifQf2gh34HfyHyjUbW+qetrBJ6htg0G9M7a/iCOUput2cN3XR4r/0PNStnYrI3DofGmaifwckBZ7iceecNHZmouSbhQLqRAd49dqzi14aEZwoQqH/iVGL9wAAWZx72LnQHRTb95qGs++nNA+dZ2ViefWak10cbqL5W0gLZzkQmxvlSsCT1S/dsxuL0QqX7Ppu2xogzbui1g+JBhK8mGBnym9v7CF0Nx0gcT+MB7/ZcEtsrVtWKn6CRJD4bLrh4WfK2YvvyCSupEGTda/Lvio0o8Uj72XjVsXi21SEpoA7ry5GqkUSrSu1YtQDAD/khgyckhi2D0Cvb5vn0kMuEvpEpeGg93wJwOl2Q1BTWqwNV6J/1rdBqeHaqf8H2uqJYZye1Mmd5wP/DSHBcs51yL3j4Or+5pQCkgkFiH8q3dFkzd60dGWKAEcCpbdvW6z+fHb9HzqPyklRvf+xRHpIR9wOlJ3WzIppRgcI5BQdlvgtG2ZNCoV3OR/YB99osW7C8T7a6pnWMuUqxutEeiyQCgCc0kcX4d2umf0Yzi2dujGlRnMU4E6hqDJpHVElLhWFkgQuL1iD86z191nNhUUhOSDI40wkP3Or14wABeiFtmtGgKVtje3R/+nz2BNOZ6NuYRFUFMIWMzFdDfsrRxUGuDBSsm3r8cq/HHcWpz8PbrNLKi8EJ4/ACQ+1l1Yj7Gttx7Pdbhm+xAd4/kbzayltZXUTE0dqxOPoYUY8ToALBPzbOh1iAAF4WdMqkFRKRu6jJUq5VzUr+bFKv/KMP79YnLHPGSj6aHInGobhRtH78HApWppO8hnZyLdmrGwn0exZQJs7N+e3T6yPWkNYoyVgLKUu7i6AF6ZTDcwatcz5JuvN+2qYwDjF+HRbLhwpRWnElqHn0ce/yCHsqKybuBwkT1DnpkdMvo1Av3hnhF8vbLAjhcKtw37rMbS8GPNcFhxGgTf5+WokC0ftrloxdBHNbTN3JzZLhDXJ3T+CE1gTo43J7vfKHJjNaZZ09K+grEaW8u4nYqpXnc9Skg9Xcs6qd7aQKgGvCUovaNWfni1FWTz11B7PB1I2vQIz7D1jWtfpyLIqPSFPEU7sxMANkLQqDO0L9DO/JroSqBmFfwEli5vgF2hnCcnuISwyFwVHnCJ3Rpp6UpwSc5qJHGTrryMxRwlQUw9zBQEirG7/79bY0eIETZgheycPHWnsvCM/fimMBv0fPcFh6GLnpaaEOtHlMOxj2E7ivBG5cZf/I4E6qgRlP70yfkMrRRCWSVsJWdVnEXVGviI671AH6DZNPf774odUUASuFMjcb5eXflQj/vtL2xKc83o5oGoyPe+vC9b4Z/36XqEFTQYxG1gogcs9w17HypADcDa+be8/+tbIY1jpl0kZiWykOh2X052cmQV2bR+Vxy6LhOtqbSiCYIzgGazQ8ERDsPikX186Zy015Mnoj6XNemmdY8gNadHtuHZC8tpqVcUREnfJsZdcI8qUZYxaUMFnZi3GapiaB0zGIagvzV7HEj3WX51ikrNwKBJwe8hgrWGvHQZQxWmECnbOYouLuCkseKSUyK4NxEuH0MfvsJ6vA/VOipCL4VAtOMUk3VzFTzxle8N3epCUIcNLeNL7L87FyweXW/BYWqR0dQGbnAQSG8vHoXAf/n5SjfkqYmOVOKhd3BLw8dybWIm6/m4mqvl8VhJS2Dkq0oHfSuqpLiZe4fyBRMjKTRIBrvY2BK0jNJPk8K1clRGeeAZF5jnJFXLLTaZXe4/VlVmCqbSpCYW4wYzsAEfqqEBoMOM8yHnXRrb9/LvlDMAIoipoutKG745u7Nx6YnNMmky8RMJbLvMyQjKWelargggUbm/cxFhXUTcdMZVAUmYvGt4tI+85ierr9siExGVDHzjGqC8YluBjwOnY/9YPzVKWTSmRGYdSHI0ySeJ7vZOo66/lZGMz3tL6hAzcqfsHaTkRYtOiVbHUNailPI3xURnM0tr/30T31+Cvk2M9tsgOWV8s2YIy80XqvAPObXI6+1yi/7S5GupBRyBdt7PnRKch5yjpBwGwoIJ7HV1oAsRJwO4Gcq3pYDFJq2mVicv5zgzssXIej5KKMbs58DjEhW6CxoimgdhdLPJZ3d818bBGYiIyGaDTPLigElS3aVTZmga2bIfXdSzAtIXtU9gNKcLmI3uNsJNm2fkQqxlEMbcZjIkN8PWgAftiBtkMhRULT7bK567URj68F3RVNCOKvfQ+QrwjGJiaIAfuYAryfcfOGB3Yl40fUmGA6XrM+onlEWYNBGNx1Zk4FMrK/7YL9mFloz8RDSoH0QfpdjNCPAkKfKGSID9KtvjOgON+lNpIr5gD49447TVIuRoJunidXQPvq2cgfbSiJW40hWdLQQxRtYLJAped8WlexwVF/Uq3fIxYWMSyhwy4ZAXHb4zyl5Ix9gCOpkBkjbNvo2q4AYYHFSBPLk96FSxSKgsqr3r9YUyIUKT9f5A8n7+PPLQoEv0RJ3BBgaiFgsXHiE4zwibU6dNz+FePyY/TFzYEjFBp5cVRwLJlAroXH00TGwvoz0220Qh/Yp+q3TsHF739jpWwN06SXLi//sKR/5Kcg3jnvJZ4nj8llPcEzmqhdZbnzUjD4SUls0HHWwzII6EtNVDBFXoV1iHalky/0+3/1FWyXp/q7MjFOrlc/jNTftWkMF3rm7AjRbFHvwyWaUIHAb3bMvVnJT9aii8Gb5Y1RL64rFgIb6aeGGwn4cWkRG9vApnY18I2L5oCzce9EnPr/XN377FgQGoIFZL1ZeSi+v148+buwYfXrsOZiWJvBq2IOSYpEWYT//FvrB2y9WhbuoXCdoRBlW7ynefB3I1K+EsBYHiB62XBEOYu6mtU9RPhwJiryv63otOq+HDWc8+gIGv9Tk2TMk7y/EEqLSGEdcZcH8+DwNANIVccDbbi+tFxdUCxZ2DNS3CmGPLIf70yuyeS6+rSIKwAFczJd1cdF1bpQSqfXVVA11g4WScTE8PoOHyCF8Us3Cfdv4NiPgH7ZuQf+w41ujYkcGLgJD90JByaWEwdWZVcMZDfkmvZpwN1I13C1w1tKx9vCVdite9FhRe19yxQ+rnTqpLtnf2ZIvK6SC0iMhY0QDUCGjMNsVs7BMIX4UdpXLfDTaL0T8ILFccRA6zG7+4Q/G+B8H5xWtXxEZOU3kxV8uGEiPx6qIjOEGAO/LJwntCslyjSBSjiFJQeaLjoA5bJhokVuwH65ObPXHbSFhr3iAV9i0f1kAs0OH8gyaTiPss7b5pQRx7gprw5fc3xRNrev0j8o/x9Hm8/DO0dpmSmxt2UtgYNXLslRTvdj55lKvNQzdYAiz3ndwdNfJ7Cs6lvbnIjTsgDFeHRqKYi+G/Mqz/o8Qb1LA9gAy5wUXn4LMhWoxYpL3nGSaT4gi5jP2ZKbSYvGDVx3xQCLpF6keFutJ8sqNSQ7FVLsFbbvyNFpZ6u5J6Vm9U4L1GaCyJ8EShXL+EzZEy22DuD6JtPhj2Xyb+fQSJh3KkknKFmc5lgSeksDdV+ln+DGZIIZH8HWKyTvwenqR1jBFKnjSQ/33iMjQ/0GxkixkYTW1z2hN6nww3HKcprtOCqh+johqdLz4lDoh8b69S7rrTuSB8CXiiNSa5OOC1btAINK3ZE+i9FQBSR0KtJTOBI1OyaxbazPFqPxq2H3trLrvkn4lUTKK6Dqi+P+A7+0T9DKETu3xEL/CXmF8sZXXd+gIJl1y0bTejYmj95uNqOwcPtB6EMoodfbBmXGnr8XsklqkUFySQpgVXlejE3kLVJzII67EQp44Tl0nMvYO3C/LZZHnezsGR/VoNlEcEaJqzOmFvoFrQu6X6Y72b6qFU97FylgmlYr5/23NPKoWRygPYXLjpYUbaRwr5Son3yw8ME+s1WVJ1cq+jPw5l+Ehd977DtKST/5854Y9L9p7P8MrvgrzSJR6NMz/mv6/xTCXlQrFLOsItXALctq/jfkbJ9JGQbHkRLyOosoTWWGghpartey/3F7d1wVVJU1MB6DhCyL6V6i+QpmrsgAhXECmlktMXaRIS39X4/K4q/mWIki+3BOYtZRy4NS254HGrFn+3q/43+4lhVZgSE1UI2QSiku3LD66O6LR/REuADqD8MayrPa5HRGB1zG6EToMWvuwi5FVEZ5SeExdYNXsZe1+8yGAX3R+blXHxO645nkyhVgcCSnE5OMMJY8hk+Vh3s7cHryJGVlc0HQoz4ViNTetXjrpQPB902YEAlA0DIYq6rQ+LA6vnsNi/qXqdO/DBVW25FJibWFpTSyWg5OF+Twn/YQaNacMf0m3Jql00A7QtcgRnJyKWRwM2S2c+Q1uWMJ86CknVHDZ/z6DP6pUk7VC2fNbXcIzsHzZynI0aNG6NUqK1X99XshR+XDXHOsJ6zMJV26zsHBXp3BysdYOs1TvaJlL1sFX5UWEeLlLCLqU0Wtxyw98nvs/M76p20Ml90QbtJZiXbWfioe5KMnDF9dwRZ5BWCqhfj/Cm7YXNUD7GlG73jILEUkQ45CiX9lVv0hsOS1Q7spFu92dByuBpxDoRGM43SDr2+THULNLGvzKIc3NGcvjwvxDuE/jvontO6JChqb+MabH4HXDoVH+Ful60zp+pfj9GoaEEY3qIZYMXNVZe8IXZPELcLHpgtO4NEbvUfS9z9XufUbVndC8c2pvMim3/T8n/nbdmPYK60Qu3R9bumu2D38F/MWFh0reChlYGE3AXr3JUChoWC13/LhfJq+seofcvnGW5vc/KkbwurdElFbNWO7HszHz3hhktXPJEvn5LzV3a1KJuMTJj9QtrAYQyChTTKaHTu/6TwtKMcBKV4OJUSjthYABF3qBnVk8k/2s3eKEw8tO1q9nj57b+lKjOeOozNE3p/YZsI7OPL1UcqFk1S58O805WiieuTDNmOjvJT8tZ3OBXdGUnmjlXlZsmLdu6k6mv3NWJDT/348XrucirAE3Fbqau9Ma4wbiIMM+5MSni9QkVOKhoPeZRgjOP5ZYdf0i0C/TAmQhfxy0c+1oPA7xXbEJlw//JaWNdJLIOAzjXxLEMbOBx/k8O177K0nln0RIh4ccj/GqdPlC9kcj2hC2xvKYExO92FejfQC/gMHF026M1kVyeAktnmV+UsJk0xEiLmtBMvlgnNq2OdRCwrj+MLPQRD8rdHyfvy/9mTRWANYDxFtSQ2dSncuQv3B8tOMTfzJAYoPaNRsVj1axbAOqzKjATva/RF+G5MlK6fSnCfQawMUAiZSUG6318CBWXBs9+7NLA1l5pod6wJ2WJ8O/uqEhClI9L2XMjnnWGERqZ57BJIp+5OrQg2ocOq5/RndaJ1o+SRiECi5Jt98BXfVxve3RYLB79tZHiJA+89CouRcEz0pjSoplQn7EH7OnpTgzN0TpmUqTE6xceYx2jYAka/qK9KOa4RfM0aA/NHEcPHAYV3m/BF8THrJJc+psuBJOyEIokp9JdnaxVfzHv3cHAJkLrpknA3aWIQaYBMGDnbw3zfwbgjnb5/S6VzceEyBXJxPU/DO3HzCe2FGLDPx1mvo8l3YSlG6GWztfAABiA54bByt7rX42UJqU84uGTyBsFfVg55BGUlR2AG3fGyKsaVhblyONXy8GEraGajrBjq85Zyji+XkNABx6A6gIixy7YFD8WZxnHouMmNFrQ2JLwto6UOTmRJuxUnodaL20Qf2dStXZOi9y8yKehpNJtgIt42sZq/ZWBCL09N6agzTZuqWn9Ua86/pDxkF8a/cY6NSaA7nBY+WKYgS0QAsQq1CBCAm25d3ff43qLafItf5EMfNneHKdP0ljkEgXbBtlO0i+qNHoDNFW3Pd2Pftj5dMTJbebwyonpmZHZ9fwsai6NtQ/LRmjk6dmkJZlI7K7U6KOsYYLeGgGzEUGDQs75/1tXPMU0SXfJRf245DfcinhK7L0w/Gsf+TnmRbRSj/QkIy1y3ZOrgepY0m+mn4oI1gl9hsKmBEhYSL3KMEbjPjBaKhi+k2AZ6zDxQJ8d4mrC+Fe01rliXpp22/So4AvpwwN/JW77YzHPXRFT7duEm+aCBCuBIj+SFfTKGLI4QNBoZLMNxEj5HKBL7fypBN6fcm03D3rCY6o8r6ty3/lrv/aVXtaBQlULbDm+mvsEq1ldhD14DoE8RPUaQ0ZcEFVaw+ewClp9sE1Ob17oE1/e1yEt6QeahW79FwC6DYOZbd8evyFWW3mvDNv8cASxBezHFIcaetPhhRheqGfvSLGBCiGQpVc3vODLl6RCeSzgtQNpkdCCNaVpqRTZZlwWBZgga8vRAOiGGmBHh0nk11Tr/MnJw5/C1MNHAuuBlrbV4pV6yhiolsfbDsFdse+F8m3t8AdGS0gsrHNatu3SeCLT9ii8vv7nTyBOIxAvi6oyNsAYHbEMkzPEzQd9jX9aOsCo8lX9nwYpC/5Zr+IwqOn5g35zTrGGGNM4ogimAFWjZ+IxP6rLPvFrWyjhP8lI1gRshyeWcGuklHzpHLV2Qvg9PYu0pcQ4ouB36eu+GY++Ci0/jiMYxIoFSYj4b+M1fmzaV+nFvtO+ZEDOrqSeZ/VdivnhGCHixUI1Lk13yhI6KkgkZ2HjZHoDjVfmdWKaTs7Gl+/D2AeXMs93VfltsfJMZ21K9w8q7UaVQ2j6sF77jKEDKiZicMuMCukNG6aXTeejNGxV6Q1jADa27S0BIyJe34+xKB5sl4riCawzCzHHmd3XZNdx0aFs7of/WheZexSS7IsOcnT4+zt3sBpbcH9EfCHmkFt+ztX3GhFS32em50wPqcTj7LPBOpLQVek7ldwj7k3fysLHYOCwGWjPbzALR1UVudXhS5kOLSmyIIjKKIs3ClgqbI5n63VrvgnWF+xseEmQ63aMoFbJpZ6uzDDxFtd9d6ulPcS+rxc1G3gpZ3H4yNm2Yanw3A4MYHvmKSSyIJGQXEZEBVeu/7KwJLFNws8PV7wJjL4Ihbq7pkpxlThWc/nw1AX23RWP0CUCgVz4SPSA2mEpA7MXLteJCEm3rrmTViNkTyQLt6Pscp5zDEXGZOVAob936v9R58RBlHlIZEOjqPSmel9kcu7ZYgzCfu+0VAF8aP5xtfVqE74JSE6Nn2z3wPQqWP00jw7plGxMFZU+i376andu9eu7kePxASRm+4EpTS0WfSjQFi5Ks23riabvb31iiECABByozaXmq2fmcZ0tETVGIgxEM5xKlaGu1edYPGuxa9MFhEuzP1U+6/KUIFP7HnMH7b8RAXl4EC4sIE1OSBFnFdxf0q5avvtnYBfE1PEXznnPvVI8roCg/LZy61uaC2DSgqnEFheRb/aycxOJ6BhisAeZHKHbBADYxilC2CR2qxPEHMQfLXxjJ2pKt4Fx0pZWSpLS9VJ2bdxP21hnbEx8WQBCareQ+jqFxnG3/WMEHI1sq/gR4wDbHhGF8ZHSTt9XyYCNoYHghDYxVn/bPGSIKCL7kyh0/D0efZF6PUgjH5OA/P2adRRAc6A9MlP8BK6HXR39kSz4G2yn1v05gczzcnajbzgPo5vxuf1AjOak8PtuvnqFXuRdrEGa7qYfa8EuWpZm02osaG/rwxUa3P+CUqQ0wUTSa0aSgS0SXYY5rphXxy9NkXWGcVbMc+C8mmgELmAKozchg6dU8Iw6K3xy7IRx4V+KmN1BaQ1GkCtthQnqcgHBVlKfBZGH79Pruid0pw4DHSXRwwBBBtJyn5xKwC5woko4C88qqeokHT6QJzpg2EM03wp/LC28jMLgcWZQzVoBdjqpo/GBU7dcV1+4vtpZNCjNdMHmwknxix4KrC+49kG8BzvlbLwUysXS1H08UrVccg3mbHASIjH02EeB91Fi5XiKzPnTAS/rKf5lL9b2KsWlBXQ1peVMUJhcxD6Lp2b59lZxW5l0JrWqSmiMyf6680kuevmopiDQJrneDk43YanDUIxR4lV6H/KG7CLKF05D8CwP/E3BQlJte5hoTEJb9T2Zu4hROoNSLIcTf0sTcU3GO5s+aneUokNDiwhxKTQz2fQ2+deAPLvz6ZOVJfVQQZwaKfdD/iWWdH/OwwtFpwLmhs+odbFCeH37xXme7ciTjojfsZMa7ULGCklfHBIj1Je8TvXJ4CflyuaYjqCuswn8wlysfWP3xsmIFcEiBnVguNENvWCNPcD/6aPLIHUdGcgcU5M3Nz5aYCLCrx3xYHdkUV4vFhODNF2tNBjTHCXUl8NrN33EdRy6wN4PwjL4Unz5mvBbld7Y1ZY7LOzlh4YEVnxJTz2TpH53foghYvg8zFvIilZIbK0V2vKrhL2e51/ZxlxEzTXKuePRosf7Ai9jldTKvP8zTxbGvQQThywv9R2hPwvTlbnl5LJYyeIN75BImOypLIrmMVHIT/NQc51XhXnXGbp2SqX20lPHY/GzNY2XJl86z133KZwwM1VKPWSl2WurvfeYxu+ZKDkfvtbxSOPUj2jvhhcZRlHtoec59cwAXglKIFScGgr87a3Qg58xZ1hFThKMXGNgoX5lRy7b9N93A+6FTy1DcikGfPOXMwtGk3QI2BnmAY1wukkOc9KjhZIJ406XvWulI0KPTZMJ7a/67vEZYEvrWZb07q0O1PAiZ8uWB9YCi92yHQ3ovOcZ34PsFcKEnCz0UF+k2HXQ9ikB+UjTjRrPGJH3ou4r0QDxSzv1V8q4RQlpiy352Ov8T48bBwm69C7tguAD+iJegsAkWFMJKGdG+F0oyPw1x9mFO2h+I8b+vjbaU9NBPEvFxoSLG8J/pwdbtui4KfmTXTMo8Tt0Z7/KZ6lU48BV9Duv05PDVTrTXGAD5EGqFXwFdR3NegpIHYAoqoHkXTnboS4qEVEJbg6jwKhSZTtQ32yyYpBpHA8nxCFX8Tg3WRGgWiokqWwZebuUniv22lVoZ3o4/a4to9Ji6Sex1kfKfzvNSca+VYuR316nXf0p7VimGXoNrmYuT65oH9naGkSgiLvfg8Yo/DQCv7SnJ9hhdaq3Bj5/TwAgoeR2UEk6r8R7qFJ369prx7/WKJrBtfsaSwOMrgbeHfA1zi8zlFizHEIuV7CdORPNZEk1v4OfWe3dzSHym28UxuEapUEk4hp8NlSXpq4euxsCkR5EAFub0oKS/syKuCl8NoJvle+nUAVNmMjhYW+LyeXmU3pPMEnA692ayUn/0Z7ir0KTYXvhz/BnXoSdT6iqEjnnZU82RNU6f/tiJjw4xQWL/wi1EbhMLFUcrSaqW1h13apM6tSqHZMEk1HmQ0Rg4A9Fr+ZULI7btlPXSWdDHOMMxjg2iIob0osSNQ9Re57POHxUw1NEwwBAaWouHdGKPVAtxqPo6Udw2pteQIP0nUeitqGiYe93TM3iHbLmJrI86s9V589g0RIHBz5RuQTQmxr/FQGfA4IaKlAmNCTAV10R4wtgCrDmUsIOJRt745V8R4ga0Mli73YEutePdEhaaBHlN0OHAOB0wwXJayD299XAgocrWWnCrYvfSATzRaKJMaXEA0hVN2THu/d4pkVj2PTy7NcxkFbEkDR5UtDYzYAd12GaTQLIKB2IEQbWSTz81Il/yQOeiwM6qvdRn23/FaERjAHpCvtTH2A39MDOLwqi7vVoP2QCNdAz29tNxvZQFV+7WX1u9BipjVy6S4St0ssPHNcMLypc6q+XXxbKJAqPOU2eYrjd7XN5RDinsSkHsnzQkIN5ZCtw82Am8lIW4QlgYYCL8lFn1e/o2CWNGXgmpFlSZjtM6Zv17l5tpMmiWokv8wDRTuJ69VILRCJ/K7YAYhIUGiL5m5pkXuWFMqsE4w1sMQS8ujFP/ydP17VHN+Y79Xe8sU8yfLp55ylE0mbriq7Qf9bz8dJIIpfM8z2KzTDQgogSwIATTyUUyNP4/6NYt75/T/agWj385YhLoVDIn4LUH4v054mwFleQnOkYmqtn5s/KgBFfRKO3dtDNwEGry9DnyKksJ93tXMe/JCe1ePgCYfJbhZnroH5a8VLqzPCFwzNw83BpopvjOrYmznk2ry4OaS7fmqeIiWRNiOhtjAakz/gZF+vStqkqXeNLAYONniFUWK6obBLR3onqVBqXDysDH7YLYtfnIQTSuoomyIakwi6AJyOzvjBkkZefVvbHt/6q1jjhJli1ipX2KprbFGjfJLDZL3eaoA+6rvF82DL6LRh5yy8HqsZZK96A4Eh7lx6FtWcqaGdkvBDNahN/pOdGACRE60Ie5wYeBX311bO3RxM1nmca8TF7z9dQ8OnxPOD/YOHta3q4sXlzhbtbgtCJDVhZxEUWAfL63EzQCAtLeBgc018USZ0drYT/tnBUIuQS8vEV/FaqF6rk2TERqc2JnmlXnlYUENgLaYfrjO1IO2WsYHm69aY0KF7gLwMJYuUHtSpUO6DzvTFRoaT2QuPjcKH8nWE5674CL+EOt5c1XvPhpwbmyee96SkJmoQxDglqeECgJ7AwgIsBquct8ZAD9AM1C4xZHI+9SqnOQgWIF6I1zvx6oCbVNPeKCV4ua1sJWV+t6v3LY5t1Jg9T4iBukFq6Mbxqv1aeRXrzK/y5yHrx801jHUGf8/Ml5JKjGtZL3tO1jKzpIftp1O4v0HJqRRt9ibGwVFjdJCYZk5LCtR8c9Bnw6gi+W9j5EOT70PyTKGB25EZbsq6KjNAHwjCLgKb9DLF9sQ8+nWEZUg/DqeR9n390C7ja9eJ734vqn3AHL4K4K4q6F87QW/ouMFHCQzkexD1i2XLhqgmpUjL8ukJZ7Ej+HZTDukPA8V2JPdC4Wlh1Q2EZcJhkUkf46cbstZf/YQxO3YlqWmWpXs9irmmdskpnsZHLReyJT5nWTkRIPBBJeO0xDUQE0LyhTGNOlA4omDBTMsN0zWUTljODpC/nFlIjA0lk1IXExoyi4bBDh5bRHkXhwRby8kZAaOKpKCawUuyjzBF0LepNY+1Mg/SvrZQbwU0Cevl+U34Ak90iydXqW5jZ9TQbIAng62UphhzZdeZV6n0oFN1HK08SRmyUBMnpAb+MQPim4bJhzNHhTHI59pCD23bvvzz9LQedEmBLjFbDIzZujDY5/LynGzySoqr9QGqQPwl0qvOLqnSUw/Ngl/9W5tD3h0kRD+8Og7LxCqxEdm1Rq9RhxJLMSHNRmxtDOBGFs4FfQl1BaeQ+wVwP3rBtBW3OKzTXijeCBVpi7Z8CGD1HusLQMjXQQJrv4G/XOa0Tu0GeE+kXLaCtXbtb2FUxDyRYWb5P1pj6iXtrseEe46idoTxP448Jqgj2eBI8fVY1srbMjONMPt+na0GrJJsE5JIittKPVEsTjkZ3IQfa4sqbFcnW8+dJXtH5SfdzSQCTViPxHKnJdRka4pp2UsPIPiyqUZyAoJxSZRWzY5jPJlPomXBpqLHzyNi6Xy4ilBVrxvUdghRuOVUEv+GMxlBKPWPj+Flqi57RZGPIUm30m5mIfIvNnucU1WKa8SAgVSP9v5bT71jnj4miIJqt6mGt5UGjc3cBhx3ORO0fMbxT982AN8mXf/dy2JvvwYCIymw0XPSjU7hDanXukhC2QvdCyMzbt4b4ISqXwH3YjW/NU8uvTQbez9EqnuwqicvOPot9i7IESgsMdIC+dSEiTiZiqX34dpt1W5QSv1IbWWEZ/ygBJYFQyLKSvWaeJkx11tvAcGilPiihvXQGPa0utNKbShGY+27bWj/w3dNe+i7uMpn3UiIdnsYYOvH6J0o3jVBOuvVmPLrjDbFQqbVsgwJX5yFZxrmZFwQgjZd52AzVGPGS/BMXi8mxeqqQkkZz2H4rjqhInR1nsHd+BNxPsHnh8hy8einjS7ca1pNDjBkyjcC5ZFdNWpAY5e1wj9kw5nd7plZg6I0fZWHZP2AAyYy8FrIdR57DDs7B23m3MXRxKUD9jue3TIb2gfb6FvT7jO07KyCKNLzBlTppRSbn/PeFq4oVOQLecXsISm6kkCzHOHEz+rbqcA+vFDmnci6JgwmFDEQUgDU+2Iq7YpZadZTMcHe1TC2p9aDvJannecB8DBUi8VH9rnndn5hwX6reLIuX8QCaARjIT7TSr1ZPM61iedB43J8/djwwYledBgqmgN2/rWQRKoio50kzZqYaE7m38CZkSqhXYdBtdO23OO9YFHqrHq4OPVFlhGIfDcjAZejlaX8J/IJE9teFdp1/l8T1g0CtwJa+wpWWieTr4ge/gfI2mjdpqIuAVzTygQ2nUiI8s2oUiKg30IrAlsMjmCpqYb1eHnhUtQTVoYhiXi2lxBLXvdXa1hl0T0YkcVqSj/Wq1rWvCRlOZ4Gm/Dhhw36d6CTrrde+pUteao3TU5suU6Ti372R2Y4bRVFpz+ysausz6jyjSuGVmfSogDqWcjMLuxq3XVA3vz3uB8R8NfS27QSZNJKDL1wCXIjaaQD6pXAB3qpsao0ee21pXGL0eSGKOBimE3WpjO4lrVLHgbhL5A4lZghCG+cnEmycwnfWsaNcH4umNvuEEMv0uPdBuV+hlRrrkGYobYk2+gFfCL0PLJU5A8SpnyMsRioTysxWoxJLRma3tUmG0vXzvihW/PixWmaLWkEtaCNdwwIdT93kpW4H57ZlvpYc+dzk6AWZdPutsb4xAC1xtb3JwVS9ZMYjZ0tqf8R+hHmKLDYLcYBDV2lyaBsop+Yu5vCSYtVC+04j1/lH5E072W/8+20sxtV78VQ+AKPNHmJxteuiyJIzaPB28vgKyUMqP7bGcCk6Z/gV6v0xY/SpxkakbdY8PaUtr/w4bWPQKlkljJyzfv9L6lEDxKevEnvWSUkNIEGFy/7SPhXaeQaqB1wWbglKcnbuFoEbvbR0sdQe/HvTusTJ4xTsKES9AhlgDJXI1k6zdHWZSBxuk/8/utzMg+hZu0HcuX+eafq/3Re8xEpOaT8pttKbYLF3O9ao8ugCVBMiT/7OOLy6XWkZxvrs3mav3x/CZYrGAPPo+gX0fSAmM53QBN5PXbzvgC8lL2veR2+EfZIqqbdevVqd4hEEHFDddpvvTJt1aJtJ3cfvEXFMPXiC2i8T30U5cw5CdMJ5Z8wk77SUProVuAqpxBcEEMnYF3JDYeZLcDYcreAL4pjdRcfwDxw/FnDZzD3cBdcLvmEtsC312CAXMEt2R/0U/u4LqcE1IcO7kT+7MbERnaTmwhgGj0Eu6IJy51leDhbbJhwZrWyHTmvnLyivrsizSDpiZZny2Uysm9DnIzLkHuwkv1g6lrrSEx1IG0TT4mejSk/VVMSQeDgPYn2tC8uQxrqCXPmYL9OelpCLE41YRJll17A8vjF8cgTT1/Ro51zeXyVgKycGpuLt5vWYivY80AkimhqKxENNrfd48fj14unvAr5P0V8WtbtYOoCuLf9oC9SrFpbhwIo1SlbC38oCrKxW1h8NArVVv/Hy7aNnVPNyRYprKVItV2andThSoM9T+4hnksI/BGYQWEIHLa4at/2GlCmUHlfYtuQog+N4mTGSMAnnYhPPyz5ySlVijZ4ziv6nYkFMgtjn/PtRFmYQ3LuX3zHKlx+HZT6IQnfeIs6nmrNh+x8oYg4MdaMq7+XOGKTSeZtaKp6ZqsrD3G8n6O3sNmtZppuDHM91joBl2c62MQrI1fZsbwkWSz0rPLACyN3EfjoF2d5WuYNb2klyEx4yb2OfYSklSBOo/uVHGKNiT91xV6vE5t+7pD/GiGAE2iHqnISMVdAc14psP3J5Rj1GYF8f3rkHtNyn8OmH3EMpI/GHaw4ChxH0o4dVJj5ktyR4hwqOQswYfUkeVZKPaOa+TW8iBcahgEQdYPwr4/0CjAEtZeetlA87leSq7Op3CX852cm9L34p8AyGqL3XKRXRtJMj95ufw4Pa6lpKpViKcN2Ru24sQBIntiT/JxHnbfd1pp9M0lxsytVO7LAte7n1iWzJBmGwDt99WZ+oClCsEbBb3H9URRlAajxvBp0uW3dMNSjrA2m7347eLjZo1o1VRFc4WjAN0CjhsOsTWLm0FG8PfKAGqP76tiNInOJMnzUNT4naNrvNRDRY8EncslHy2cxf5/HITeYw/SGIqm6WbSAJeLNYEc/u8qsejyDqTvY0Q0dAB3deiCTyQtn3wFcVpuVRHA8F+Od7EkcejNENIr9xEYZVWx3EuObpD+z2QFsqVsSfflZVzgPKbNDX8WB/Kf4E5IUkLWXPsKjbGdxLEJWihbXZSg7cWPiAuxQv6yqJSbwCftKpDhXqlEyCXF2EfoW3t908FOHCFeOw9BRtWgXc9W3+6DajcUOMJkKjBM7nietycCy+bxwqzyvzJiGu6MMmmiD8mJgYp6IPAQftPkNTMyUvnfHxMsAKrh6BC8xOR3lBDopvQ5XHbAbrqsSW/BYc7J5+T5QqM27LRntB/7c/YQgHqXwURDIJneyUOU/4DOzDZ1M3m7WsTC2k8218KzoGEIN0f4ghuoyapCID/nFG88uKDXZqQl9zYMsbVX0IDFkQyQ0Klx3zGmqovTqWzZJB26l2YAS9jWu82eg26jhq2dK0a/TsrOfKHPuTgF0QUwnCSRvdMW540qAK5au2qMRUIoScvZmImlvjB25N3cuHpYo+8jCxY2Lb6K5WbEb0cXzPPWnRXFLR4aqkozuPoBksHKAm7N3HYrQtvp4T1Wr3esJyEo0oZ2JvgiuDxJvyq/gkzu9uMa3fQQblnDx6fcbGTiIP5VQYLlu5TCruayLeaaXwPD3vZNstduxbYhP5pV8AX5vmVGKjmX/1idLiJLexGxFAy2zJxcWeg16U51iKERLZfE7jUYXegyBnUR8oWXi1g6qMimbi45AfZLDOobSinwFwfUp/jQ3UP6O2AZ6ytQoXvbkLzKL+v/xrdqULGKparrpNhKdtQh4DNBz/ODZvgex73EqbjMrYlXYi5UBvNpdkbCLOJF3EVpwjk7sUiYh1qyvjz9m0CWObWT87zkxmwOgG4qjtcvHk6GZcc/oHBkngNGsiYeknLFlAA35fzhViOVE5PT1ke2tdkTlbiGmc6E/eQxERUNcZ2jnKxskyoSkD/+xZ48EGUMiwaW5/uwvIyM7RgoMeDvjUOPtnVNQPCZERX/hsyRDfZd9J39HnGGGkSSgje0vskLpvad8rlAPi0u78NLx8RQ+c3PmACF0w78+y7ovQnlAfkjX/dPrMbo7tTw+5F1I8mjz8SbqgtYCh3Ho8WyikCU9hjqVbJwCEMRDL9wPIVDDpb9raSqNaEaUljk3ki2WAjxpeXyPolnwXyJj7HP4FXR3dWVQfDSHr+C37S2b7+JYbEH92D2UScEXE7qqnJdWuLeuhLoyXv6vVwVuQz+e0KhNw/CjaNIRMj2jVOFIzN0lJBTop2YSje0BnJq8sB86g2Q/EwotS/TNYBjPC58u0PwrPaQka3+fFF3RluT0tNuWZTYmkev+iQL6IXu8/zo4QNcgUPN0nGcqIV4vyDUcrzLY+IH7GMQFrTIU7w0Ih5Dq338xOTIKq+os/I5QGyGVDAZkQ8sI4kEaYrPsbxnLVHsdljzxW6yF65wGpa/G2x+WWm0YJr5s7+SwWubKbbAZ+f1d/xyEPMccV4AybqJXvT+ZdgDTGHp+tYqAlJRCzAacvsd7LcDdC3dJQ2ExzwVRclCHS6g5UDg200isZGfpo9PbsLkbjIq7QEyApHRPBGrmqh/YRpUOncrDW4SKqHM1y1lBUsqpWlF3Gvk6M5k18VLAjRHV2XP1+371ZRYgT8PkmXkOr2NIjRJGzmltT+YAwFfDCzd/yBYy4Cshz8oezDCfcy3GX6Z9IveCzHkvGf2hfiSqqwprDpJmNpNGrLPCprkHlevhRy2efqY9hti7vcwpHo//9QCrtvezKFcNHUNipdzbQZAdTojikB1ssS8vERfP84YJ2cgbrrvLGrZTC+T+b63EwnJwsfLMDS/pWQs2qPdz+FVh2f6QDO1/Q9WPdB8WaLLbiCKfjH5YB6azWsRUZFgDKaGmQrRvXFIx89suRzPKKuq7h7PEnm9DOm11lUF/30ORAw6gMaYQ3oAMsDHg2ctd++nl2x2ZtlGc5QTycR0CQNXcwFLHOYjJY6Q6RXUJ6iOCS6T0lmN4VZKrSXQufXwWqPSjZtkfwzHtp/8Tm8xe82t3y0pY2HNVMMXdwRAzUMMD5tCysPucEOV1kEtxa/tFBRZk/ODwBeZa1T14RUIMpLXnacMABPKHIWBTU/6LsjKnFL2A9P5z+yfKNO3YhDSqqnhKrxQnJx3Fzmq8llIxL8PbMUWb9bUBNVlGXnEkTMJ0QNofQ/4thFbawWVNMwDjHtyJKQD2SK4WyIw0Rm446zVBgSOd3TXMuOjH2PBUgDbMYu7UU3fMOEPuSW7m46xLX21ZrsXsgN3ZB0R/FuXN2TV35lMzzTgCYhhe8eocIpp5LXH5oEeF0dRuCcSQhO1hAtfQcylDVXbcNKpsDeoEI2VZCXqM5gJTa3cpBVoDdfvyymj3E204lDdkk1FlqLzv5QQBIM2oEQUA+7EamQkLaK0cDXXSmrwPxxJH9NOaHCMHtiIzLy80IcXaVq7gnjjs/4HlFsXO7JM+NFxMm45fVLzgKRLmcZKRNeog0YPJgjk8p4wGjg5EqNdu6/cn5LkmXi6L7qACFBObR9pLsnET7CHxsioY7ngsN3SLLrxQO0t2JcFmxz1QdKg+vxUrTUYQCyGB05sDp/+Ts5XdLdnb1iW7Gy2eht8lJnJ6pFWVhDE5F4V2Oc0X1iGdU2uM1AKN1srU7vampJiIWDw6mTtT3+54cXhzRFLKZJzZTd+FK0WcYQEnNO/R+k45WzVz+1xSblpYHG5cyLinmhiP1jTmwzzhDHOhRGx8hhDtNpfpPbVPJnWwoLy64+tGPz7R3gB95OxLDXTUzi/hoy0EP0EJE/tYERWl4lQRLJAFf9lCFzBfIdSrVpgvGGGYbt9JcWJGeetgwjnouOkoS6HaPMZeq+ef7kW1YL4guqpKrUjfr6Y5uaCmX0TKxX12UnfqU9wFQ1djT2kUUbO1C+tDd6ionGWRCcyTLobD3lEjUFiNe3OyTPvoRw91lb4QWQaBv6XeTbw3IAe8a8aOoeQsv3t8OzmyrHtde7wIGkD+rbi/g32+CeNv/HrxxMsrNYA6NcexC3VSNq2NuNywcULvanpx2Kza8D9bitX4DSNJ52VB/C0ITPDAkpNotAwA9EAly/+fJ8WVutZ4u15T9ejpDScJev7zGjLHbZrxd8w9MfJiupqOoRvh8iWqIOgSeZAeKooOFnGO71wtQLKXcrDSYUaQh/1c4Wif64F64kKOjTFMylq5FOLCkzShJ1CA90LstzPBz0ld7f4ditqRv/ooDPsY+W7focHTpJ7jbY2HSexCe7OGNINISVsJCTnn3Q6gGKNxJXFvoUaUuwt4c5krUTwDgHEOQEbdPe8C732f9NzNcnFYbRPbt9lgqCVmAYkQRnKM2ju92+3yIP+H8eFNw2aqHG+RDtAh9tZ6dA8bLw+3trwdiiz0Fivi/ZOtbMRD/PIBztCFtxHGE6SEGRC28YPGwY4EW/EXoVPCD32A5p0lWp+lCtwDSa0gEobK8vOn+JL+f0osNsuY2+I57F1T3Uc3thX0hORtGi3MqDBGvA10Jdw3HdUpwjIyB6XuzGnKq+VVjxLtF/kRy18gHVjvGHM1JYFAHbfeMXTgqCM8sFPfCsqopHGECvnX8rSNeFWlGLgAsgsIfhxGWBa3MzC7HouM74q3nVGB1GIpoo6qsdRZhWRdn+ov57I/yxfBMMuEHC+605lYj+yxipvkAw/XrchkMxzmv6Mha6z3StgT/NTHnjSfq6vmrveOdiVxppW8XV278DHrRn6ZWxTlq4jVFsfmIs64nW2ySwgWTPEC/qR6ZHe0VVKE7lvQWPbhIeia9v1Bz8gXwOhay/nNYU9GRPp9iQP/hhhobNNNUotYxza6OEsYShu7AlzGLT/eKq8kp1oT1imxLMIED2kyyY+qgznBUKBR8IkqRUOZt4a/fOuaGeeQR26oN7jUf58FhOW6xyv21HmHYWdqrHxMRmwK3x8tDnh+Dq8aAIfB3dQWuqZyFpvm75a+/x5JJ50cNuwoQwizYMtSws5hTIAOop5tSCXoy95lU/RhiaDIe2i0GA09cVHM0Rqz/a5ehzhY+ei/2CQSv+72Pz+4l01kkU4oP06KkFtqacKDqmq39cwKDkh1YXQEetur5C37ddYXB3SpewGPw+Qpr6U2NHJWuDF209ZRry59y6tUp8bmICGmbXUI93/tsl+CwDM4ca2vji6kJXvAYDmphDCtWuj5pqiplEGybufpZRLcZkeLriMOuik7q+VlOq77vnv/SZUPslg7nHHaxojwtfdpl0LGmmkM31SWCpzAJ4B1qqwyOmAIdk4YL4yqbYs4XjlxEdmLno29zJSq0R17wha2lEFA/rgFbmrUDyFq7VJ9bSXwJKsgTwMgbZUcN07SemrI4hnbf7EJGVs7r538IlgtRUPd76rPgWpZsg4mj/NKSU5TgqES6AtplWIwSdRINQsekCZ3H4pROxBQAS/Ua11j21S2Wp9fhLuFPsJV8vaxl0C7TRRfIo5cBDLjP7BkzR/Dpig+X4XHX1IQK1XpY/zXITDwJboaLPAC6x/gfUB3LFEyPXrnotOnSL1JuHLEdadFS/DDT/vLC/F9pFJWcHqevbNq6psdyz2Wh2Es/oWq2sgXgBKJb/7WwCE44xhcSQNMwxa5OoVjylZJVr7FR53/t1mqBbBVax6PwHkx667piJI45wQkqBrpXcQ112Hm1ZL2p4cvEWMTo0VtoBVYClDEUhU5tUvGOI0N/I3MSIQq9hhGr44VWkP9vNzVkPiYTVDp4BodwVzt8PimO/euzDnd8o122zikn1sFaeCL/oBz+gfkDVrYPoHgI001DTu1/R52otUhX6dIAKLMGAGIXj4H37gWrWsbtuV363URJqUDSJ1qcysPCbiJkJcN2ysILYKwDRx5WvUcr02lRBaI/1zL2umgV+RtJ2cMTj3Z1izsFFf0WBufdu9PpH0Dq0t4xVHzZFOpOZjP76Bgy/fpb4nJi802SrMOu7uQP2ompjqXbzfGbzExhopmKpRj+JknfWyCF0TYhY5/TJ7i1MWkxYYdh++E/yCEyFWrSQ9ZmaLUGSo4dzK/2Zfx/Mko/5BhkRW3feX9r8xR+mCiooFm6cSh21EJKT5Upy4X5Y4w8oJJM+KQFUcXnpGtNeYldLNFZwoLXhIZ/LCSyXrV/7vBPXsaX06ZN8DzEByvI3LhO7tKLEJvA8r+jqfCBpnRPUtnzTrJeXy0lhJbMaWNsbeHIWkJVmgEm+/xM/9bsJ+53bp3AUfSqgoEXmNWzjphuB1TjKPJpVvPLdZZARcmBRV3mnMUxMRH8I7xWN1Bdgu8Bu4f25/+4+t3U55LYOaKMQ7kc2MkglIFN6w2ZzzcnqaAkM96f4xQ4Cn+eZM7xUyWuKw4nBmp05AvRJtje4IOtsi3iBkCuOtEu4hd3aOINq9g14YDfkF3cPQTUZsN92g/Y1XplIw7Ur3L4BgFQhv9NtAf3hzfhMa7x0Mi8vbGD8pth3ywoxLgOzNMSZJpvjmwIxlw9HxulZh8j55jip2Bm5o3/ArmfSke3hgAuWZwN4H32HIbYiot6k2BTUa+nza8HY6jP7j/x3uHDkXhJ1ISSNQ9SoQSbiFRSf2iBbuWwS6mFAPu0yjvYz8gEgQrUs1bKWJWeLDppXRH3afvEv/JB0IjFgKMFEc1WZ7CWqG/by26tH4e9VEhgZ1+bS/jQaadzf0XY0lY+vmh7fEKcxoHzwm+2x+hn6iO49T9qjgFJ51WJN4NaLMhyYfAUapmWRrqylDXtQs5iDji+88UjHlEEgqLNl7dtCbSKJWegsMbgzf/dhU7t7w1qLCYd0MmURII8JbPnIZ2fCEwcCHgJPzwDiwze6tQmAxECp+QAelfX79F8C8fGyzs1dziMoObeLWp4iXL5jbhbaG4y90RfPvMS4EY1ASvXiVwH/Vg1UltHvDwYrmsGnkDXdsk+ulZgodLiHqcmgGhJHa3ahNEFsMzZcXClT74huDmvKP+5d2HefIPIcDeaDQ+O+Hh0zgBO6PBHxCcHtzTBkxHPYmnfeddHNABHTPwuKKBUZ4eB8XCSu0ib1hISLyWdPKFxiq4ZBeo41fiDh6lXJnFo8z/4XrREBsBBzlj9/KtbdgUtz9SY8gfepx4fJSUK3PA4R5Jm9q4WDbGRlsSgR2aprIR8ogjYn/m4RUva1mkRlvWeDWnVCVDHE4ZQPRC11PeMkgIoiWJnjSQ+9SrMMHrssp+2EfJ1snQEtFjgei6N8GRACzC0/eF+NJRCSfzvTdaTFNyeWkJagKXLzDncvIJ6Yk857HhSoyZL62FqnPnUJVsNR0y/eOyNTYoSriEbEfeu97IMdomGal8LjudT7gX1BvCHLbpJ3F0Zc27U3my6ZARqVcjEm9GWcWDzuaHZB4s6vd6UYus6+E71fd+kZdaVmQlJ0rchxqVM/AtrvpTF00AVBEhOu6/DhArR+jo0thNypimGLoBJ7BS1dwK8kfjb2fC0DAQJhGOi6SCdAM6hMDrCbvANhnS/cXFF87rYkIbKjgVTYBy0SRNJK/S+Hf/y1/1A2Er456+Rj7uZxxKcoOOJfNpRN3WNrKXmFY88KLQ=="/>
  <p:tag name="MEKKOXMLTAGS" val="1"/>
</p:tagLst>
</file>

<file path=ppt/theme/theme1.xml><?xml version="1.0" encoding="utf-8"?>
<a:theme xmlns:a="http://schemas.openxmlformats.org/drawingml/2006/main" name="Office Theme">
  <a:themeElements>
    <a:clrScheme name="SKO 202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57C5CC"/>
      </a:accent2>
      <a:accent3>
        <a:srgbClr val="72B927"/>
      </a:accent3>
      <a:accent4>
        <a:srgbClr val="D41A68"/>
      </a:accent4>
      <a:accent5>
        <a:srgbClr val="76256D"/>
      </a:accent5>
      <a:accent6>
        <a:srgbClr val="F3F3F3"/>
      </a:accent6>
      <a:hlink>
        <a:srgbClr val="72B927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lesConf_2022_PPTTemplate" id="{418E081C-B1CF-46CD-89C3-42C55482019D}" vid="{E16DFAF4-DA92-4D6C-8B27-134900B0A2B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BC21761D9B7B949B9DC1055F4B4CDFE" ma:contentTypeVersion="13" ma:contentTypeDescription="Crée un document." ma:contentTypeScope="" ma:versionID="4bf0dca7d7bf59ece194c2220fb2e52f">
  <xsd:schema xmlns:xsd="http://www.w3.org/2001/XMLSchema" xmlns:xs="http://www.w3.org/2001/XMLSchema" xmlns:p="http://schemas.microsoft.com/office/2006/metadata/properties" xmlns:ns3="d633b08a-cf3a-44f0-9cb8-3e2b81016ae7" xmlns:ns4="7a3ae62c-fc7b-45a4-bbf7-4e3f6f19f838" targetNamespace="http://schemas.microsoft.com/office/2006/metadata/properties" ma:root="true" ma:fieldsID="c4f64caa0ae6f9a11869dbc1aebad72c" ns3:_="" ns4:_="">
    <xsd:import namespace="d633b08a-cf3a-44f0-9cb8-3e2b81016ae7"/>
    <xsd:import namespace="7a3ae62c-fc7b-45a4-bbf7-4e3f6f19f838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DateTaken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33b08a-cf3a-44f0-9cb8-3e2b81016ae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3ae62c-fc7b-45a4-bbf7-4e3f6f19f83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94CB78C-BED5-4E80-A59A-5FAF7378DBF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B732A19-545B-4F97-9133-A581C112ABC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33b08a-cf3a-44f0-9cb8-3e2b81016ae7"/>
    <ds:schemaRef ds:uri="7a3ae62c-fc7b-45a4-bbf7-4e3f6f19f83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E05BD9D-92E0-46B7-8A50-218D1D7A48F4}">
  <ds:schemaRefs>
    <ds:schemaRef ds:uri="http://purl.org/dc/elements/1.1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7a3ae62c-fc7b-45a4-bbf7-4e3f6f19f838"/>
    <ds:schemaRef ds:uri="d633b08a-cf3a-44f0-9cb8-3e2b81016ae7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816</TotalTime>
  <Words>2429</Words>
  <Application>Microsoft Office PowerPoint</Application>
  <PresentationFormat>Widescreen</PresentationFormat>
  <Paragraphs>333</Paragraphs>
  <Slides>19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0" baseType="lpstr">
      <vt:lpstr>Arial</vt:lpstr>
      <vt:lpstr>Calibri</vt:lpstr>
      <vt:lpstr>Calibri Light</vt:lpstr>
      <vt:lpstr>Century Gothic</vt:lpstr>
      <vt:lpstr>Gilroy</vt:lpstr>
      <vt:lpstr>Gilroy SemiBold</vt:lpstr>
      <vt:lpstr>Poppins-Bold</vt:lpstr>
      <vt:lpstr>Poppins-Regular</vt:lpstr>
      <vt:lpstr>Wingdings</vt:lpstr>
      <vt:lpstr>Office Theme</vt:lpstr>
      <vt:lpstr>think-cell Slide</vt:lpstr>
      <vt:lpstr>Sales Kick Off Sales Overview John Whalen</vt:lpstr>
      <vt:lpstr>2021 Review</vt:lpstr>
      <vt:lpstr>PowerPoint Presentation</vt:lpstr>
      <vt:lpstr>PowerPoint Presentation</vt:lpstr>
      <vt:lpstr>Strategic Prioriti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les Kick Off</dc:title>
  <dc:creator>Megan Backus</dc:creator>
  <cp:lastModifiedBy>John Whalen</cp:lastModifiedBy>
  <cp:revision>136</cp:revision>
  <cp:lastPrinted>2022-01-14T15:42:40Z</cp:lastPrinted>
  <dcterms:created xsi:type="dcterms:W3CDTF">2022-01-11T16:08:02Z</dcterms:created>
  <dcterms:modified xsi:type="dcterms:W3CDTF">2022-01-21T22:17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BC21761D9B7B949B9DC1055F4B4CDFE</vt:lpwstr>
  </property>
</Properties>
</file>